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theme/theme2.xml" ContentType="application/vnd.openxmlformats-officedocument.theme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theme/theme4.xml" ContentType="application/vnd.openxmlformats-officedocument.theme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theme/theme5.xml" ContentType="application/vnd.openxmlformats-officedocument.theme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theme/theme6.xml" ContentType="application/vnd.openxmlformats-officedocument.theme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54" r:id="rId2"/>
    <p:sldMasterId id="2147484084" r:id="rId3"/>
    <p:sldMasterId id="2147484561" r:id="rId4"/>
    <p:sldMasterId id="2147484573" r:id="rId5"/>
    <p:sldMasterId id="2147485030" r:id="rId6"/>
    <p:sldMasterId id="2147485042" r:id="rId7"/>
  </p:sldMasterIdLst>
  <p:notesMasterIdLst>
    <p:notesMasterId r:id="rId70"/>
  </p:notesMasterIdLst>
  <p:sldIdLst>
    <p:sldId id="256" r:id="rId8"/>
    <p:sldId id="257" r:id="rId9"/>
    <p:sldId id="261" r:id="rId10"/>
    <p:sldId id="678" r:id="rId11"/>
    <p:sldId id="1025" r:id="rId12"/>
    <p:sldId id="1026" r:id="rId13"/>
    <p:sldId id="1027" r:id="rId14"/>
    <p:sldId id="1028" r:id="rId15"/>
    <p:sldId id="1029" r:id="rId16"/>
    <p:sldId id="1032" r:id="rId17"/>
    <p:sldId id="1033" r:id="rId18"/>
    <p:sldId id="1048" r:id="rId19"/>
    <p:sldId id="260" r:id="rId20"/>
    <p:sldId id="258" r:id="rId21"/>
    <p:sldId id="259" r:id="rId22"/>
    <p:sldId id="262" r:id="rId23"/>
    <p:sldId id="263" r:id="rId24"/>
    <p:sldId id="264" r:id="rId25"/>
    <p:sldId id="265" r:id="rId26"/>
    <p:sldId id="266" r:id="rId27"/>
    <p:sldId id="267" r:id="rId28"/>
    <p:sldId id="268" r:id="rId29"/>
    <p:sldId id="269" r:id="rId30"/>
    <p:sldId id="270" r:id="rId31"/>
    <p:sldId id="271" r:id="rId32"/>
    <p:sldId id="272" r:id="rId33"/>
    <p:sldId id="273" r:id="rId34"/>
    <p:sldId id="274" r:id="rId35"/>
    <p:sldId id="275" r:id="rId36"/>
    <p:sldId id="276" r:id="rId37"/>
    <p:sldId id="277" r:id="rId38"/>
    <p:sldId id="278" r:id="rId39"/>
    <p:sldId id="279" r:id="rId40"/>
    <p:sldId id="1050" r:id="rId41"/>
    <p:sldId id="280" r:id="rId42"/>
    <p:sldId id="281" r:id="rId43"/>
    <p:sldId id="1038" r:id="rId44"/>
    <p:sldId id="1039" r:id="rId45"/>
    <p:sldId id="1040" r:id="rId46"/>
    <p:sldId id="1045" r:id="rId47"/>
    <p:sldId id="1046" r:id="rId48"/>
    <p:sldId id="1047" r:id="rId49"/>
    <p:sldId id="1044" r:id="rId50"/>
    <p:sldId id="1043" r:id="rId51"/>
    <p:sldId id="285" r:id="rId52"/>
    <p:sldId id="1053" r:id="rId53"/>
    <p:sldId id="286" r:id="rId54"/>
    <p:sldId id="287" r:id="rId55"/>
    <p:sldId id="288" r:id="rId56"/>
    <p:sldId id="1042" r:id="rId57"/>
    <p:sldId id="291" r:id="rId58"/>
    <p:sldId id="1037" r:id="rId59"/>
    <p:sldId id="1049" r:id="rId60"/>
    <p:sldId id="1034" r:id="rId61"/>
    <p:sldId id="1055" r:id="rId62"/>
    <p:sldId id="1054" r:id="rId63"/>
    <p:sldId id="293" r:id="rId64"/>
    <p:sldId id="1052" r:id="rId65"/>
    <p:sldId id="1035" r:id="rId66"/>
    <p:sldId id="1031" r:id="rId67"/>
    <p:sldId id="295" r:id="rId68"/>
    <p:sldId id="1051" r:id="rId69"/>
  </p:sldIdLst>
  <p:sldSz cx="12192000" cy="6858000"/>
  <p:notesSz cx="12192000" cy="6858000"/>
  <p:embeddedFontLst>
    <p:embeddedFont>
      <p:font typeface="DM Sans" pitchFamily="2" charset="77"/>
      <p:regular r:id="rId71"/>
      <p:bold r:id="rId72"/>
      <p:italic r:id="rId73"/>
      <p:boldItalic r:id="rId74"/>
    </p:embeddedFont>
    <p:embeddedFont>
      <p:font typeface="Helvetica Neue" panose="02000503000000020004" pitchFamily="2" charset="0"/>
      <p:regular r:id="rId75"/>
      <p:bold r:id="rId76"/>
      <p:italic r:id="rId77"/>
      <p:boldItalic r:id="rId78"/>
    </p:embeddedFont>
    <p:embeddedFont>
      <p:font typeface="Open Sans" panose="020B0606030504020204" pitchFamily="34" charset="0"/>
      <p:regular r:id="rId79"/>
      <p:bold r:id="rId80"/>
      <p:italic r:id="rId81"/>
      <p:boldItalic r:id="rId82"/>
    </p:embeddedFont>
    <p:embeddedFont>
      <p:font typeface="Open Sans Light" panose="020B0306030504020204" pitchFamily="34" charset="0"/>
      <p:regular r:id="rId83"/>
      <p:italic r:id="rId84"/>
    </p:embeddedFont>
    <p:embeddedFont>
      <p:font typeface="Tahoma" panose="020B0604030504040204" pitchFamily="34" charset="0"/>
      <p:regular r:id="rId85"/>
      <p:bold r:id="rId86"/>
    </p:embeddedFont>
    <p:embeddedFont>
      <p:font typeface="Verdana" panose="020B0604030504040204" pitchFamily="34" charset="0"/>
      <p:regular r:id="rId87"/>
      <p:bold r:id="rId88"/>
      <p:italic r:id="rId89"/>
      <p:boldItalic r:id="rId90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96" roundtripDataSignature="AMtx7mhcEPTotCN2a17zYryGTXvDTC8OZ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vera, Alana" initials="RA" lastIdx="4" clrIdx="0">
    <p:extLst>
      <p:ext uri="{19B8F6BF-5375-455C-9EA6-DF929625EA0E}">
        <p15:presenceInfo xmlns:p15="http://schemas.microsoft.com/office/powerpoint/2012/main" userId="S::ARivera@northshore.org::a0bf8bf8-6a7b-4ea8-a63f-33e10d7372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10EBB18-085E-4E12-99BB-723E436381A6}">
  <a:tblStyle styleId="{410EBB18-085E-4E12-99BB-723E436381A6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1E60E934-0046-4A40-B928-15E40BC19046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561"/>
    <p:restoredTop sz="72159" autoAdjust="0"/>
  </p:normalViewPr>
  <p:slideViewPr>
    <p:cSldViewPr snapToGrid="0">
      <p:cViewPr varScale="1">
        <p:scale>
          <a:sx n="74" d="100"/>
          <a:sy n="74" d="100"/>
        </p:scale>
        <p:origin x="1024" y="184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84" Type="http://schemas.openxmlformats.org/officeDocument/2006/relationships/font" Target="fonts/font14.fntdata"/><Relationship Id="rId89" Type="http://schemas.openxmlformats.org/officeDocument/2006/relationships/font" Target="fonts/font19.fntdata"/><Relationship Id="rId16" Type="http://schemas.openxmlformats.org/officeDocument/2006/relationships/slide" Target="slides/slide9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74" Type="http://schemas.openxmlformats.org/officeDocument/2006/relationships/font" Target="fonts/font4.fntdata"/><Relationship Id="rId79" Type="http://schemas.openxmlformats.org/officeDocument/2006/relationships/font" Target="fonts/font9.fntdata"/><Relationship Id="rId5" Type="http://schemas.openxmlformats.org/officeDocument/2006/relationships/slideMaster" Target="slideMasters/slideMaster5.xml"/><Relationship Id="rId90" Type="http://schemas.openxmlformats.org/officeDocument/2006/relationships/font" Target="fonts/font20.fntdata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font" Target="fonts/font2.fntdata"/><Relationship Id="rId80" Type="http://schemas.openxmlformats.org/officeDocument/2006/relationships/font" Target="fonts/font10.fntdata"/><Relationship Id="rId85" Type="http://schemas.openxmlformats.org/officeDocument/2006/relationships/font" Target="fonts/font15.fntdata"/><Relationship Id="rId9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notesMaster" Target="notesMasters/notesMaster1.xml"/><Relationship Id="rId75" Type="http://schemas.openxmlformats.org/officeDocument/2006/relationships/font" Target="fonts/font5.fntdata"/><Relationship Id="rId83" Type="http://schemas.openxmlformats.org/officeDocument/2006/relationships/font" Target="fonts/font13.fntdata"/><Relationship Id="rId88" Type="http://schemas.openxmlformats.org/officeDocument/2006/relationships/font" Target="fonts/font18.fntdata"/><Relationship Id="rId96" Type="http://customschemas.google.com/relationships/presentationmetadata" Target="meta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font" Target="fonts/font3.fntdata"/><Relationship Id="rId78" Type="http://schemas.openxmlformats.org/officeDocument/2006/relationships/font" Target="fonts/font8.fntdata"/><Relationship Id="rId81" Type="http://schemas.openxmlformats.org/officeDocument/2006/relationships/font" Target="fonts/font11.fntdata"/><Relationship Id="rId86" Type="http://schemas.openxmlformats.org/officeDocument/2006/relationships/font" Target="fonts/font16.fntdata"/><Relationship Id="rId99" Type="http://schemas.openxmlformats.org/officeDocument/2006/relationships/viewProps" Target="viewProps.xml"/><Relationship Id="rId10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font" Target="fonts/font6.fntdata"/><Relationship Id="rId97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71" Type="http://schemas.openxmlformats.org/officeDocument/2006/relationships/font" Target="fonts/font1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slide" Target="slides/slide59.xml"/><Relationship Id="rId87" Type="http://schemas.openxmlformats.org/officeDocument/2006/relationships/font" Target="fonts/font17.fntdata"/><Relationship Id="rId61" Type="http://schemas.openxmlformats.org/officeDocument/2006/relationships/slide" Target="slides/slide54.xml"/><Relationship Id="rId82" Type="http://schemas.openxmlformats.org/officeDocument/2006/relationships/font" Target="fonts/font12.fntdata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56" Type="http://schemas.openxmlformats.org/officeDocument/2006/relationships/slide" Target="slides/slide49.xml"/><Relationship Id="rId77" Type="http://schemas.openxmlformats.org/officeDocument/2006/relationships/font" Target="fonts/font7.fntdata"/><Relationship Id="rId10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CED47C-38E7-467C-8A1C-1BD722891462}" type="doc">
      <dgm:prSet loTypeId="urn:microsoft.com/office/officeart/2005/8/layout/list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F8C36AC-D358-44C1-8CCF-864E48E9EE34}">
      <dgm:prSet phldrT="[Text]" phldr="0"/>
      <dgm:spPr/>
      <dgm:t>
        <a:bodyPr/>
        <a:lstStyle/>
        <a:p>
          <a:pPr rtl="0"/>
          <a:r>
            <a:rPr lang="en-US" dirty="0">
              <a:latin typeface="DM Sans" pitchFamily="2" charset="77"/>
            </a:rPr>
            <a:t> </a:t>
          </a:r>
          <a:r>
            <a:rPr lang="en-US" b="1" dirty="0">
              <a:solidFill>
                <a:schemeClr val="accent1"/>
              </a:solidFill>
              <a:latin typeface="DM Sans" pitchFamily="2" charset="77"/>
            </a:rPr>
            <a:t>Submit your Data! </a:t>
          </a:r>
        </a:p>
      </dgm:t>
    </dgm:pt>
    <dgm:pt modelId="{77454E31-4BF7-45E4-A61C-C06BAD198ECF}" type="parTrans" cxnId="{F1C85135-8472-433E-98BE-532497A42780}">
      <dgm:prSet/>
      <dgm:spPr/>
      <dgm:t>
        <a:bodyPr/>
        <a:lstStyle/>
        <a:p>
          <a:endParaRPr lang="en-US"/>
        </a:p>
      </dgm:t>
    </dgm:pt>
    <dgm:pt modelId="{62C93ADB-50F5-4FEA-A9D2-CBD05A488FB7}" type="sibTrans" cxnId="{F1C85135-8472-433E-98BE-532497A42780}">
      <dgm:prSet/>
      <dgm:spPr/>
      <dgm:t>
        <a:bodyPr/>
        <a:lstStyle/>
        <a:p>
          <a:endParaRPr lang="en-US"/>
        </a:p>
      </dgm:t>
    </dgm:pt>
    <dgm:pt modelId="{277CB91B-1C42-48E8-9BA7-10FC79E64F8E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accent1"/>
              </a:solidFill>
              <a:latin typeface="DM Sans" pitchFamily="2" charset="77"/>
            </a:rPr>
            <a:t>Call for QI Abstracts! </a:t>
          </a:r>
        </a:p>
      </dgm:t>
    </dgm:pt>
    <dgm:pt modelId="{03D7C569-4529-4991-A0C2-8E79BCD76571}" type="parTrans" cxnId="{DBC449FF-D23E-4F26-BCA7-82B94996073D}">
      <dgm:prSet/>
      <dgm:spPr/>
      <dgm:t>
        <a:bodyPr/>
        <a:lstStyle/>
        <a:p>
          <a:endParaRPr lang="en-US"/>
        </a:p>
      </dgm:t>
    </dgm:pt>
    <dgm:pt modelId="{93624452-662B-4F58-934A-EBE2E5B0D4AB}" type="sibTrans" cxnId="{DBC449FF-D23E-4F26-BCA7-82B94996073D}">
      <dgm:prSet/>
      <dgm:spPr/>
      <dgm:t>
        <a:bodyPr/>
        <a:lstStyle/>
        <a:p>
          <a:endParaRPr lang="en-US"/>
        </a:p>
      </dgm:t>
    </dgm:pt>
    <dgm:pt modelId="{78D4CC8F-2595-4059-ACA1-7005FE483A37}">
      <dgm:prSet phldrT="[Text]" phldr="0"/>
      <dgm:spPr/>
      <dgm:t>
        <a:bodyPr/>
        <a:lstStyle/>
        <a:p>
          <a:pPr rtl="0"/>
          <a:r>
            <a:rPr lang="en-US" dirty="0">
              <a:latin typeface="DM Sans" pitchFamily="2" charset="77"/>
            </a:rPr>
            <a:t> </a:t>
          </a:r>
          <a:r>
            <a:rPr lang="en-US" b="1" dirty="0">
              <a:latin typeface="DM Sans" pitchFamily="2" charset="77"/>
            </a:rPr>
            <a:t>Info coming soon!</a:t>
          </a:r>
          <a:r>
            <a:rPr lang="en-US" dirty="0">
              <a:latin typeface="DM Sans" pitchFamily="2" charset="77"/>
            </a:rPr>
            <a:t> All hospital teams are asked to submit an abstract on their QI work (can be in progress).</a:t>
          </a:r>
        </a:p>
      </dgm:t>
    </dgm:pt>
    <dgm:pt modelId="{A251C99C-8B3D-40DF-81A9-D7542C43875E}" type="parTrans" cxnId="{4FCE7C92-D06E-417F-8E44-A664565D79CE}">
      <dgm:prSet/>
      <dgm:spPr/>
      <dgm:t>
        <a:bodyPr/>
        <a:lstStyle/>
        <a:p>
          <a:endParaRPr lang="en-US"/>
        </a:p>
      </dgm:t>
    </dgm:pt>
    <dgm:pt modelId="{881FC4F4-45E5-4ACC-B91A-47999364CD20}" type="sibTrans" cxnId="{4FCE7C92-D06E-417F-8E44-A664565D79CE}">
      <dgm:prSet/>
      <dgm:spPr/>
      <dgm:t>
        <a:bodyPr/>
        <a:lstStyle/>
        <a:p>
          <a:endParaRPr lang="en-US"/>
        </a:p>
      </dgm:t>
    </dgm:pt>
    <dgm:pt modelId="{6F528CE6-C1A3-4D2B-81A0-CFCEB0EBAD90}">
      <dgm:prSet phldr="0"/>
      <dgm:spPr/>
      <dgm:t>
        <a:bodyPr/>
        <a:lstStyle/>
        <a:p>
          <a:pPr rtl="0"/>
          <a:r>
            <a:rPr lang="en-US" b="1" u="none" dirty="0">
              <a:solidFill>
                <a:schemeClr val="accent1"/>
              </a:solidFill>
              <a:latin typeface="DM Sans" pitchFamily="2" charset="77"/>
            </a:rPr>
            <a:t>ILPQC Annual Conference Teams </a:t>
          </a:r>
          <a:r>
            <a:rPr lang="en-US" b="1" dirty="0">
              <a:solidFill>
                <a:schemeClr val="accent1"/>
              </a:solidFill>
              <a:latin typeface="DM Sans" pitchFamily="2" charset="77"/>
            </a:rPr>
            <a:t>Survey! </a:t>
          </a:r>
        </a:p>
      </dgm:t>
    </dgm:pt>
    <dgm:pt modelId="{62346CA0-5B88-4CE8-914A-B6CEB57871F1}" type="parTrans" cxnId="{B6080AEF-5965-4743-A061-CDC32CC39582}">
      <dgm:prSet/>
      <dgm:spPr/>
      <dgm:t>
        <a:bodyPr/>
        <a:lstStyle/>
        <a:p>
          <a:endParaRPr lang="en-US"/>
        </a:p>
      </dgm:t>
    </dgm:pt>
    <dgm:pt modelId="{45C9E60D-23B6-41EB-9B7D-9BC15733F6D1}" type="sibTrans" cxnId="{B6080AEF-5965-4743-A061-CDC32CC39582}">
      <dgm:prSet/>
      <dgm:spPr/>
      <dgm:t>
        <a:bodyPr/>
        <a:lstStyle/>
        <a:p>
          <a:endParaRPr lang="en-US"/>
        </a:p>
      </dgm:t>
    </dgm:pt>
    <dgm:pt modelId="{9A286409-755C-47F6-978F-0B1056CDF2D2}">
      <dgm:prSet phldr="0"/>
      <dgm:spPr/>
      <dgm:t>
        <a:bodyPr/>
        <a:lstStyle/>
        <a:p>
          <a:pPr rtl="0"/>
          <a:r>
            <a:rPr lang="en-US" dirty="0">
              <a:latin typeface="DM Sans" pitchFamily="2" charset="77"/>
            </a:rPr>
            <a:t>We want to hear from you! </a:t>
          </a:r>
          <a:r>
            <a:rPr lang="en-US" b="1" dirty="0">
              <a:latin typeface="DM Sans" pitchFamily="2" charset="77"/>
            </a:rPr>
            <a:t>Survey opens in Sept!</a:t>
          </a:r>
        </a:p>
      </dgm:t>
    </dgm:pt>
    <dgm:pt modelId="{9291BA0D-48AB-4364-A092-0919F94C1470}" type="parTrans" cxnId="{8D6E092E-58C8-4D72-B870-0D2F549755C5}">
      <dgm:prSet/>
      <dgm:spPr/>
      <dgm:t>
        <a:bodyPr/>
        <a:lstStyle/>
        <a:p>
          <a:endParaRPr lang="en-US"/>
        </a:p>
      </dgm:t>
    </dgm:pt>
    <dgm:pt modelId="{EDFE8248-1123-45BE-80CC-ED04D63ECAF9}" type="sibTrans" cxnId="{8D6E092E-58C8-4D72-B870-0D2F549755C5}">
      <dgm:prSet/>
      <dgm:spPr/>
      <dgm:t>
        <a:bodyPr/>
        <a:lstStyle/>
        <a:p>
          <a:endParaRPr lang="en-US"/>
        </a:p>
      </dgm:t>
    </dgm:pt>
    <dgm:pt modelId="{F521A60E-AF20-4BC8-BB3E-652F6286D34A}">
      <dgm:prSet phldr="0"/>
      <dgm:spPr/>
      <dgm:t>
        <a:bodyPr/>
        <a:lstStyle/>
        <a:p>
          <a:pPr rtl="0"/>
          <a:r>
            <a:rPr lang="en-US" dirty="0">
              <a:latin typeface="DM Sans" pitchFamily="2" charset="77"/>
            </a:rPr>
            <a:t>This is a great opportunity to share your teams' thoughts &amp; insights reflecting on 2025 and planning for 2026!</a:t>
          </a:r>
        </a:p>
      </dgm:t>
    </dgm:pt>
    <dgm:pt modelId="{B9351DEB-1B71-494B-81A5-B8A2DF00679D}" type="parTrans" cxnId="{07D213BB-362D-4146-B0ED-D8CC3F3F30C5}">
      <dgm:prSet/>
      <dgm:spPr/>
      <dgm:t>
        <a:bodyPr/>
        <a:lstStyle/>
        <a:p>
          <a:endParaRPr lang="en-US"/>
        </a:p>
      </dgm:t>
    </dgm:pt>
    <dgm:pt modelId="{50985435-0157-41A4-B0CC-BC30B5F0CED9}" type="sibTrans" cxnId="{07D213BB-362D-4146-B0ED-D8CC3F3F30C5}">
      <dgm:prSet/>
      <dgm:spPr/>
      <dgm:t>
        <a:bodyPr/>
        <a:lstStyle/>
        <a:p>
          <a:endParaRPr lang="en-US"/>
        </a:p>
      </dgm:t>
    </dgm:pt>
    <dgm:pt modelId="{7DB66FD1-DB95-4E83-9973-27B94C4E32F0}">
      <dgm:prSet phldr="0"/>
      <dgm:spPr/>
      <dgm:t>
        <a:bodyPr/>
        <a:lstStyle/>
        <a:p>
          <a:r>
            <a:rPr lang="en-US" dirty="0">
              <a:latin typeface="DM Sans" pitchFamily="2" charset="77"/>
            </a:rPr>
            <a:t>All data baseline-August 2025 will be </a:t>
          </a:r>
          <a:r>
            <a:rPr lang="en-US" b="1" dirty="0">
              <a:latin typeface="DM Sans" pitchFamily="2" charset="77"/>
            </a:rPr>
            <a:t>due on September 30</a:t>
          </a:r>
          <a:r>
            <a:rPr lang="en-US" b="1" baseline="30000" dirty="0">
              <a:latin typeface="DM Sans" pitchFamily="2" charset="77"/>
            </a:rPr>
            <a:t>th</a:t>
          </a:r>
          <a:r>
            <a:rPr lang="en-US" b="1" dirty="0">
              <a:latin typeface="DM Sans" pitchFamily="2" charset="77"/>
            </a:rPr>
            <a:t>, 2025,</a:t>
          </a:r>
          <a:r>
            <a:rPr lang="en-US" dirty="0">
              <a:latin typeface="DM Sans" pitchFamily="2" charset="77"/>
            </a:rPr>
            <a:t> for award consideration.</a:t>
          </a:r>
          <a:endParaRPr lang="en-US" b="1" dirty="0">
            <a:latin typeface="DM Sans" pitchFamily="2" charset="77"/>
          </a:endParaRPr>
        </a:p>
      </dgm:t>
    </dgm:pt>
    <dgm:pt modelId="{8ADBA68A-2F57-443B-A36D-89F41C697784}" type="parTrans" cxnId="{D091DFF4-39E8-4F5A-B8FF-9951A0C5E310}">
      <dgm:prSet/>
      <dgm:spPr/>
      <dgm:t>
        <a:bodyPr/>
        <a:lstStyle/>
        <a:p>
          <a:endParaRPr lang="en-US"/>
        </a:p>
      </dgm:t>
    </dgm:pt>
    <dgm:pt modelId="{CBC0D908-B9A4-4932-BF1F-5715E8C42184}" type="sibTrans" cxnId="{D091DFF4-39E8-4F5A-B8FF-9951A0C5E310}">
      <dgm:prSet/>
      <dgm:spPr/>
      <dgm:t>
        <a:bodyPr/>
        <a:lstStyle/>
        <a:p>
          <a:endParaRPr lang="en-US"/>
        </a:p>
      </dgm:t>
    </dgm:pt>
    <dgm:pt modelId="{7DE4044A-91ED-4C0D-84FC-AFAFFCE36CC7}" type="pres">
      <dgm:prSet presAssocID="{92CED47C-38E7-467C-8A1C-1BD722891462}" presName="linear" presStyleCnt="0">
        <dgm:presLayoutVars>
          <dgm:dir/>
          <dgm:animLvl val="lvl"/>
          <dgm:resizeHandles val="exact"/>
        </dgm:presLayoutVars>
      </dgm:prSet>
      <dgm:spPr/>
    </dgm:pt>
    <dgm:pt modelId="{0AF318F5-4834-4567-8FBD-BAC7ADA6E4BF}" type="pres">
      <dgm:prSet presAssocID="{DF8C36AC-D358-44C1-8CCF-864E48E9EE34}" presName="parentLin" presStyleCnt="0"/>
      <dgm:spPr/>
    </dgm:pt>
    <dgm:pt modelId="{01652856-29DD-4888-97C1-C7B2FCEF24C9}" type="pres">
      <dgm:prSet presAssocID="{DF8C36AC-D358-44C1-8CCF-864E48E9EE34}" presName="parentLeftMargin" presStyleLbl="node1" presStyleIdx="0" presStyleCnt="3"/>
      <dgm:spPr/>
    </dgm:pt>
    <dgm:pt modelId="{717BC3C2-DA22-4D51-A406-9086CACDDF9B}" type="pres">
      <dgm:prSet presAssocID="{DF8C36AC-D358-44C1-8CCF-864E48E9EE34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4A28FF3-818A-4AA3-9665-79EF4E644B0D}" type="pres">
      <dgm:prSet presAssocID="{DF8C36AC-D358-44C1-8CCF-864E48E9EE34}" presName="negativeSpace" presStyleCnt="0"/>
      <dgm:spPr/>
    </dgm:pt>
    <dgm:pt modelId="{42DD2E0E-F49E-4BE0-95A3-709CC9C0A47F}" type="pres">
      <dgm:prSet presAssocID="{DF8C36AC-D358-44C1-8CCF-864E48E9EE34}" presName="childText" presStyleLbl="conFgAcc1" presStyleIdx="0" presStyleCnt="3">
        <dgm:presLayoutVars>
          <dgm:bulletEnabled val="1"/>
        </dgm:presLayoutVars>
      </dgm:prSet>
      <dgm:spPr/>
    </dgm:pt>
    <dgm:pt modelId="{96D6F8AA-A05E-497C-B1A2-9318F555889E}" type="pres">
      <dgm:prSet presAssocID="{62C93ADB-50F5-4FEA-A9D2-CBD05A488FB7}" presName="spaceBetweenRectangles" presStyleCnt="0"/>
      <dgm:spPr/>
    </dgm:pt>
    <dgm:pt modelId="{5EDFE944-C54E-4409-BF67-DBDA9FFC256E}" type="pres">
      <dgm:prSet presAssocID="{277CB91B-1C42-48E8-9BA7-10FC79E64F8E}" presName="parentLin" presStyleCnt="0"/>
      <dgm:spPr/>
    </dgm:pt>
    <dgm:pt modelId="{87C4B48B-7C7D-4887-B26E-D734DA9A8C50}" type="pres">
      <dgm:prSet presAssocID="{277CB91B-1C42-48E8-9BA7-10FC79E64F8E}" presName="parentLeftMargin" presStyleLbl="node1" presStyleIdx="0" presStyleCnt="3"/>
      <dgm:spPr/>
    </dgm:pt>
    <dgm:pt modelId="{C8372599-BDA9-4E62-9184-ABA50695DEAE}" type="pres">
      <dgm:prSet presAssocID="{277CB91B-1C42-48E8-9BA7-10FC79E64F8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42C1C7A-827F-45AF-84C9-2577967EF3C1}" type="pres">
      <dgm:prSet presAssocID="{277CB91B-1C42-48E8-9BA7-10FC79E64F8E}" presName="negativeSpace" presStyleCnt="0"/>
      <dgm:spPr/>
    </dgm:pt>
    <dgm:pt modelId="{6C17968B-3B40-4894-B40F-C49EEEEE87D3}" type="pres">
      <dgm:prSet presAssocID="{277CB91B-1C42-48E8-9BA7-10FC79E64F8E}" presName="childText" presStyleLbl="conFgAcc1" presStyleIdx="1" presStyleCnt="3">
        <dgm:presLayoutVars>
          <dgm:bulletEnabled val="1"/>
        </dgm:presLayoutVars>
      </dgm:prSet>
      <dgm:spPr/>
    </dgm:pt>
    <dgm:pt modelId="{6D9D424A-D22D-4A76-852C-DEFDD3829FDE}" type="pres">
      <dgm:prSet presAssocID="{93624452-662B-4F58-934A-EBE2E5B0D4AB}" presName="spaceBetweenRectangles" presStyleCnt="0"/>
      <dgm:spPr/>
    </dgm:pt>
    <dgm:pt modelId="{FF60C45A-813C-4053-A09D-7269275F80DB}" type="pres">
      <dgm:prSet presAssocID="{6F528CE6-C1A3-4D2B-81A0-CFCEB0EBAD90}" presName="parentLin" presStyleCnt="0"/>
      <dgm:spPr/>
    </dgm:pt>
    <dgm:pt modelId="{BAFEC78A-8DAD-47F6-AE20-1A6B32AC01A4}" type="pres">
      <dgm:prSet presAssocID="{6F528CE6-C1A3-4D2B-81A0-CFCEB0EBAD90}" presName="parentLeftMargin" presStyleLbl="node1" presStyleIdx="1" presStyleCnt="3"/>
      <dgm:spPr/>
    </dgm:pt>
    <dgm:pt modelId="{ECEB8BDC-F220-41C1-B502-A535EC67DE59}" type="pres">
      <dgm:prSet presAssocID="{6F528CE6-C1A3-4D2B-81A0-CFCEB0EBAD90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E42D628-BBA6-4E36-AA67-F2E179A15711}" type="pres">
      <dgm:prSet presAssocID="{6F528CE6-C1A3-4D2B-81A0-CFCEB0EBAD90}" presName="negativeSpace" presStyleCnt="0"/>
      <dgm:spPr/>
    </dgm:pt>
    <dgm:pt modelId="{E42B4496-FBF8-4DC9-AF60-BFE77B144112}" type="pres">
      <dgm:prSet presAssocID="{6F528CE6-C1A3-4D2B-81A0-CFCEB0EBAD90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89E2010-A57F-4069-8200-CA3F718006C6}" type="presOf" srcId="{6F528CE6-C1A3-4D2B-81A0-CFCEB0EBAD90}" destId="{BAFEC78A-8DAD-47F6-AE20-1A6B32AC01A4}" srcOrd="0" destOrd="0" presId="urn:microsoft.com/office/officeart/2005/8/layout/list1"/>
    <dgm:cxn modelId="{52E3AE29-C5CC-4C79-9B26-CB7C82A1B121}" type="presOf" srcId="{6F528CE6-C1A3-4D2B-81A0-CFCEB0EBAD90}" destId="{ECEB8BDC-F220-41C1-B502-A535EC67DE59}" srcOrd="1" destOrd="0" presId="urn:microsoft.com/office/officeart/2005/8/layout/list1"/>
    <dgm:cxn modelId="{CEE86E2C-B6FA-4185-B7D7-1277DB647415}" type="presOf" srcId="{DF8C36AC-D358-44C1-8CCF-864E48E9EE34}" destId="{717BC3C2-DA22-4D51-A406-9086CACDDF9B}" srcOrd="1" destOrd="0" presId="urn:microsoft.com/office/officeart/2005/8/layout/list1"/>
    <dgm:cxn modelId="{ABBFFE2D-DDF7-4F85-BE66-4DCEC96F45D5}" type="presOf" srcId="{DF8C36AC-D358-44C1-8CCF-864E48E9EE34}" destId="{01652856-29DD-4888-97C1-C7B2FCEF24C9}" srcOrd="0" destOrd="0" presId="urn:microsoft.com/office/officeart/2005/8/layout/list1"/>
    <dgm:cxn modelId="{8D6E092E-58C8-4D72-B870-0D2F549755C5}" srcId="{6F528CE6-C1A3-4D2B-81A0-CFCEB0EBAD90}" destId="{9A286409-755C-47F6-978F-0B1056CDF2D2}" srcOrd="0" destOrd="0" parTransId="{9291BA0D-48AB-4364-A092-0919F94C1470}" sibTransId="{EDFE8248-1123-45BE-80CC-ED04D63ECAF9}"/>
    <dgm:cxn modelId="{F1C85135-8472-433E-98BE-532497A42780}" srcId="{92CED47C-38E7-467C-8A1C-1BD722891462}" destId="{DF8C36AC-D358-44C1-8CCF-864E48E9EE34}" srcOrd="0" destOrd="0" parTransId="{77454E31-4BF7-45E4-A61C-C06BAD198ECF}" sibTransId="{62C93ADB-50F5-4FEA-A9D2-CBD05A488FB7}"/>
    <dgm:cxn modelId="{DA88B244-F5E5-4611-97DA-659C633A7587}" type="presOf" srcId="{277CB91B-1C42-48E8-9BA7-10FC79E64F8E}" destId="{87C4B48B-7C7D-4887-B26E-D734DA9A8C50}" srcOrd="0" destOrd="0" presId="urn:microsoft.com/office/officeart/2005/8/layout/list1"/>
    <dgm:cxn modelId="{96164656-556B-4B15-8824-70096B5A10BD}" type="presOf" srcId="{9A286409-755C-47F6-978F-0B1056CDF2D2}" destId="{E42B4496-FBF8-4DC9-AF60-BFE77B144112}" srcOrd="0" destOrd="0" presId="urn:microsoft.com/office/officeart/2005/8/layout/list1"/>
    <dgm:cxn modelId="{11047979-4753-4BCF-91C8-FE4A8274277B}" type="presOf" srcId="{F521A60E-AF20-4BC8-BB3E-652F6286D34A}" destId="{E42B4496-FBF8-4DC9-AF60-BFE77B144112}" srcOrd="0" destOrd="1" presId="urn:microsoft.com/office/officeart/2005/8/layout/list1"/>
    <dgm:cxn modelId="{CB76AE88-F6B6-4082-AB18-69E71E6EF410}" type="presOf" srcId="{277CB91B-1C42-48E8-9BA7-10FC79E64F8E}" destId="{C8372599-BDA9-4E62-9184-ABA50695DEAE}" srcOrd="1" destOrd="0" presId="urn:microsoft.com/office/officeart/2005/8/layout/list1"/>
    <dgm:cxn modelId="{4FCE7C92-D06E-417F-8E44-A664565D79CE}" srcId="{277CB91B-1C42-48E8-9BA7-10FC79E64F8E}" destId="{78D4CC8F-2595-4059-ACA1-7005FE483A37}" srcOrd="0" destOrd="0" parTransId="{A251C99C-8B3D-40DF-81A9-D7542C43875E}" sibTransId="{881FC4F4-45E5-4ACC-B91A-47999364CD20}"/>
    <dgm:cxn modelId="{46EEE999-2E03-44F0-A90F-B50F08D0E928}" type="presOf" srcId="{78D4CC8F-2595-4059-ACA1-7005FE483A37}" destId="{6C17968B-3B40-4894-B40F-C49EEEEE87D3}" srcOrd="0" destOrd="0" presId="urn:microsoft.com/office/officeart/2005/8/layout/list1"/>
    <dgm:cxn modelId="{07D213BB-362D-4146-B0ED-D8CC3F3F30C5}" srcId="{6F528CE6-C1A3-4D2B-81A0-CFCEB0EBAD90}" destId="{F521A60E-AF20-4BC8-BB3E-652F6286D34A}" srcOrd="1" destOrd="0" parTransId="{B9351DEB-1B71-494B-81A5-B8A2DF00679D}" sibTransId="{50985435-0157-41A4-B0CC-BC30B5F0CED9}"/>
    <dgm:cxn modelId="{B88307E1-DB9A-4185-9FD6-DC8C1FDCC158}" type="presOf" srcId="{92CED47C-38E7-467C-8A1C-1BD722891462}" destId="{7DE4044A-91ED-4C0D-84FC-AFAFFCE36CC7}" srcOrd="0" destOrd="0" presId="urn:microsoft.com/office/officeart/2005/8/layout/list1"/>
    <dgm:cxn modelId="{BD6ED9E6-8181-4AA6-A77D-C77FAC08F3CC}" type="presOf" srcId="{7DB66FD1-DB95-4E83-9973-27B94C4E32F0}" destId="{42DD2E0E-F49E-4BE0-95A3-709CC9C0A47F}" srcOrd="0" destOrd="0" presId="urn:microsoft.com/office/officeart/2005/8/layout/list1"/>
    <dgm:cxn modelId="{B6080AEF-5965-4743-A061-CDC32CC39582}" srcId="{92CED47C-38E7-467C-8A1C-1BD722891462}" destId="{6F528CE6-C1A3-4D2B-81A0-CFCEB0EBAD90}" srcOrd="2" destOrd="0" parTransId="{62346CA0-5B88-4CE8-914A-B6CEB57871F1}" sibTransId="{45C9E60D-23B6-41EB-9B7D-9BC15733F6D1}"/>
    <dgm:cxn modelId="{D091DFF4-39E8-4F5A-B8FF-9951A0C5E310}" srcId="{DF8C36AC-D358-44C1-8CCF-864E48E9EE34}" destId="{7DB66FD1-DB95-4E83-9973-27B94C4E32F0}" srcOrd="0" destOrd="0" parTransId="{8ADBA68A-2F57-443B-A36D-89F41C697784}" sibTransId="{CBC0D908-B9A4-4932-BF1F-5715E8C42184}"/>
    <dgm:cxn modelId="{DBC449FF-D23E-4F26-BCA7-82B94996073D}" srcId="{92CED47C-38E7-467C-8A1C-1BD722891462}" destId="{277CB91B-1C42-48E8-9BA7-10FC79E64F8E}" srcOrd="1" destOrd="0" parTransId="{03D7C569-4529-4991-A0C2-8E79BCD76571}" sibTransId="{93624452-662B-4F58-934A-EBE2E5B0D4AB}"/>
    <dgm:cxn modelId="{F598E0C5-698C-4C12-A200-96A226695F17}" type="presParOf" srcId="{7DE4044A-91ED-4C0D-84FC-AFAFFCE36CC7}" destId="{0AF318F5-4834-4567-8FBD-BAC7ADA6E4BF}" srcOrd="0" destOrd="0" presId="urn:microsoft.com/office/officeart/2005/8/layout/list1"/>
    <dgm:cxn modelId="{70251976-2130-4A94-B16A-3B5A9305CA4C}" type="presParOf" srcId="{0AF318F5-4834-4567-8FBD-BAC7ADA6E4BF}" destId="{01652856-29DD-4888-97C1-C7B2FCEF24C9}" srcOrd="0" destOrd="0" presId="urn:microsoft.com/office/officeart/2005/8/layout/list1"/>
    <dgm:cxn modelId="{7E5DF192-5CA2-4743-8D91-DA01A23D9FBA}" type="presParOf" srcId="{0AF318F5-4834-4567-8FBD-BAC7ADA6E4BF}" destId="{717BC3C2-DA22-4D51-A406-9086CACDDF9B}" srcOrd="1" destOrd="0" presId="urn:microsoft.com/office/officeart/2005/8/layout/list1"/>
    <dgm:cxn modelId="{587F3F18-48F1-4286-A694-4A4837377C2F}" type="presParOf" srcId="{7DE4044A-91ED-4C0D-84FC-AFAFFCE36CC7}" destId="{04A28FF3-818A-4AA3-9665-79EF4E644B0D}" srcOrd="1" destOrd="0" presId="urn:microsoft.com/office/officeart/2005/8/layout/list1"/>
    <dgm:cxn modelId="{9F96B43D-B488-4FA7-8F81-18FF593519A1}" type="presParOf" srcId="{7DE4044A-91ED-4C0D-84FC-AFAFFCE36CC7}" destId="{42DD2E0E-F49E-4BE0-95A3-709CC9C0A47F}" srcOrd="2" destOrd="0" presId="urn:microsoft.com/office/officeart/2005/8/layout/list1"/>
    <dgm:cxn modelId="{08E7A6ED-E07F-4F22-848B-04309F821B43}" type="presParOf" srcId="{7DE4044A-91ED-4C0D-84FC-AFAFFCE36CC7}" destId="{96D6F8AA-A05E-497C-B1A2-9318F555889E}" srcOrd="3" destOrd="0" presId="urn:microsoft.com/office/officeart/2005/8/layout/list1"/>
    <dgm:cxn modelId="{E899D341-20F3-4075-B6A4-B66CDC8E5253}" type="presParOf" srcId="{7DE4044A-91ED-4C0D-84FC-AFAFFCE36CC7}" destId="{5EDFE944-C54E-4409-BF67-DBDA9FFC256E}" srcOrd="4" destOrd="0" presId="urn:microsoft.com/office/officeart/2005/8/layout/list1"/>
    <dgm:cxn modelId="{EAD0CA07-7229-47DB-8397-299350D240F8}" type="presParOf" srcId="{5EDFE944-C54E-4409-BF67-DBDA9FFC256E}" destId="{87C4B48B-7C7D-4887-B26E-D734DA9A8C50}" srcOrd="0" destOrd="0" presId="urn:microsoft.com/office/officeart/2005/8/layout/list1"/>
    <dgm:cxn modelId="{1125D0F0-7743-4E52-941F-124BBA4FBFB1}" type="presParOf" srcId="{5EDFE944-C54E-4409-BF67-DBDA9FFC256E}" destId="{C8372599-BDA9-4E62-9184-ABA50695DEAE}" srcOrd="1" destOrd="0" presId="urn:microsoft.com/office/officeart/2005/8/layout/list1"/>
    <dgm:cxn modelId="{41827606-E482-451B-B7CA-35C3BAC5D202}" type="presParOf" srcId="{7DE4044A-91ED-4C0D-84FC-AFAFFCE36CC7}" destId="{242C1C7A-827F-45AF-84C9-2577967EF3C1}" srcOrd="5" destOrd="0" presId="urn:microsoft.com/office/officeart/2005/8/layout/list1"/>
    <dgm:cxn modelId="{571DCCBA-4A66-4C4D-90E9-7EC330E3B65B}" type="presParOf" srcId="{7DE4044A-91ED-4C0D-84FC-AFAFFCE36CC7}" destId="{6C17968B-3B40-4894-B40F-C49EEEEE87D3}" srcOrd="6" destOrd="0" presId="urn:microsoft.com/office/officeart/2005/8/layout/list1"/>
    <dgm:cxn modelId="{828C073A-CFB1-4DF4-B5AA-4AA7A1230DD9}" type="presParOf" srcId="{7DE4044A-91ED-4C0D-84FC-AFAFFCE36CC7}" destId="{6D9D424A-D22D-4A76-852C-DEFDD3829FDE}" srcOrd="7" destOrd="0" presId="urn:microsoft.com/office/officeart/2005/8/layout/list1"/>
    <dgm:cxn modelId="{D04DD9C6-CF71-406F-9D44-5E4ED946CCC3}" type="presParOf" srcId="{7DE4044A-91ED-4C0D-84FC-AFAFFCE36CC7}" destId="{FF60C45A-813C-4053-A09D-7269275F80DB}" srcOrd="8" destOrd="0" presId="urn:microsoft.com/office/officeart/2005/8/layout/list1"/>
    <dgm:cxn modelId="{1F5D41D6-586F-4CFC-9D46-6F9559BD0964}" type="presParOf" srcId="{FF60C45A-813C-4053-A09D-7269275F80DB}" destId="{BAFEC78A-8DAD-47F6-AE20-1A6B32AC01A4}" srcOrd="0" destOrd="0" presId="urn:microsoft.com/office/officeart/2005/8/layout/list1"/>
    <dgm:cxn modelId="{299DB85B-A170-4236-8DA7-222EF7277397}" type="presParOf" srcId="{FF60C45A-813C-4053-A09D-7269275F80DB}" destId="{ECEB8BDC-F220-41C1-B502-A535EC67DE59}" srcOrd="1" destOrd="0" presId="urn:microsoft.com/office/officeart/2005/8/layout/list1"/>
    <dgm:cxn modelId="{60D4A476-6DEB-4799-9BA4-37A1E40B44AB}" type="presParOf" srcId="{7DE4044A-91ED-4C0D-84FC-AFAFFCE36CC7}" destId="{FE42D628-BBA6-4E36-AA67-F2E179A15711}" srcOrd="9" destOrd="0" presId="urn:microsoft.com/office/officeart/2005/8/layout/list1"/>
    <dgm:cxn modelId="{0716B8FC-BB6C-4CD5-AA60-3E687E178435}" type="presParOf" srcId="{7DE4044A-91ED-4C0D-84FC-AFAFFCE36CC7}" destId="{E42B4496-FBF8-4DC9-AF60-BFE77B14411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DD2E0E-F49E-4BE0-95A3-709CC9C0A47F}">
      <dsp:nvSpPr>
        <dsp:cNvPr id="0" name=""/>
        <dsp:cNvSpPr/>
      </dsp:nvSpPr>
      <dsp:spPr>
        <a:xfrm>
          <a:off x="0" y="788295"/>
          <a:ext cx="7101795" cy="104894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374904" rIns="551178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DM Sans" pitchFamily="2" charset="77"/>
            </a:rPr>
            <a:t>All data baseline-August 2025 will be </a:t>
          </a:r>
          <a:r>
            <a:rPr lang="en-US" sz="1800" b="1" kern="1200" dirty="0">
              <a:latin typeface="DM Sans" pitchFamily="2" charset="77"/>
            </a:rPr>
            <a:t>due on September 30</a:t>
          </a:r>
          <a:r>
            <a:rPr lang="en-US" sz="1800" b="1" kern="1200" baseline="30000" dirty="0">
              <a:latin typeface="DM Sans" pitchFamily="2" charset="77"/>
            </a:rPr>
            <a:t>th</a:t>
          </a:r>
          <a:r>
            <a:rPr lang="en-US" sz="1800" b="1" kern="1200" dirty="0">
              <a:latin typeface="DM Sans" pitchFamily="2" charset="77"/>
            </a:rPr>
            <a:t>, 2025,</a:t>
          </a:r>
          <a:r>
            <a:rPr lang="en-US" sz="1800" kern="1200" dirty="0">
              <a:latin typeface="DM Sans" pitchFamily="2" charset="77"/>
            </a:rPr>
            <a:t> for award consideration.</a:t>
          </a:r>
          <a:endParaRPr lang="en-US" sz="1800" b="1" kern="1200" dirty="0">
            <a:latin typeface="DM Sans" pitchFamily="2" charset="77"/>
          </a:endParaRPr>
        </a:p>
      </dsp:txBody>
      <dsp:txXfrm>
        <a:off x="0" y="788295"/>
        <a:ext cx="7101795" cy="1048949"/>
      </dsp:txXfrm>
    </dsp:sp>
    <dsp:sp modelId="{717BC3C2-DA22-4D51-A406-9086CACDDF9B}">
      <dsp:nvSpPr>
        <dsp:cNvPr id="0" name=""/>
        <dsp:cNvSpPr/>
      </dsp:nvSpPr>
      <dsp:spPr>
        <a:xfrm>
          <a:off x="355089" y="522615"/>
          <a:ext cx="4971256" cy="53136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DM Sans" pitchFamily="2" charset="77"/>
            </a:rPr>
            <a:t> </a:t>
          </a:r>
          <a:r>
            <a:rPr lang="en-US" sz="1800" b="1" kern="1200" dirty="0">
              <a:solidFill>
                <a:schemeClr val="accent1"/>
              </a:solidFill>
              <a:latin typeface="DM Sans" pitchFamily="2" charset="77"/>
            </a:rPr>
            <a:t>Submit your Data! </a:t>
          </a:r>
        </a:p>
      </dsp:txBody>
      <dsp:txXfrm>
        <a:off x="381028" y="548554"/>
        <a:ext cx="4919378" cy="479482"/>
      </dsp:txXfrm>
    </dsp:sp>
    <dsp:sp modelId="{6C17968B-3B40-4894-B40F-C49EEEEE87D3}">
      <dsp:nvSpPr>
        <dsp:cNvPr id="0" name=""/>
        <dsp:cNvSpPr/>
      </dsp:nvSpPr>
      <dsp:spPr>
        <a:xfrm>
          <a:off x="0" y="2200125"/>
          <a:ext cx="7101795" cy="13324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1162435"/>
              <a:satOff val="5350"/>
              <a:lumOff val="-901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374904" rIns="551178" bIns="128016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DM Sans" pitchFamily="2" charset="77"/>
            </a:rPr>
            <a:t> </a:t>
          </a:r>
          <a:r>
            <a:rPr lang="en-US" sz="1800" b="1" kern="1200" dirty="0">
              <a:latin typeface="DM Sans" pitchFamily="2" charset="77"/>
            </a:rPr>
            <a:t>Info coming soon!</a:t>
          </a:r>
          <a:r>
            <a:rPr lang="en-US" sz="1800" kern="1200" dirty="0">
              <a:latin typeface="DM Sans" pitchFamily="2" charset="77"/>
            </a:rPr>
            <a:t> All hospital teams are asked to submit an abstract on their QI work (can be in progress).</a:t>
          </a:r>
        </a:p>
      </dsp:txBody>
      <dsp:txXfrm>
        <a:off x="0" y="2200125"/>
        <a:ext cx="7101795" cy="1332450"/>
      </dsp:txXfrm>
    </dsp:sp>
    <dsp:sp modelId="{C8372599-BDA9-4E62-9184-ABA50695DEAE}">
      <dsp:nvSpPr>
        <dsp:cNvPr id="0" name=""/>
        <dsp:cNvSpPr/>
      </dsp:nvSpPr>
      <dsp:spPr>
        <a:xfrm>
          <a:off x="355089" y="1934446"/>
          <a:ext cx="4971256" cy="531360"/>
        </a:xfrm>
        <a:prstGeom prst="roundRect">
          <a:avLst/>
        </a:prstGeom>
        <a:solidFill>
          <a:schemeClr val="accent3">
            <a:hueOff val="1162435"/>
            <a:satOff val="5350"/>
            <a:lumOff val="-90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accent1"/>
              </a:solidFill>
              <a:latin typeface="DM Sans" pitchFamily="2" charset="77"/>
            </a:rPr>
            <a:t>Call for QI Abstracts! </a:t>
          </a:r>
        </a:p>
      </dsp:txBody>
      <dsp:txXfrm>
        <a:off x="381028" y="1960385"/>
        <a:ext cx="4919378" cy="479482"/>
      </dsp:txXfrm>
    </dsp:sp>
    <dsp:sp modelId="{E42B4496-FBF8-4DC9-AF60-BFE77B144112}">
      <dsp:nvSpPr>
        <dsp:cNvPr id="0" name=""/>
        <dsp:cNvSpPr/>
      </dsp:nvSpPr>
      <dsp:spPr>
        <a:xfrm>
          <a:off x="0" y="3895456"/>
          <a:ext cx="7101795" cy="16442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2324871"/>
              <a:satOff val="10701"/>
              <a:lumOff val="-180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374904" rIns="551178" bIns="128016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DM Sans" pitchFamily="2" charset="77"/>
            </a:rPr>
            <a:t>We want to hear from you! </a:t>
          </a:r>
          <a:r>
            <a:rPr lang="en-US" sz="1800" b="1" kern="1200" dirty="0">
              <a:latin typeface="DM Sans" pitchFamily="2" charset="77"/>
            </a:rPr>
            <a:t>Survey opens in Sept!</a:t>
          </a: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DM Sans" pitchFamily="2" charset="77"/>
            </a:rPr>
            <a:t>This is a great opportunity to share your teams' thoughts &amp; insights reflecting on 2025 and planning for 2026!</a:t>
          </a:r>
        </a:p>
      </dsp:txBody>
      <dsp:txXfrm>
        <a:off x="0" y="3895456"/>
        <a:ext cx="7101795" cy="1644299"/>
      </dsp:txXfrm>
    </dsp:sp>
    <dsp:sp modelId="{ECEB8BDC-F220-41C1-B502-A535EC67DE59}">
      <dsp:nvSpPr>
        <dsp:cNvPr id="0" name=""/>
        <dsp:cNvSpPr/>
      </dsp:nvSpPr>
      <dsp:spPr>
        <a:xfrm>
          <a:off x="355089" y="3629776"/>
          <a:ext cx="4971256" cy="531360"/>
        </a:xfrm>
        <a:prstGeom prst="roundRect">
          <a:avLst/>
        </a:prstGeom>
        <a:solidFill>
          <a:schemeClr val="accent3">
            <a:hueOff val="2324871"/>
            <a:satOff val="10701"/>
            <a:lumOff val="-180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u="none" kern="1200" dirty="0">
              <a:solidFill>
                <a:schemeClr val="accent1"/>
              </a:solidFill>
              <a:latin typeface="DM Sans" pitchFamily="2" charset="77"/>
            </a:rPr>
            <a:t>ILPQC Annual Conference Teams </a:t>
          </a:r>
          <a:r>
            <a:rPr lang="en-US" sz="1800" b="1" kern="1200" dirty="0">
              <a:solidFill>
                <a:schemeClr val="accent1"/>
              </a:solidFill>
              <a:latin typeface="DM Sans" pitchFamily="2" charset="77"/>
            </a:rPr>
            <a:t>Survey! </a:t>
          </a:r>
        </a:p>
      </dsp:txBody>
      <dsp:txXfrm>
        <a:off x="381028" y="3655715"/>
        <a:ext cx="4919378" cy="479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2032400" y="514350"/>
            <a:ext cx="81284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9" name="Google Shape;4149;p1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0" name="Google Shape;415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6" name="Google Shape;4196;p4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7" name="Google Shape;419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5" name="Google Shape;4175;p3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176" name="Google Shape;417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8" name="Google Shape;4188;g374da0147aa_0_41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189" name="Google Shape;4189;g374da0147aa_0_4132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190" name="Google Shape;4190;g374da0147aa_0_4132:notes"/>
          <p:cNvSpPr txBox="1">
            <a:spLocks noGrp="1"/>
          </p:cNvSpPr>
          <p:nvPr>
            <p:ph type="sldNum" idx="12"/>
          </p:nvPr>
        </p:nvSpPr>
        <p:spPr>
          <a:xfrm>
            <a:off x="6905979" y="6513910"/>
            <a:ext cx="5283300" cy="34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5" name="Google Shape;4225;p9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6" name="Google Shape;422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9" name="Google Shape;4239;p10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40" name="Google Shape;4240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32400" y="514350"/>
            <a:ext cx="81284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5" name="Google Shape;4265;p11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66" name="Google Shape;4266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9" name="Google Shape;4319;p12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20" name="Google Shape;432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32400" y="514350"/>
            <a:ext cx="81284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5" name="Google Shape;4465;p13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466" name="Google Shape;4466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2" name="Google Shape;4472;p14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73" name="Google Shape;4473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32400" y="514350"/>
            <a:ext cx="81284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0" name="Google Shape;4640;p15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41" name="Google Shape;4641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4" name="Google Shape;4164;p2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5" name="Google Shape;416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8" name="Google Shape;4648;p16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49" name="Google Shape;4649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32400" y="514350"/>
            <a:ext cx="81284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" name="Google Shape;4813;p17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14" name="Google Shape;481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1" name="Google Shape;4821;p18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822" name="Google Shape;4822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7" name="Google Shape;4837;p19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838" name="Google Shape;483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2" name="Google Shape;4852;p20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53" name="Google Shape;4853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5" name="Google Shape;4865;p21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66" name="Google Shape;4866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32400" y="514350"/>
            <a:ext cx="81284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1" name="Google Shape;5041;p22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42" name="Google Shape;5042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9" name="Google Shape;5049;p23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50" name="Google Shape;5050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32400" y="514350"/>
            <a:ext cx="81284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7" name="Google Shape;5067;p24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68" name="Google Shape;5068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32400" y="514350"/>
            <a:ext cx="81284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4" name="Google Shape;5204;p25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05" name="Google Shape;5205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0" name="Google Shape;4210;p5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1" name="Google Shape;421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2" name="Google Shape;5212;p27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213" name="Google Shape;5213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11">
          <a:extLst>
            <a:ext uri="{FF2B5EF4-FFF2-40B4-BE49-F238E27FC236}">
              <a16:creationId xmlns:a16="http://schemas.microsoft.com/office/drawing/2014/main" id="{50E0580D-66E0-36C0-4A43-BBAE61AFFD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2" name="Google Shape;5212;p27:notes">
            <a:extLst>
              <a:ext uri="{FF2B5EF4-FFF2-40B4-BE49-F238E27FC236}">
                <a16:creationId xmlns:a16="http://schemas.microsoft.com/office/drawing/2014/main" id="{620FFECF-7195-ED8A-E82B-3EA13840F8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13" name="Google Shape;5213;p27:notes">
            <a:extLst>
              <a:ext uri="{FF2B5EF4-FFF2-40B4-BE49-F238E27FC236}">
                <a16:creationId xmlns:a16="http://schemas.microsoft.com/office/drawing/2014/main" id="{4C991C64-643D-1F72-2AE9-784308E764B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7286968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5" name="Google Shape;5225;p28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226" name="Google Shape;5226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7" name="Google Shape;5237;g374a1498574_0_3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38" name="Google Shape;5238;g374a1498574_0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80140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25030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13160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17122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7718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71">
          <a:extLst>
            <a:ext uri="{FF2B5EF4-FFF2-40B4-BE49-F238E27FC236}">
              <a16:creationId xmlns:a16="http://schemas.microsoft.com/office/drawing/2014/main" id="{5D6CA003-FEAD-6055-BDFD-89D01B368A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2" name="Google Shape;5272;g374a1498574_0_35:notes">
            <a:extLst>
              <a:ext uri="{FF2B5EF4-FFF2-40B4-BE49-F238E27FC236}">
                <a16:creationId xmlns:a16="http://schemas.microsoft.com/office/drawing/2014/main" id="{57C242F3-A873-69D2-EEFC-108E0608D7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273" name="Google Shape;5273;g374a1498574_0_35:notes">
            <a:extLst>
              <a:ext uri="{FF2B5EF4-FFF2-40B4-BE49-F238E27FC236}">
                <a16:creationId xmlns:a16="http://schemas.microsoft.com/office/drawing/2014/main" id="{CC0E4858-FD89-80E6-63EF-42CCAC8C1E1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42654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61601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71">
          <a:extLst>
            <a:ext uri="{FF2B5EF4-FFF2-40B4-BE49-F238E27FC236}">
              <a16:creationId xmlns:a16="http://schemas.microsoft.com/office/drawing/2014/main" id="{0A1E3551-DC09-4A11-DCA7-0C58DD8BE8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2" name="Google Shape;5272;g374a1498574_0_35:notes">
            <a:extLst>
              <a:ext uri="{FF2B5EF4-FFF2-40B4-BE49-F238E27FC236}">
                <a16:creationId xmlns:a16="http://schemas.microsoft.com/office/drawing/2014/main" id="{02C2C82D-504B-4C7D-E3F7-587A272A71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273" name="Google Shape;5273;g374a1498574_0_35:notes">
            <a:extLst>
              <a:ext uri="{FF2B5EF4-FFF2-40B4-BE49-F238E27FC236}">
                <a16:creationId xmlns:a16="http://schemas.microsoft.com/office/drawing/2014/main" id="{0B72DEA4-7573-D797-BFBE-FC2D43CB978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895703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78">
          <a:extLst>
            <a:ext uri="{FF2B5EF4-FFF2-40B4-BE49-F238E27FC236}">
              <a16:creationId xmlns:a16="http://schemas.microsoft.com/office/drawing/2014/main" id="{942CDC44-754B-B75B-9650-74CF619B90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9" name="Google Shape;5279;g374a1498574_0_96:notes">
            <a:extLst>
              <a:ext uri="{FF2B5EF4-FFF2-40B4-BE49-F238E27FC236}">
                <a16:creationId xmlns:a16="http://schemas.microsoft.com/office/drawing/2014/main" id="{B98FD6C1-78E5-CD1A-42DF-76EB5977DF8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80" name="Google Shape;5280;g374a1498574_0_96:notes">
            <a:extLst>
              <a:ext uri="{FF2B5EF4-FFF2-40B4-BE49-F238E27FC236}">
                <a16:creationId xmlns:a16="http://schemas.microsoft.com/office/drawing/2014/main" id="{8FDB8918-B250-A403-23E2-32D57544ECF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437999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6" name="Google Shape;5286;g374a1498574_0_90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87" name="Google Shape;5287;g374a1498574_0_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0678418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4" name="Google Shape;5294;g374a1498574_0_102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295" name="Google Shape;5295;g374a1498574_0_10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5081991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36291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" name="Google Shape;5325;p30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26" name="Google Shape;5326;p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8" name="Google Shape;5358;p34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59" name="Google Shape;5359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6194540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8" name="Google Shape;5358;p34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359" name="Google Shape;5359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8437835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57">
          <a:extLst>
            <a:ext uri="{FF2B5EF4-FFF2-40B4-BE49-F238E27FC236}">
              <a16:creationId xmlns:a16="http://schemas.microsoft.com/office/drawing/2014/main" id="{B42FDC43-53F9-AD5B-BDA1-4FC8AB2971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8" name="Google Shape;5358;p34:notes">
            <a:extLst>
              <a:ext uri="{FF2B5EF4-FFF2-40B4-BE49-F238E27FC236}">
                <a16:creationId xmlns:a16="http://schemas.microsoft.com/office/drawing/2014/main" id="{209EE1B1-3D20-604E-FB05-0E1DACAC2B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359" name="Google Shape;5359;p34:notes">
            <a:extLst>
              <a:ext uri="{FF2B5EF4-FFF2-40B4-BE49-F238E27FC236}">
                <a16:creationId xmlns:a16="http://schemas.microsoft.com/office/drawing/2014/main" id="{94EF55B4-A6FA-0144-93C8-4A089FF169F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87286738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57">
          <a:extLst>
            <a:ext uri="{FF2B5EF4-FFF2-40B4-BE49-F238E27FC236}">
              <a16:creationId xmlns:a16="http://schemas.microsoft.com/office/drawing/2014/main" id="{12AECD45-9BED-ECC6-0CE2-9C32668A2B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8" name="Google Shape;5358;p34:notes">
            <a:extLst>
              <a:ext uri="{FF2B5EF4-FFF2-40B4-BE49-F238E27FC236}">
                <a16:creationId xmlns:a16="http://schemas.microsoft.com/office/drawing/2014/main" id="{71F1E970-B2AA-75B9-25C4-531046233AE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359" name="Google Shape;5359;p34:notes">
            <a:extLst>
              <a:ext uri="{FF2B5EF4-FFF2-40B4-BE49-F238E27FC236}">
                <a16:creationId xmlns:a16="http://schemas.microsoft.com/office/drawing/2014/main" id="{D9AAAB6D-2BBC-CDB8-C68F-A1378DFD204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170300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39090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6" name="Google Shape;5346;p32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47" name="Google Shape;5347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87">
          <a:extLst>
            <a:ext uri="{FF2B5EF4-FFF2-40B4-BE49-F238E27FC236}">
              <a16:creationId xmlns:a16="http://schemas.microsoft.com/office/drawing/2014/main" id="{C81DCB00-856A-04C5-542B-474D032135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8" name="Google Shape;4188;g374da0147aa_0_4132:notes">
            <a:extLst>
              <a:ext uri="{FF2B5EF4-FFF2-40B4-BE49-F238E27FC236}">
                <a16:creationId xmlns:a16="http://schemas.microsoft.com/office/drawing/2014/main" id="{67BA380C-820C-CC92-DC64-96ABB41F263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189" name="Google Shape;4189;g374da0147aa_0_4132:notes">
            <a:extLst>
              <a:ext uri="{FF2B5EF4-FFF2-40B4-BE49-F238E27FC236}">
                <a16:creationId xmlns:a16="http://schemas.microsoft.com/office/drawing/2014/main" id="{8FEA8149-DC72-9270-9C18-7800EAA02AB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190" name="Google Shape;4190;g374da0147aa_0_4132:notes">
            <a:extLst>
              <a:ext uri="{FF2B5EF4-FFF2-40B4-BE49-F238E27FC236}">
                <a16:creationId xmlns:a16="http://schemas.microsoft.com/office/drawing/2014/main" id="{A14333F0-DE1A-6D88-BAEC-FE23736F0A4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6905979" y="6513910"/>
            <a:ext cx="5283300" cy="34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58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8759295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9" name="Google Shape;6069;p2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070" name="Google Shape;6070;p2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8" name="Google Shape;5358;p34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59" name="Google Shape;5359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9560961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9" name="Google Shape;5369;p35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70" name="Google Shape;5370;p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>
          <a:extLst>
            <a:ext uri="{FF2B5EF4-FFF2-40B4-BE49-F238E27FC236}">
              <a16:creationId xmlns:a16="http://schemas.microsoft.com/office/drawing/2014/main" id="{1796137C-98E9-6EB3-2583-8B35B02CB0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16:notes">
            <a:extLst>
              <a:ext uri="{FF2B5EF4-FFF2-40B4-BE49-F238E27FC236}">
                <a16:creationId xmlns:a16="http://schemas.microsoft.com/office/drawing/2014/main" id="{7663AB19-484C-FF02-A681-2935061DD6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16:notes">
            <a:extLst>
              <a:ext uri="{FF2B5EF4-FFF2-40B4-BE49-F238E27FC236}">
                <a16:creationId xmlns:a16="http://schemas.microsoft.com/office/drawing/2014/main" id="{A4D08964-B5DE-0776-FF9E-5CBC33EC6A2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6:notes">
            <a:extLst>
              <a:ext uri="{FF2B5EF4-FFF2-40B4-BE49-F238E27FC236}">
                <a16:creationId xmlns:a16="http://schemas.microsoft.com/office/drawing/2014/main" id="{4BACD940-42BF-6D82-3CFF-09FB050C3CD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2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9430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3348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0064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74" name="Google Shape;20974;g3681a448973_2_1294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975" name="Google Shape;20975;g3681a448973_2_129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81" name="Google Shape;20981;g3681a448973_2_129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982" name="Google Shape;20982;g3681a448973_2_1294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20983" name="Google Shape;20983;g3681a448973_2_1294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11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0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0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0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0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0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10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0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10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0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0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0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0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0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10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5.xml"/></Relationships>
</file>

<file path=ppt/slideLayouts/_rels/slideLayout10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0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0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0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0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0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5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1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1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1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1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5.xml"/></Relationships>
</file>

<file path=ppt/slideLayouts/_rels/slideLayout1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5.xml"/></Relationships>
</file>

<file path=ppt/slideLayouts/_rels/slideLayout1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1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1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.xml"/></Relationships>
</file>

<file path=ppt/slideLayouts/_rels/slideLayout1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5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5.xml"/></Relationships>
</file>

<file path=ppt/slideLayouts/_rels/slideLayout1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5.xml"/></Relationships>
</file>

<file path=ppt/slideLayouts/_rels/slideLayout1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5.xml"/></Relationships>
</file>

<file path=ppt/slideLayouts/_rels/slideLayout1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/Relationships>
</file>

<file path=ppt/slideLayouts/_rels/slideLayout1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5.xml"/></Relationships>
</file>

<file path=ppt/slideLayouts/_rels/slideLayout1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5.xml"/></Relationships>
</file>

<file path=ppt/slideLayouts/_rels/slideLayout1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5.xml"/></Relationships>
</file>

<file path=ppt/slideLayouts/_rels/slideLayout1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5.xml"/></Relationships>
</file>

<file path=ppt/slideLayouts/_rels/slideLayout1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5.xml"/></Relationships>
</file>

<file path=ppt/slideLayouts/_rels/slideLayout1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5.xml"/></Relationships>
</file>

<file path=ppt/slideLayouts/_rels/slideLayout1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6" Type="http://schemas.openxmlformats.org/officeDocument/2006/relationships/image" Target="../media/image69.emf"/><Relationship Id="rId5" Type="http://schemas.openxmlformats.org/officeDocument/2006/relationships/image" Target="../media/image68.emf"/><Relationship Id="rId4" Type="http://schemas.openxmlformats.org/officeDocument/2006/relationships/image" Target="../media/image67.emf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7.jp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7.emf"/><Relationship Id="rId4" Type="http://schemas.openxmlformats.org/officeDocument/2006/relationships/oleObject" Target="../embeddings/oleObject2.bin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4.svg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3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3.xml"/></Relationships>
</file>

<file path=ppt/slideLayouts/_rels/slideLayout7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3.xml"/></Relationships>
</file>

<file path=ppt/slideLayouts/_rels/slideLayout8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8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3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3.xml"/></Relationships>
</file>

<file path=ppt/slideLayouts/_rels/slideLayout8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3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8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9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7.emf"/><Relationship Id="rId4" Type="http://schemas.openxmlformats.org/officeDocument/2006/relationships/oleObject" Target="../embeddings/oleObject2.bin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8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8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8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6" Type="http://schemas.openxmlformats.org/officeDocument/2006/relationships/image" Target="../media/image69.emf"/><Relationship Id="rId5" Type="http://schemas.openxmlformats.org/officeDocument/2006/relationships/image" Target="../media/image68.emf"/><Relationship Id="rId4" Type="http://schemas.openxmlformats.org/officeDocument/2006/relationships/image" Target="../media/image67.emf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7.jp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7.emf"/><Relationship Id="rId4" Type="http://schemas.openxmlformats.org/officeDocument/2006/relationships/oleObject" Target="../embeddings/oleObject2.bin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/Relationships>
</file>

<file path=ppt/slideLayouts/_rels/slideLayout8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8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3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9.jp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7.emf"/><Relationship Id="rId4" Type="http://schemas.openxmlformats.org/officeDocument/2006/relationships/oleObject" Target="../embeddings/oleObject2.bin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4.svg"/></Relationships>
</file>

<file path=ppt/slideLayouts/_rels/slideLayout8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9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9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9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9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9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9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9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9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9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9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9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7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37"/>
          <p:cNvSpPr txBox="1">
            <a:spLocks noGrp="1"/>
          </p:cNvSpPr>
          <p:nvPr>
            <p:ph type="body" idx="1"/>
          </p:nvPr>
        </p:nvSpPr>
        <p:spPr>
          <a:xfrm>
            <a:off x="1180846" y="1033017"/>
            <a:ext cx="9452610" cy="1463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" name="Google Shape;14;p37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37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7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1pPr>
            <a:lvl2pPr lvl="1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2pPr>
            <a:lvl3pPr lvl="2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3pPr>
            <a:lvl4pPr lvl="3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4pPr>
            <a:lvl5pPr lvl="4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5pPr>
            <a:lvl6pPr lvl="5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6pPr>
            <a:lvl7pPr lvl="6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7pPr>
            <a:lvl8pPr lvl="7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8pPr>
            <a:lvl9pPr lvl="8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oogle Shape;78;g374da0147aa_0_4178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79" name="Google Shape;79;g374da0147aa_0_417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80;g374da0147aa_0_41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81;g374da0147aa_0_417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" name="Google Shape;82;g374da0147aa_0_41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3" name="Google Shape;83;g374da0147aa_0_4178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g374da0147aa_0_4178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ver">
  <p:cSld name="10_Cover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g374da0147aa_0_5108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9" name="Google Shape;1009;g374da0147aa_0_5108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g374da0147aa_0_5108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11" name="Google Shape;1011;g374da0147aa_0_510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12" name="Google Shape;1012;g374da0147aa_0_5108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013" name="Google Shape;1013;g374da0147aa_0_5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4" name="Google Shape;1014;g374da0147aa_0_510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5" name="Google Shape;1015;g374da0147aa_0_5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Quotation">
  <p:cSld name="30_Quotation">
    <p:spTree>
      <p:nvGrpSpPr>
        <p:cNvPr id="1" name="Shape 9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6" name="Google Shape;9426;g3681a448973_2_5446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27" name="Google Shape;9427;g3681a448973_2_5446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28" name="Google Shape;9428;g3681a448973_2_544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29" name="Google Shape;9429;g3681a448973_2_544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30" name="Google Shape;9430;g3681a448973_2_544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31" name="Google Shape;9431;g3681a448973_2_544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32" name="Google Shape;9432;g3681a448973_2_544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33" name="Google Shape;9433;g3681a448973_2_544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34" name="Google Shape;9434;g3681a448973_2_544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35" name="Google Shape;9435;g3681a448973_2_544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36" name="Google Shape;9436;g3681a448973_2_544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7" name="Google Shape;9437;g3681a448973_2_5446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8906189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1_Quotation">
  <p:cSld name="31_Quotation">
    <p:spTree>
      <p:nvGrpSpPr>
        <p:cNvPr id="1" name="Shape 9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9" name="Google Shape;9439;g3681a448973_2_5447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40" name="Google Shape;9440;g3681a448973_2_5447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41" name="Google Shape;9441;g3681a448973_2_544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42" name="Google Shape;9442;g3681a448973_2_5447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43" name="Google Shape;9443;g3681a448973_2_544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44" name="Google Shape;9444;g3681a448973_2_544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45" name="Google Shape;9445;g3681a448973_2_5447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46" name="Google Shape;9446;g3681a448973_2_544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7" name="Google Shape;9447;g3681a448973_2_544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48" name="Google Shape;9448;g3681a448973_2_544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49" name="Google Shape;9449;g3681a448973_2_544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50" name="Google Shape;9450;g3681a448973_2_544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4851650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spTree>
      <p:nvGrpSpPr>
        <p:cNvPr id="1" name="Shape 9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52" name="Google Shape;9452;g3681a448973_2_5449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53" name="Google Shape;9453;g3681a448973_2_544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54" name="Google Shape;9454;g3681a448973_2_5449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55" name="Google Shape;9455;g3681a448973_2_544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56" name="Google Shape;9456;g3681a448973_2_544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57" name="Google Shape;9457;g3681a448973_2_544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58" name="Google Shape;9458;g3681a448973_2_544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59" name="Google Shape;9459;g3681a448973_2_544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60" name="Google Shape;9460;g3681a448973_2_544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61" name="Google Shape;9461;g3681a448973_2_544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8722705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Content">
  <p:cSld name="14_Two Content">
    <p:spTree>
      <p:nvGrpSpPr>
        <p:cNvPr id="1" name="Shape 9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3" name="Google Shape;9463;g3681a448973_2_545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64" name="Google Shape;9464;g3681a448973_2_5450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465" name="Google Shape;9465;g3681a448973_2_5450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66" name="Google Shape;9466;g3681a448973_2_545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67" name="Google Shape;9467;g3681a448973_2_545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68" name="Google Shape;9468;g3681a448973_2_545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69" name="Google Shape;9469;g3681a448973_2_545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70" name="Google Shape;9470;g3681a448973_2_5450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71" name="Google Shape;9471;g3681a448973_2_5450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72" name="Google Shape;9472;g3681a448973_2_545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73" name="Google Shape;9473;g3681a448973_2_545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6516292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mparison">
  <p:cSld name="14_Comparison">
    <p:spTree>
      <p:nvGrpSpPr>
        <p:cNvPr id="1" name="Shape 9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75" name="Google Shape;9475;g3681a448973_2_545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76" name="Google Shape;9476;g3681a448973_2_545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77" name="Google Shape;9477;g3681a448973_2_545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78" name="Google Shape;9478;g3681a448973_2_545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79" name="Google Shape;9479;g3681a448973_2_545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80" name="Google Shape;9480;g3681a448973_2_5451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81" name="Google Shape;9481;g3681a448973_2_5451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82" name="Google Shape;9482;g3681a448973_2_5451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3" name="Google Shape;9483;g3681a448973_2_545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84" name="Google Shape;9484;g3681a448973_2_545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5" name="Google Shape;9485;g3681a448973_2_545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86" name="Google Shape;9486;g3681a448973_2_545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87" name="Google Shape;9487;g3681a448973_2_545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63868874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Only">
  <p:cSld name="14_Title Only">
    <p:spTree>
      <p:nvGrpSpPr>
        <p:cNvPr id="1" name="Shape 9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89" name="Google Shape;9489;g3681a448973_2_5452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90" name="Google Shape;9490;g3681a448973_2_545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91" name="Google Shape;9491;g3681a448973_2_5452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92" name="Google Shape;9492;g3681a448973_2_545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93" name="Google Shape;9493;g3681a448973_2_545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94" name="Google Shape;9494;g3681a448973_2_545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5" name="Google Shape;9495;g3681a448973_2_5452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6" name="Google Shape;9496;g3681a448973_2_545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97" name="Google Shape;9497;g3681a448973_2_545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42270732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End">
  <p:cSld name="13_End">
    <p:spTree>
      <p:nvGrpSpPr>
        <p:cNvPr id="1" name="Shape 9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99" name="Google Shape;9499;g3681a448973_2_545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500" name="Google Shape;9500;g3681a448973_2_545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01" name="Google Shape;9501;g3681a448973_2_545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502" name="Google Shape;9502;g3681a448973_2_54539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03" name="Google Shape;9503;g3681a448973_2_54539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4" name="Google Shape;9504;g3681a448973_2_545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505" name="Google Shape;9505;g3681a448973_2_545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506" name="Google Shape;9506;g3681a448973_2_545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512140750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Blank">
  <p:cSld name="12_Blank">
    <p:spTree>
      <p:nvGrpSpPr>
        <p:cNvPr id="1" name="Shape 9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8" name="Google Shape;9508;g3681a448973_2_5454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09" name="Google Shape;9509;g3681a448973_2_545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10" name="Google Shape;9510;g3681a448973_2_545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1" name="Google Shape;9511;g3681a448973_2_5454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12" name="Google Shape;9512;g3681a448973_2_545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13" name="Google Shape;9513;g3681a448973_2_545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14" name="Google Shape;9514;g3681a448973_2_545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15" name="Google Shape;9515;g3681a448973_2_545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5255239"/>
      </p:ext>
    </p:extLst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Quotation">
  <p:cSld name="34_Quotation">
    <p:spTree>
      <p:nvGrpSpPr>
        <p:cNvPr id="1" name="Shape 9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17" name="Google Shape;9517;g3681a448973_2_5455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18" name="Google Shape;9518;g3681a448973_2_5455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19" name="Google Shape;9519;g3681a448973_2_5455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20" name="Google Shape;9520;g3681a448973_2_5455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21" name="Google Shape;9521;g3681a448973_2_545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22" name="Google Shape;9522;g3681a448973_2_545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23" name="Google Shape;9523;g3681a448973_2_5455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24" name="Google Shape;9524;g3681a448973_2_545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25" name="Google Shape;9525;g3681a448973_2_545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26" name="Google Shape;9526;g3681a448973_2_545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27" name="Google Shape;9527;g3681a448973_2_545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28" name="Google Shape;9528;g3681a448973_2_5455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2765442"/>
      </p:ext>
    </p:extLst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Quotation">
  <p:cSld name="35_Quotation">
    <p:spTree>
      <p:nvGrpSpPr>
        <p:cNvPr id="1" name="Shape 9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0" name="Google Shape;9530;g3681a448973_2_5457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31" name="Google Shape;9531;g3681a448973_2_5457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32" name="Google Shape;9532;g3681a448973_2_545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33" name="Google Shape;9533;g3681a448973_2_5457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34" name="Google Shape;9534;g3681a448973_2_545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35" name="Google Shape;9535;g3681a448973_2_545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36" name="Google Shape;9536;g3681a448973_2_5457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37" name="Google Shape;9537;g3681a448973_2_545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8" name="Google Shape;9538;g3681a448973_2_545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39" name="Google Shape;9539;g3681a448973_2_545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40" name="Google Shape;9540;g3681a448973_2_545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41" name="Google Shape;9541;g3681a448973_2_5457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088629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Divider">
  <p:cSld name="10_Divider">
    <p:bg>
      <p:bgPr>
        <a:solidFill>
          <a:schemeClr val="lt2"/>
        </a:solidFill>
        <a:effectLst/>
      </p:bgPr>
    </p:bg>
    <p:spTree>
      <p:nvGrpSpPr>
        <p:cNvPr id="1" name="Shape 10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7" name="Google Shape;1017;g374da0147aa_0_5117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018" name="Google Shape;1018;g374da0147aa_0_511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9" name="Google Shape;1019;g374da0147aa_0_51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0" name="Google Shape;1020;g374da0147aa_0_511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21" name="Google Shape;1021;g374da0147aa_0_51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22" name="Google Shape;1022;g374da0147aa_0_5117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3" name="Google Shape;1023;g374da0147aa_0_5117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6_Quotation">
  <p:cSld name="36_Quotation">
    <p:spTree>
      <p:nvGrpSpPr>
        <p:cNvPr id="1" name="Shape 9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3" name="Google Shape;9543;g3681a448973_2_54583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44" name="Google Shape;9544;g3681a448973_2_5458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45" name="Google Shape;9545;g3681a448973_2_545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46" name="Google Shape;9546;g3681a448973_2_5458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47" name="Google Shape;9547;g3681a448973_2_545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48" name="Google Shape;9548;g3681a448973_2_545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49" name="Google Shape;9549;g3681a448973_2_5458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50" name="Google Shape;9550;g3681a448973_2_545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51" name="Google Shape;9551;g3681a448973_2_5458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52" name="Google Shape;9552;g3681a448973_2_545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3" name="Google Shape;9553;g3681a448973_2_545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54" name="Google Shape;9554;g3681a448973_2_5458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4246357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Quotation">
  <p:cSld name="37_Quotation">
    <p:spTree>
      <p:nvGrpSpPr>
        <p:cNvPr id="1" name="Shape 9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56" name="Google Shape;9556;g3681a448973_2_5459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57" name="Google Shape;9557;g3681a448973_2_5459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58" name="Google Shape;9558;g3681a448973_2_545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59" name="Google Shape;9559;g3681a448973_2_5459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60" name="Google Shape;9560;g3681a448973_2_545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1" name="Google Shape;9561;g3681a448973_2_545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62" name="Google Shape;9562;g3681a448973_2_5459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63" name="Google Shape;9563;g3681a448973_2_545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64" name="Google Shape;9564;g3681a448973_2_545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65" name="Google Shape;9565;g3681a448973_2_545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66" name="Google Shape;9566;g3681a448973_2_545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7" name="Google Shape;9567;g3681a448973_2_5459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45647562"/>
      </p:ext>
    </p:extLst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ver">
  <p:cSld name="15_Cover">
    <p:spTree>
      <p:nvGrpSpPr>
        <p:cNvPr id="1" name="Shape 9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69" name="Google Shape;9569;g3681a448973_2_54609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70" name="Google Shape;9570;g3681a448973_2_54609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71" name="Google Shape;9571;g3681a448973_2_54609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572" name="Google Shape;9572;g3681a448973_2_546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573" name="Google Shape;9573;g3681a448973_2_54609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574" name="Google Shape;9574;g3681a448973_2_546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75" name="Google Shape;9575;g3681a448973_2_546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576" name="Google Shape;9576;g3681a448973_2_546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060194095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Divider">
  <p:cSld name="15_Divider">
    <p:bg>
      <p:bgPr>
        <a:solidFill>
          <a:schemeClr val="lt2"/>
        </a:solidFill>
        <a:effectLst/>
      </p:bgPr>
    </p:bg>
    <p:spTree>
      <p:nvGrpSpPr>
        <p:cNvPr id="1" name="Shape 9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78" name="Google Shape;9578;g3681a448973_2_54618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579" name="Google Shape;9579;g3681a448973_2_546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80" name="Google Shape;9580;g3681a448973_2_546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81" name="Google Shape;9581;g3681a448973_2_546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582" name="Google Shape;9582;g3681a448973_2_546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83" name="Google Shape;9583;g3681a448973_2_54618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84" name="Google Shape;9584;g3681a448973_2_54618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57541662"/>
      </p:ext>
    </p:extLst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Photo Slide">
  <p:cSld name="15_Photo Slide">
    <p:spTree>
      <p:nvGrpSpPr>
        <p:cNvPr id="1" name="Shape 9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6" name="Google Shape;9586;g3681a448973_2_5462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587" name="Google Shape;9587;g3681a448973_2_5462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588" name="Google Shape;9588;g3681a448973_2_5462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589" name="Google Shape;9589;g3681a448973_2_5462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90" name="Google Shape;9590;g3681a448973_2_5462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591" name="Google Shape;9591;g3681a448973_2_5462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592" name="Google Shape;9592;g3681a448973_2_546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14727675"/>
      </p:ext>
    </p:extLst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8_Quotation">
  <p:cSld name="38_Quotation">
    <p:spTree>
      <p:nvGrpSpPr>
        <p:cNvPr id="1" name="Shape 9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4" name="Google Shape;9594;g3681a448973_2_54634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5" name="Google Shape;9595;g3681a448973_2_5463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96" name="Google Shape;9596;g3681a448973_2_5463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97" name="Google Shape;9597;g3681a448973_2_5463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98" name="Google Shape;9598;g3681a448973_2_546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99" name="Google Shape;9599;g3681a448973_2_546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00" name="Google Shape;9600;g3681a448973_2_5463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01" name="Google Shape;9601;g3681a448973_2_546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02" name="Google Shape;9602;g3681a448973_2_5463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03" name="Google Shape;9603;g3681a448973_2_546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04" name="Google Shape;9604;g3681a448973_2_546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605" name="Google Shape;9605;g3681a448973_2_5463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4585020"/>
      </p:ext>
    </p:extLst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and Content">
  <p:cSld name="16_Title and Content">
    <p:spTree>
      <p:nvGrpSpPr>
        <p:cNvPr id="1" name="Shape 9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07" name="Google Shape;9607;g3681a448973_2_5464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08" name="Google Shape;9608;g3681a448973_2_546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09" name="Google Shape;9609;g3681a448973_2_546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10" name="Google Shape;9610;g3681a448973_2_546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11" name="Google Shape;9611;g3681a448973_2_546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12" name="Google Shape;9612;g3681a448973_2_546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13" name="Google Shape;9613;g3681a448973_2_546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14" name="Google Shape;9614;g3681a448973_2_5464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15" name="Google Shape;9615;g3681a448973_2_546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16" name="Google Shape;9616;g3681a448973_2_546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52873140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Content">
  <p:cSld name="15_Two Content">
    <p:spTree>
      <p:nvGrpSpPr>
        <p:cNvPr id="1" name="Shape 9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18" name="Google Shape;9618;g3681a448973_2_546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19" name="Google Shape;9619;g3681a448973_2_54658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620" name="Google Shape;9620;g3681a448973_2_5465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21" name="Google Shape;9621;g3681a448973_2_546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22" name="Google Shape;9622;g3681a448973_2_546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23" name="Google Shape;9623;g3681a448973_2_546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24" name="Google Shape;9624;g3681a448973_2_546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25" name="Google Shape;9625;g3681a448973_2_54658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26" name="Google Shape;9626;g3681a448973_2_54658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27" name="Google Shape;9627;g3681a448973_2_546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8" name="Google Shape;9628;g3681a448973_2_546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04892019"/>
      </p:ext>
    </p:extLst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mparison">
  <p:cSld name="15_Comparison">
    <p:spTree>
      <p:nvGrpSpPr>
        <p:cNvPr id="1" name="Shape 9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30" name="Google Shape;9630;g3681a448973_2_5467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31" name="Google Shape;9631;g3681a448973_2_546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32" name="Google Shape;9632;g3681a448973_2_546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33" name="Google Shape;9633;g3681a448973_2_546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34" name="Google Shape;9634;g3681a448973_2_546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35" name="Google Shape;9635;g3681a448973_2_54670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36" name="Google Shape;9636;g3681a448973_2_54670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7" name="Google Shape;9637;g3681a448973_2_54670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8" name="Google Shape;9638;g3681a448973_2_5467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9" name="Google Shape;9639;g3681a448973_2_5467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40" name="Google Shape;9640;g3681a448973_2_5467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41" name="Google Shape;9641;g3681a448973_2_546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42" name="Google Shape;9642;g3681a448973_2_546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55952970"/>
      </p:ext>
    </p:extLst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Only">
  <p:cSld name="15_Title Only">
    <p:spTree>
      <p:nvGrpSpPr>
        <p:cNvPr id="1" name="Shape 9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4" name="Google Shape;9644;g3681a448973_2_5468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45" name="Google Shape;9645;g3681a448973_2_546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46" name="Google Shape;9646;g3681a448973_2_5468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47" name="Google Shape;9647;g3681a448973_2_546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48" name="Google Shape;9648;g3681a448973_2_546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49" name="Google Shape;9649;g3681a448973_2_546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50" name="Google Shape;9650;g3681a448973_2_5468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51" name="Google Shape;9651;g3681a448973_2_546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52" name="Google Shape;9652;g3681a448973_2_546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7857325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Quotation">
  <p:cSld name="19_Quotation">
    <p:spTree>
      <p:nvGrpSpPr>
        <p:cNvPr id="1" name="Shape 10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Google Shape;1025;g374da0147aa_0_512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6" name="Google Shape;1026;g374da0147aa_0_512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7" name="Google Shape;1027;g374da0147aa_0_51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g374da0147aa_0_512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g374da0147aa_0_5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g374da0147aa_0_5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1" name="Google Shape;1031;g374da0147aa_0_512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32" name="Google Shape;1032;g374da0147aa_0_5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3" name="Google Shape;1033;g374da0147aa_0_51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4" name="Google Shape;1034;g374da0147aa_0_5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5" name="Google Shape;1035;g374da0147aa_0_5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6" name="Google Shape;1036;g374da0147aa_0_512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End">
  <p:cSld name="15_End">
    <p:spTree>
      <p:nvGrpSpPr>
        <p:cNvPr id="1" name="Shape 9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54" name="Google Shape;9654;g3681a448973_2_5469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655" name="Google Shape;9655;g3681a448973_2_5469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56" name="Google Shape;9656;g3681a448973_2_5469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657" name="Google Shape;9657;g3681a448973_2_54694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58" name="Google Shape;9658;g3681a448973_2_54694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59" name="Google Shape;9659;g3681a448973_2_5469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660" name="Google Shape;9660;g3681a448973_2_546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661" name="Google Shape;9661;g3681a448973_2_546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279324360"/>
      </p:ext>
    </p:extLst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Blank">
  <p:cSld name="14_Blank">
    <p:spTree>
      <p:nvGrpSpPr>
        <p:cNvPr id="1" name="Shape 9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3" name="Google Shape;9663;g3681a448973_2_5470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64" name="Google Shape;9664;g3681a448973_2_547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65" name="Google Shape;9665;g3681a448973_2_547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66" name="Google Shape;9666;g3681a448973_2_5470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67" name="Google Shape;9667;g3681a448973_2_547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68" name="Google Shape;9668;g3681a448973_2_547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69" name="Google Shape;9669;g3681a448973_2_547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70" name="Google Shape;9670;g3681a448973_2_547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2577948"/>
      </p:ext>
    </p:extLst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ver">
  <p:cSld name="17_Cover">
    <p:spTree>
      <p:nvGrpSpPr>
        <p:cNvPr id="1" name="Shape 9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72" name="Google Shape;9672;g3681a448973_2_54712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73" name="Google Shape;9673;g3681a448973_2_54712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4" name="Google Shape;9674;g3681a448973_2_54712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75" name="Google Shape;9675;g3681a448973_2_547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76" name="Google Shape;9676;g3681a448973_2_54712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677" name="Google Shape;9677;g3681a448973_2_5471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78" name="Google Shape;9678;g3681a448973_2_5471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79" name="Google Shape;9679;g3681a448973_2_547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493694148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Divider">
  <p:cSld name="17_Divider">
    <p:bg>
      <p:bgPr>
        <a:solidFill>
          <a:schemeClr val="lt2"/>
        </a:solidFill>
        <a:effectLst/>
      </p:bgPr>
    </p:bg>
    <p:spTree>
      <p:nvGrpSpPr>
        <p:cNvPr id="1" name="Shape 9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81" name="Google Shape;9681;g3681a448973_2_54721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682" name="Google Shape;9682;g3681a448973_2_5472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83" name="Google Shape;9683;g3681a448973_2_547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84" name="Google Shape;9684;g3681a448973_2_5472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85" name="Google Shape;9685;g3681a448973_2_547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686" name="Google Shape;9686;g3681a448973_2_5472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87" name="Google Shape;9687;g3681a448973_2_54721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0338893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Photo Slide">
  <p:cSld name="17_Photo Slide">
    <p:spTree>
      <p:nvGrpSpPr>
        <p:cNvPr id="1" name="Shape 9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89" name="Google Shape;9689;g3681a448973_2_54729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690" name="Google Shape;9690;g3681a448973_2_5472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691" name="Google Shape;9691;g3681a448973_2_54729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692" name="Google Shape;9692;g3681a448973_2_5472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93" name="Google Shape;9693;g3681a448973_2_5472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694" name="Google Shape;9694;g3681a448973_2_5472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695" name="Google Shape;9695;g3681a448973_2_547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34604945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1_Quotation">
  <p:cSld name="41_Quotation">
    <p:spTree>
      <p:nvGrpSpPr>
        <p:cNvPr id="1" name="Shape 9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97" name="Google Shape;9697;g3681a448973_2_5473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98" name="Google Shape;9698;g3681a448973_2_5473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99" name="Google Shape;9699;g3681a448973_2_547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00" name="Google Shape;9700;g3681a448973_2_5473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01" name="Google Shape;9701;g3681a448973_2_547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02" name="Google Shape;9702;g3681a448973_2_547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03" name="Google Shape;9703;g3681a448973_2_5473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04" name="Google Shape;9704;g3681a448973_2_547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05" name="Google Shape;9705;g3681a448973_2_5473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06" name="Google Shape;9706;g3681a448973_2_547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07" name="Google Shape;9707;g3681a448973_2_547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708" name="Google Shape;9708;g3681a448973_2_547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10765087"/>
      </p:ext>
    </p:extLst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and Content">
  <p:cSld name="18_Title and Content">
    <p:spTree>
      <p:nvGrpSpPr>
        <p:cNvPr id="1" name="Shape 9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10" name="Google Shape;9710;g3681a448973_2_5475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11" name="Google Shape;9711;g3681a448973_2_547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12" name="Google Shape;9712;g3681a448973_2_5475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13" name="Google Shape;9713;g3681a448973_2_547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14" name="Google Shape;9714;g3681a448973_2_547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15" name="Google Shape;9715;g3681a448973_2_547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16" name="Google Shape;9716;g3681a448973_2_547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17" name="Google Shape;9717;g3681a448973_2_5475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18" name="Google Shape;9718;g3681a448973_2_547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19" name="Google Shape;9719;g3681a448973_2_547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0611184"/>
      </p:ext>
    </p:extLst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wo Content">
  <p:cSld name="17_Two Content">
    <p:spTree>
      <p:nvGrpSpPr>
        <p:cNvPr id="1" name="Shape 9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1" name="Google Shape;9721;g3681a448973_2_547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2" name="Google Shape;9722;g3681a448973_2_54761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723" name="Google Shape;9723;g3681a448973_2_5476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24" name="Google Shape;9724;g3681a448973_2_547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25" name="Google Shape;9725;g3681a448973_2_5476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26" name="Google Shape;9726;g3681a448973_2_547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27" name="Google Shape;9727;g3681a448973_2_547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28" name="Google Shape;9728;g3681a448973_2_54761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29" name="Google Shape;9729;g3681a448973_2_54761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30" name="Google Shape;9730;g3681a448973_2_547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31" name="Google Shape;9731;g3681a448973_2_547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20535802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mparison">
  <p:cSld name="17_Comparison">
    <p:spTree>
      <p:nvGrpSpPr>
        <p:cNvPr id="1" name="Shape 9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33" name="Google Shape;9733;g3681a448973_2_5477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34" name="Google Shape;9734;g3681a448973_2_547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35" name="Google Shape;9735;g3681a448973_2_547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36" name="Google Shape;9736;g3681a448973_2_547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37" name="Google Shape;9737;g3681a448973_2_547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38" name="Google Shape;9738;g3681a448973_2_54773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9" name="Google Shape;9739;g3681a448973_2_54773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40" name="Google Shape;9740;g3681a448973_2_54773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41" name="Google Shape;9741;g3681a448973_2_547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42" name="Google Shape;9742;g3681a448973_2_547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43" name="Google Shape;9743;g3681a448973_2_5477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4" name="Google Shape;9744;g3681a448973_2_547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45" name="Google Shape;9745;g3681a448973_2_547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45155271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Only">
  <p:cSld name="17_Title Only">
    <p:spTree>
      <p:nvGrpSpPr>
        <p:cNvPr id="1" name="Shape 9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47" name="Google Shape;9747;g3681a448973_2_5478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48" name="Google Shape;9748;g3681a448973_2_547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49" name="Google Shape;9749;g3681a448973_2_547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50" name="Google Shape;9750;g3681a448973_2_547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51" name="Google Shape;9751;g3681a448973_2_547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52" name="Google Shape;9752;g3681a448973_2_547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53" name="Google Shape;9753;g3681a448973_2_5478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54" name="Google Shape;9754;g3681a448973_2_547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5" name="Google Shape;9755;g3681a448973_2_547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8501525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Photo Slide">
  <p:cSld name="10_Photo Slide">
    <p:spTree>
      <p:nvGrpSpPr>
        <p:cNvPr id="1" name="Shape 1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8" name="Google Shape;1038;g374da0147aa_0_513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39" name="Google Shape;1039;g374da0147aa_0_513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40" name="Google Shape;1040;g374da0147aa_0_513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041" name="Google Shape;1041;g374da0147aa_0_513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2" name="Google Shape;1042;g374da0147aa_0_513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3" name="Google Shape;1043;g374da0147aa_0_513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44" name="Google Shape;1044;g374da0147aa_0_51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End">
  <p:cSld name="17_End">
    <p:spTree>
      <p:nvGrpSpPr>
        <p:cNvPr id="1" name="Shape 97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57" name="Google Shape;9757;g3681a448973_2_547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758" name="Google Shape;9758;g3681a448973_2_547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59" name="Google Shape;9759;g3681a448973_2_547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760" name="Google Shape;9760;g3681a448973_2_54797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61" name="Google Shape;9761;g3681a448973_2_5479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62" name="Google Shape;9762;g3681a448973_2_547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63" name="Google Shape;9763;g3681a448973_2_547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64" name="Google Shape;9764;g3681a448973_2_547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812702846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Blank">
  <p:cSld name="16_Blank">
    <p:spTree>
      <p:nvGrpSpPr>
        <p:cNvPr id="1" name="Shape 9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6" name="Google Shape;9766;g3681a448973_2_5480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67" name="Google Shape;9767;g3681a448973_2_548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68" name="Google Shape;9768;g3681a448973_2_548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9" name="Google Shape;9769;g3681a448973_2_5480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70" name="Google Shape;9770;g3681a448973_2_548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71" name="Google Shape;9771;g3681a448973_2_5480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72" name="Google Shape;9772;g3681a448973_2_548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73" name="Google Shape;9773;g3681a448973_2_548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7117152"/>
      </p:ext>
    </p:extLst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2_Quotation">
  <p:cSld name="42_Quotation">
    <p:spTree>
      <p:nvGrpSpPr>
        <p:cNvPr id="1" name="Shape 9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5" name="Google Shape;9775;g3681a448973_2_5481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76" name="Google Shape;9776;g3681a448973_2_5481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77" name="Google Shape;9777;g3681a448973_2_5481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78" name="Google Shape;9778;g3681a448973_2_548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79" name="Google Shape;9779;g3681a448973_2_548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80" name="Google Shape;9780;g3681a448973_2_548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81" name="Google Shape;9781;g3681a448973_2_548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782" name="Google Shape;9782;g3681a448973_2_548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3" name="Google Shape;9783;g3681a448973_2_548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784" name="Google Shape;9784;g3681a448973_2_548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85" name="Google Shape;9785;g3681a448973_2_548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786" name="Google Shape;9786;g3681a448973_2_5481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3132370"/>
      </p:ext>
    </p:extLst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type="title">
  <p:cSld name="2_Title Slide">
    <p:spTree>
      <p:nvGrpSpPr>
        <p:cNvPr id="1" name="Shape 9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8" name="Google Shape;9788;g3681a448973_2_5482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89" name="Google Shape;9789;g3681a448973_2_5482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790" name="Google Shape;9790;g3681a448973_2_5482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791" name="Google Shape;9791;g3681a448973_2_548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92" name="Google Shape;9792;g3681a448973_2_548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4636555"/>
      </p:ext>
    </p:extLst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97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4" name="Google Shape;9794;g3681a448973_2_54834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95" name="Google Shape;9795;g3681a448973_2_54834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96" name="Google Shape;9796;g3681a448973_2_548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797" name="Google Shape;9797;g3681a448973_2_548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98" name="Google Shape;9798;g3681a448973_2_548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799" name="Google Shape;9799;g3681a448973_2_54834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00" name="Google Shape;9800;g3681a448973_2_54834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01" name="Google Shape;9801;g3681a448973_2_54834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02" name="Google Shape;9802;g3681a448973_2_548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36106806"/>
      </p:ext>
    </p:extLst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Yale Blue">
  <p:cSld name="4_Title Slide_Yale Blue">
    <p:spTree>
      <p:nvGrpSpPr>
        <p:cNvPr id="1" name="Shape 9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4" name="Google Shape;9804;g3681a448973_2_54844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05" name="Google Shape;9805;g3681a448973_2_54844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06" name="Google Shape;9806;g3681a448973_2_548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07" name="Google Shape;9807;g3681a448973_2_548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08" name="Google Shape;9808;g3681a448973_2_548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809" name="Google Shape;9809;g3681a448973_2_54844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10" name="Google Shape;9810;g3681a448973_2_54844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11" name="Google Shape;9811;g3681a448973_2_54844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12" name="Google Shape;9812;g3681a448973_2_548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8272685"/>
      </p:ext>
    </p:extLst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9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4" name="Google Shape;9814;g3681a448973_2_54854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15" name="Google Shape;9815;g3681a448973_2_5485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16" name="Google Shape;9816;g3681a448973_2_5485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17" name="Google Shape;9817;g3681a448973_2_54854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18" name="Google Shape;9818;g3681a448973_2_5485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0921810"/>
      </p:ext>
    </p:extLst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and Content">
  <p:cSld name="19_Title and Content">
    <p:spTree>
      <p:nvGrpSpPr>
        <p:cNvPr id="1" name="Shape 9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20" name="Google Shape;9820;g3681a448973_2_5486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821" name="Google Shape;9821;g3681a448973_2_548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9822" name="Google Shape;9822;g3681a448973_2_5486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23" name="Google Shape;9823;g3681a448973_2_54860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24" name="Google Shape;9824;g3681a448973_2_54860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7539818"/>
      </p:ext>
    </p:extLst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9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26" name="Google Shape;9826;g3681a448973_2_5486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27" name="Google Shape;9827;g3681a448973_2_5486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28" name="Google Shape;9828;g3681a448973_2_54866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29" name="Google Shape;9829;g3681a448973_2_54866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30" name="Google Shape;9830;g3681a448973_2_54866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831" name="Google Shape;9831;g3681a448973_2_5486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76680917"/>
      </p:ext>
    </p:extLst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Yale Blue">
  <p:cSld name="5_Title Slide_Yale Blue">
    <p:spTree>
      <p:nvGrpSpPr>
        <p:cNvPr id="1" name="Shape 9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3" name="Google Shape;9833;g3681a448973_2_54873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34" name="Google Shape;9834;g3681a448973_2_54873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35" name="Google Shape;9835;g3681a448973_2_548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36" name="Google Shape;9836;g3681a448973_2_548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37" name="Google Shape;9837;g3681a448973_2_548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838" name="Google Shape;9838;g3681a448973_2_54873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39" name="Google Shape;9839;g3681a448973_2_54873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0" name="Google Shape;9840;g3681a448973_2_54873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41" name="Google Shape;9841;g3681a448973_2_548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2835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spTree>
      <p:nvGrpSpPr>
        <p:cNvPr id="1" name="Shape 10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" name="Google Shape;1046;g374da0147aa_0_514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47" name="Google Shape;1047;g374da0147aa_0_5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" name="Google Shape;1048;g374da0147aa_0_514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49" name="Google Shape;1049;g374da0147aa_0_5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0" name="Google Shape;1050;g374da0147aa_0_5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1" name="Google Shape;1051;g374da0147aa_0_5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" name="Google Shape;1052;g374da0147aa_0_51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3" name="Google Shape;1053;g374da0147aa_0_514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4" name="Google Shape;1054;g374da0147aa_0_5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5" name="Google Shape;1055;g374da0147aa_0_5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Bullets Layout">
  <p:cSld name="1_Title and Bullets Layout">
    <p:spTree>
      <p:nvGrpSpPr>
        <p:cNvPr id="1" name="Shape 98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3" name="Google Shape;9843;g3681a448973_2_54883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44" name="Google Shape;9844;g3681a448973_2_54883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5" name="Google Shape;9845;g3681a448973_2_54883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6" name="Google Shape;9846;g3681a448973_2_54883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47" name="Google Shape;9847;g3681a448973_2_548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9013462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Section | Picture and Copy Layout">
  <p:cSld name="1_Two Section | Picture and Copy Layout">
    <p:spTree>
      <p:nvGrpSpPr>
        <p:cNvPr id="1" name="Shape 98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9" name="Google Shape;9849;g3681a448973_2_54889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50" name="Google Shape;9850;g3681a448973_2_54889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51" name="Google Shape;9851;g3681a448973_2_54889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2" name="Google Shape;9852;g3681a448973_2_54889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3" name="Google Shape;9853;g3681a448973_2_54889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854" name="Google Shape;9854;g3681a448973_2_548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7821573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Yale Blue">
  <p:cSld name="6_Title Slide_Yale Blue">
    <p:spTree>
      <p:nvGrpSpPr>
        <p:cNvPr id="1" name="Shape 98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6" name="Google Shape;9856;g3681a448973_2_54896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7" name="Google Shape;9857;g3681a448973_2_54896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8" name="Google Shape;9858;g3681a448973_2_5489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59" name="Google Shape;9859;g3681a448973_2_548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60" name="Google Shape;9860;g3681a448973_2_548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861" name="Google Shape;9861;g3681a448973_2_54896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62" name="Google Shape;9862;g3681a448973_2_54896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63" name="Google Shape;9863;g3681a448973_2_54896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64" name="Google Shape;9864;g3681a448973_2_548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1146349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Yale Blue">
  <p:cSld name="7_Title Slide_Yale Blue">
    <p:spTree>
      <p:nvGrpSpPr>
        <p:cNvPr id="1" name="Shape 98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6" name="Google Shape;9866;g3681a448973_2_54906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67" name="Google Shape;9867;g3681a448973_2_54906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68" name="Google Shape;9868;g3681a448973_2_5490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69" name="Google Shape;9869;g3681a448973_2_549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70" name="Google Shape;9870;g3681a448973_2_549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871" name="Google Shape;9871;g3681a448973_2_54906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72" name="Google Shape;9872;g3681a448973_2_54906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73" name="Google Shape;9873;g3681a448973_2_54906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74" name="Google Shape;9874;g3681a448973_2_549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9361157"/>
      </p:ext>
    </p:extLst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_Yale Blue">
  <p:cSld name="8_Title Slide_Yale Blue">
    <p:spTree>
      <p:nvGrpSpPr>
        <p:cNvPr id="1" name="Shape 9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76" name="Google Shape;9876;g3681a448973_2_54916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77" name="Google Shape;9877;g3681a448973_2_54916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78" name="Google Shape;9878;g3681a448973_2_5491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79" name="Google Shape;9879;g3681a448973_2_549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0" name="Google Shape;9880;g3681a448973_2_549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881" name="Google Shape;9881;g3681a448973_2_54916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82" name="Google Shape;9882;g3681a448973_2_54916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83" name="Google Shape;9883;g3681a448973_2_54916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84" name="Google Shape;9884;g3681a448973_2_549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07887593"/>
      </p:ext>
    </p:extLst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 Layout">
  <p:cSld name="2_Title and Bullets Layout">
    <p:spTree>
      <p:nvGrpSpPr>
        <p:cNvPr id="1" name="Shape 9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86" name="Google Shape;9886;g3681a448973_2_54926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7" name="Google Shape;9887;g3681a448973_2_5492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88" name="Google Shape;9888;g3681a448973_2_5492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89" name="Google Shape;9889;g3681a448973_2_54926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890" name="Google Shape;9890;g3681a448973_2_549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09933340"/>
      </p:ext>
    </p:extLst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and Content">
  <p:cSld name="21_Title and Content">
    <p:spTree>
      <p:nvGrpSpPr>
        <p:cNvPr id="1" name="Shape 9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92" name="Google Shape;9892;g3681a448973_2_5493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893" name="Google Shape;9893;g3681a448973_2_549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9894" name="Google Shape;9894;g3681a448973_2_5493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95" name="Google Shape;9895;g3681a448973_2_54932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96" name="Google Shape;9896;g3681a448973_2_54932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47700162"/>
      </p:ext>
    </p:extLst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Section | Picture and Copy Layout">
  <p:cSld name="2_Two Section | Picture and Copy Layout">
    <p:spTree>
      <p:nvGrpSpPr>
        <p:cNvPr id="1" name="Shape 9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98" name="Google Shape;9898;g3681a448973_2_5493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99" name="Google Shape;9899;g3681a448973_2_5493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00" name="Google Shape;9900;g3681a448973_2_54938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01" name="Google Shape;9901;g3681a448973_2_54938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02" name="Google Shape;9902;g3681a448973_2_54938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03" name="Google Shape;9903;g3681a448973_2_549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1647335"/>
      </p:ext>
    </p:extLst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_Yale Blue">
  <p:cSld name="9_Title Slide_Yale Blue">
    <p:spTree>
      <p:nvGrpSpPr>
        <p:cNvPr id="1" name="Shape 9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5" name="Google Shape;9905;g3681a448973_2_54945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06" name="Google Shape;9906;g3681a448973_2_54945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7" name="Google Shape;9907;g3681a448973_2_5494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908" name="Google Shape;9908;g3681a448973_2_549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9" name="Google Shape;9909;g3681a448973_2_549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910" name="Google Shape;9910;g3681a448973_2_54945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11" name="Google Shape;9911;g3681a448973_2_54945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12" name="Google Shape;9912;g3681a448973_2_54945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13" name="Google Shape;9913;g3681a448973_2_549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1574136"/>
      </p:ext>
    </p:extLst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Bullets Layout">
  <p:cSld name="3_Title and Bullets Layout">
    <p:spTree>
      <p:nvGrpSpPr>
        <p:cNvPr id="1" name="Shape 9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15" name="Google Shape;9915;g3681a448973_2_54955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16" name="Google Shape;9916;g3681a448973_2_5495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17" name="Google Shape;9917;g3681a448973_2_5495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18" name="Google Shape;9918;g3681a448973_2_54955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19" name="Google Shape;9919;g3681a448973_2_549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822044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Content">
  <p:cSld name="10_Two Content">
    <p:spTree>
      <p:nvGrpSpPr>
        <p:cNvPr id="1" name="Shape 10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7" name="Google Shape;1057;g374da0147aa_0_51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8" name="Google Shape;1058;g374da0147aa_0_5157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59" name="Google Shape;1059;g374da0147aa_0_515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60" name="Google Shape;1060;g374da0147aa_0_51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1" name="Google Shape;1061;g374da0147aa_0_51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2" name="Google Shape;1062;g374da0147aa_0_5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3" name="Google Shape;1063;g374da0147aa_0_5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4" name="Google Shape;1064;g374da0147aa_0_5157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5" name="Google Shape;1065;g374da0147aa_0_5157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6" name="Google Shape;1066;g374da0147aa_0_5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7" name="Google Shape;1067;g374da0147aa_0_5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and Content">
  <p:cSld name="22_Title and Content">
    <p:spTree>
      <p:nvGrpSpPr>
        <p:cNvPr id="1" name="Shape 9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1" name="Google Shape;9921;g3681a448973_2_54961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922" name="Google Shape;9922;g3681a448973_2_549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9923" name="Google Shape;9923;g3681a448973_2_54961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24" name="Google Shape;9924;g3681a448973_2_54961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25" name="Google Shape;9925;g3681a448973_2_54961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43105386"/>
      </p:ext>
    </p:extLst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Section | Picture and Copy Layout">
  <p:cSld name="3_Two Section | Picture and Copy Layout">
    <p:spTree>
      <p:nvGrpSpPr>
        <p:cNvPr id="1" name="Shape 9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7" name="Google Shape;9927;g3681a448973_2_54967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28" name="Google Shape;9928;g3681a448973_2_54967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29" name="Google Shape;9929;g3681a448973_2_54967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30" name="Google Shape;9930;g3681a448973_2_54967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31" name="Google Shape;9931;g3681a448973_2_54967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32" name="Google Shape;9932;g3681a448973_2_549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76932496"/>
      </p:ext>
    </p:extLst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Slide_Yale Blue">
  <p:cSld name="11_Title Slide_Yale Blue">
    <p:spTree>
      <p:nvGrpSpPr>
        <p:cNvPr id="1" name="Shape 9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4" name="Google Shape;9934;g3681a448973_2_54974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35" name="Google Shape;9935;g3681a448973_2_54974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36" name="Google Shape;9936;g3681a448973_2_549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937" name="Google Shape;9937;g3681a448973_2_549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38" name="Google Shape;9938;g3681a448973_2_549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939" name="Google Shape;9939;g3681a448973_2_54974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40" name="Google Shape;9940;g3681a448973_2_54974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41" name="Google Shape;9941;g3681a448973_2_54974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42" name="Google Shape;9942;g3681a448973_2_549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5849905"/>
      </p:ext>
    </p:extLst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Bullets Layout">
  <p:cSld name="4_Title and Bullets Layout">
    <p:spTree>
      <p:nvGrpSpPr>
        <p:cNvPr id="1" name="Shape 99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4" name="Google Shape;9944;g3681a448973_2_54984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45" name="Google Shape;9945;g3681a448973_2_5498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46" name="Google Shape;9946;g3681a448973_2_5498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47" name="Google Shape;9947;g3681a448973_2_54984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48" name="Google Shape;9948;g3681a448973_2_549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4485361"/>
      </p:ext>
    </p:extLst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and Content">
  <p:cSld name="23_Title and Content">
    <p:spTree>
      <p:nvGrpSpPr>
        <p:cNvPr id="1" name="Shape 9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50" name="Google Shape;9950;g3681a448973_2_5499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951" name="Google Shape;9951;g3681a448973_2_549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9952" name="Google Shape;9952;g3681a448973_2_5499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53" name="Google Shape;9953;g3681a448973_2_54990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54" name="Google Shape;9954;g3681a448973_2_54990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89395484"/>
      </p:ext>
    </p:extLst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Section | Picture and Copy Layout">
  <p:cSld name="4_Two Section | Picture and Copy Layout">
    <p:spTree>
      <p:nvGrpSpPr>
        <p:cNvPr id="1" name="Shape 9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56" name="Google Shape;9956;g3681a448973_2_5499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57" name="Google Shape;9957;g3681a448973_2_5499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58" name="Google Shape;9958;g3681a448973_2_54996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59" name="Google Shape;9959;g3681a448973_2_54996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60" name="Google Shape;9960;g3681a448973_2_54996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61" name="Google Shape;9961;g3681a448973_2_549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0776622"/>
      </p:ext>
    </p:extLst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Slide_Yale Blue">
  <p:cSld name="12_Title Slide_Yale Blue">
    <p:spTree>
      <p:nvGrpSpPr>
        <p:cNvPr id="1" name="Shape 99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63" name="Google Shape;9963;g3681a448973_2_55003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64" name="Google Shape;9964;g3681a448973_2_55003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65" name="Google Shape;9965;g3681a448973_2_550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966" name="Google Shape;9966;g3681a448973_2_550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67" name="Google Shape;9967;g3681a448973_2_550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968" name="Google Shape;9968;g3681a448973_2_55003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69" name="Google Shape;9969;g3681a448973_2_55003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0" name="Google Shape;9970;g3681a448973_2_55003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71" name="Google Shape;9971;g3681a448973_2_550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8065127"/>
      </p:ext>
    </p:extLst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Bullets Layout">
  <p:cSld name="5_Title and Bullets Layout">
    <p:spTree>
      <p:nvGrpSpPr>
        <p:cNvPr id="1" name="Shape 9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3" name="Google Shape;9973;g3681a448973_2_55013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74" name="Google Shape;9974;g3681a448973_2_55013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5" name="Google Shape;9975;g3681a448973_2_55013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6" name="Google Shape;9976;g3681a448973_2_55013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77" name="Google Shape;9977;g3681a448973_2_550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9710355"/>
      </p:ext>
    </p:extLst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and Content">
  <p:cSld name="24_Title and Content">
    <p:spTree>
      <p:nvGrpSpPr>
        <p:cNvPr id="1" name="Shape 9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9" name="Google Shape;9979;g3681a448973_2_55019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980" name="Google Shape;9980;g3681a448973_2_550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9981" name="Google Shape;9981;g3681a448973_2_55019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82" name="Google Shape;9982;g3681a448973_2_55019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3" name="Google Shape;9983;g3681a448973_2_55019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49881438"/>
      </p:ext>
    </p:extLst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Section | Picture and Copy Layout">
  <p:cSld name="5_Two Section | Picture and Copy Layout">
    <p:spTree>
      <p:nvGrpSpPr>
        <p:cNvPr id="1" name="Shape 9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5" name="Google Shape;9985;g3681a448973_2_5502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86" name="Google Shape;9986;g3681a448973_2_5502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87" name="Google Shape;9987;g3681a448973_2_55025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88" name="Google Shape;9988;g3681a448973_2_55025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89" name="Google Shape;9989;g3681a448973_2_55025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90" name="Google Shape;9990;g3681a448973_2_550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26746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mparison">
  <p:cSld name="10_Comparison">
    <p:spTree>
      <p:nvGrpSpPr>
        <p:cNvPr id="1" name="Shape 1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9" name="Google Shape;1069;g374da0147aa_0_516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70" name="Google Shape;1070;g374da0147aa_0_51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1" name="Google Shape;1071;g374da0147aa_0_516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2" name="Google Shape;1072;g374da0147aa_0_51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3" name="Google Shape;1073;g374da0147aa_0_51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4" name="Google Shape;1074;g374da0147aa_0_5169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5" name="Google Shape;1075;g374da0147aa_0_5169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6" name="Google Shape;1076;g374da0147aa_0_5169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7" name="Google Shape;1077;g374da0147aa_0_516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8" name="Google Shape;1078;g374da0147aa_0_516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9" name="Google Shape;1079;g374da0147aa_0_516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0" name="Google Shape;1080;g374da0147aa_0_51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1" name="Google Shape;1081;g374da0147aa_0_5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Bullets Layout">
  <p:cSld name="7_Title and Bullets Layout">
    <p:spTree>
      <p:nvGrpSpPr>
        <p:cNvPr id="1" name="Shape 9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2" name="Google Shape;9992;g3681a448973_2_55032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93" name="Google Shape;9993;g3681a448973_2_5503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94" name="Google Shape;9994;g3681a448973_2_5503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95" name="Google Shape;9995;g3681a448973_2_55032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996" name="Google Shape;9996;g3681a448973_2_550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2428475"/>
      </p:ext>
    </p:extLst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Section | Picture and Copy Layout">
  <p:cSld name="7_Two Section | Picture and Copy Layout">
    <p:spTree>
      <p:nvGrpSpPr>
        <p:cNvPr id="1" name="Shape 9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8" name="Google Shape;9998;g3681a448973_2_5503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99" name="Google Shape;9999;g3681a448973_2_5503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00" name="Google Shape;10000;g3681a448973_2_55038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01" name="Google Shape;10001;g3681a448973_2_55038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02" name="Google Shape;10002;g3681a448973_2_55038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003" name="Google Shape;10003;g3681a448973_2_550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2178509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and Content">
  <p:cSld name="26_Title and Content">
    <p:spTree>
      <p:nvGrpSpPr>
        <p:cNvPr id="1" name="Shape 10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5" name="Google Shape;10005;g3681a448973_2_5504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006" name="Google Shape;10006;g3681a448973_2_550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007" name="Google Shape;10007;g3681a448973_2_5504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08" name="Google Shape;10008;g3681a448973_2_55045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09" name="Google Shape;10009;g3681a448973_2_55045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41532916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ver">
  <p:cSld name="18_Cover">
    <p:spTree>
      <p:nvGrpSpPr>
        <p:cNvPr id="1" name="Shape 10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1" name="Google Shape;10011;g3681a448973_2_55051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12" name="Google Shape;10012;g3681a448973_2_55051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13" name="Google Shape;10013;g3681a448973_2_55051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14" name="Google Shape;10014;g3681a448973_2_550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15" name="Google Shape;10015;g3681a448973_2_55051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0016" name="Google Shape;10016;g3681a448973_2_550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17" name="Google Shape;10017;g3681a448973_2_550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18" name="Google Shape;10018;g3681a448973_2_550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078439752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Divider">
  <p:cSld name="18_Divider">
    <p:bg>
      <p:bgPr>
        <a:solidFill>
          <a:schemeClr val="lt2"/>
        </a:solidFill>
        <a:effectLst/>
      </p:bgPr>
    </p:bg>
    <p:spTree>
      <p:nvGrpSpPr>
        <p:cNvPr id="1" name="Shape 10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20" name="Google Shape;10020;g3681a448973_2_55060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0021" name="Google Shape;10021;g3681a448973_2_550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22" name="Google Shape;10022;g3681a448973_2_550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23" name="Google Shape;10023;g3681a448973_2_550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24" name="Google Shape;10024;g3681a448973_2_550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025" name="Google Shape;10025;g3681a448973_2_55060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26" name="Google Shape;10026;g3681a448973_2_55060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24948926"/>
      </p:ext>
    </p:extLst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Photo Slide">
  <p:cSld name="18_Photo Slide">
    <p:spTree>
      <p:nvGrpSpPr>
        <p:cNvPr id="1" name="Shape 10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8" name="Google Shape;10028;g3681a448973_2_5506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29" name="Google Shape;10029;g3681a448973_2_5506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30" name="Google Shape;10030;g3681a448973_2_5506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0031" name="Google Shape;10031;g3681a448973_2_5506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32" name="Google Shape;10032;g3681a448973_2_5506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33" name="Google Shape;10033;g3681a448973_2_5506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034" name="Google Shape;10034;g3681a448973_2_550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50450611"/>
      </p:ext>
    </p:extLst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Quotation">
  <p:cSld name="45_Quotation">
    <p:spTree>
      <p:nvGrpSpPr>
        <p:cNvPr id="1" name="Shape 10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" name="Google Shape;10036;g3681a448973_2_5507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37" name="Google Shape;10037;g3681a448973_2_5507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38" name="Google Shape;10038;g3681a448973_2_550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39" name="Google Shape;10039;g3681a448973_2_5507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40" name="Google Shape;10040;g3681a448973_2_550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41" name="Google Shape;10041;g3681a448973_2_550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42" name="Google Shape;10042;g3681a448973_2_5507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043" name="Google Shape;10043;g3681a448973_2_550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4" name="Google Shape;10044;g3681a448973_2_5507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45" name="Google Shape;10045;g3681a448973_2_550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46" name="Google Shape;10046;g3681a448973_2_550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47" name="Google Shape;10047;g3681a448973_2_5507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226823"/>
      </p:ext>
    </p:extLst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and Content">
  <p:cSld name="28_Title and Content">
    <p:spTree>
      <p:nvGrpSpPr>
        <p:cNvPr id="1" name="Shape 10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49" name="Google Shape;10049;g3681a448973_2_5508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050" name="Google Shape;10050;g3681a448973_2_550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51" name="Google Shape;10051;g3681a448973_2_5508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52" name="Google Shape;10052;g3681a448973_2_550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53" name="Google Shape;10053;g3681a448973_2_550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54" name="Google Shape;10054;g3681a448973_2_550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55" name="Google Shape;10055;g3681a448973_2_5508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56" name="Google Shape;10056;g3681a448973_2_5508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57" name="Google Shape;10057;g3681a448973_2_550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58" name="Google Shape;10058;g3681a448973_2_550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86742317"/>
      </p:ext>
    </p:extLst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wo Content">
  <p:cSld name="18_Two Content">
    <p:spTree>
      <p:nvGrpSpPr>
        <p:cNvPr id="1" name="Shape 10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0" name="Google Shape;10060;g3681a448973_2_551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1" name="Google Shape;10061;g3681a448973_2_5510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062" name="Google Shape;10062;g3681a448973_2_5510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063" name="Google Shape;10063;g3681a448973_2_551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64" name="Google Shape;10064;g3681a448973_2_551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65" name="Google Shape;10065;g3681a448973_2_55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66" name="Google Shape;10066;g3681a448973_2_55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67" name="Google Shape;10067;g3681a448973_2_5510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68" name="Google Shape;10068;g3681a448973_2_5510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69" name="Google Shape;10069;g3681a448973_2_55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70" name="Google Shape;10070;g3681a448973_2_55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20241080"/>
      </p:ext>
    </p:extLst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mparison">
  <p:cSld name="18_Comparison">
    <p:spTree>
      <p:nvGrpSpPr>
        <p:cNvPr id="1" name="Shape 10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72" name="Google Shape;10072;g3681a448973_2_5511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073" name="Google Shape;10073;g3681a448973_2_55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74" name="Google Shape;10074;g3681a448973_2_551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75" name="Google Shape;10075;g3681a448973_2_55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76" name="Google Shape;10076;g3681a448973_2_55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77" name="Google Shape;10077;g3681a448973_2_5511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78" name="Google Shape;10078;g3681a448973_2_5511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79" name="Google Shape;10079;g3681a448973_2_5511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0" name="Google Shape;10080;g3681a448973_2_5511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81" name="Google Shape;10081;g3681a448973_2_5511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2" name="Google Shape;10082;g3681a448973_2_5511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83" name="Google Shape;10083;g3681a448973_2_55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84" name="Google Shape;10084;g3681a448973_2_55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7389965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Only">
  <p:cSld name="10_Title Only">
    <p:spTree>
      <p:nvGrpSpPr>
        <p:cNvPr id="1" name="Shape 10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3" name="Google Shape;1083;g374da0147aa_0_518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84" name="Google Shape;1084;g374da0147aa_0_51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5" name="Google Shape;1085;g374da0147aa_0_518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6" name="Google Shape;1086;g374da0147aa_0_5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7" name="Google Shape;1087;g374da0147aa_0_5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88" name="Google Shape;1088;g374da0147aa_0_51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9" name="Google Shape;1089;g374da0147aa_0_518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0" name="Google Shape;1090;g374da0147aa_0_5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1" name="Google Shape;1091;g374da0147aa_0_5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Only">
  <p:cSld name="18_Title Only">
    <p:spTree>
      <p:nvGrpSpPr>
        <p:cNvPr id="1" name="Shape 10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86" name="Google Shape;10086;g3681a448973_2_5512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087" name="Google Shape;10087;g3681a448973_2_55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88" name="Google Shape;10088;g3681a448973_2_551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89" name="Google Shape;10089;g3681a448973_2_55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90" name="Google Shape;10090;g3681a448973_2_55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91" name="Google Shape;10091;g3681a448973_2_55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92" name="Google Shape;10092;g3681a448973_2_5512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93" name="Google Shape;10093;g3681a448973_2_55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94" name="Google Shape;10094;g3681a448973_2_55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5287908"/>
      </p:ext>
    </p:extLst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End">
  <p:cSld name="18_End">
    <p:spTree>
      <p:nvGrpSpPr>
        <p:cNvPr id="1" name="Shape 10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6" name="Google Shape;10096;g3681a448973_2_5513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097" name="Google Shape;10097;g3681a448973_2_5513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98" name="Google Shape;10098;g3681a448973_2_5513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99" name="Google Shape;10099;g3681a448973_2_5513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00" name="Google Shape;10100;g3681a448973_2_5513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01" name="Google Shape;10101;g3681a448973_2_5513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102" name="Google Shape;10102;g3681a448973_2_551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103" name="Google Shape;10103;g3681a448973_2_551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009713219"/>
      </p:ext>
    </p:extLst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Blank">
  <p:cSld name="17_Blank">
    <p:spTree>
      <p:nvGrpSpPr>
        <p:cNvPr id="1" name="Shape 10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05" name="Google Shape;10105;g3681a448973_2_5514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06" name="Google Shape;10106;g3681a448973_2_55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07" name="Google Shape;10107;g3681a448973_2_55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08" name="Google Shape;10108;g3681a448973_2_5514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109" name="Google Shape;10109;g3681a448973_2_55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0" name="Google Shape;10110;g3681a448973_2_551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111" name="Google Shape;10111;g3681a448973_2_55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12" name="Google Shape;10112;g3681a448973_2_55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01074077"/>
      </p:ext>
    </p:extLst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3_Title Slide">
    <p:spTree>
      <p:nvGrpSpPr>
        <p:cNvPr id="1" name="Shape 10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4" name="Google Shape;10114;g3681a448973_2_55154"/>
          <p:cNvSpPr/>
          <p:nvPr/>
        </p:nvSpPr>
        <p:spPr>
          <a:xfrm>
            <a:off x="-21166" y="6629400"/>
            <a:ext cx="12213300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115" name="Google Shape;10115;g3681a448973_2_5515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9"/>
            <a:ext cx="3706283" cy="18139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116" name="Google Shape;10116;g3681a448973_2_55154"/>
          <p:cNvGrpSpPr/>
          <p:nvPr/>
        </p:nvGrpSpPr>
        <p:grpSpPr>
          <a:xfrm>
            <a:off x="1" y="0"/>
            <a:ext cx="1862644" cy="6629629"/>
            <a:chOff x="-15876" y="0"/>
            <a:chExt cx="1927803" cy="6858001"/>
          </a:xfrm>
        </p:grpSpPr>
        <p:sp>
          <p:nvSpPr>
            <p:cNvPr id="10117" name="Google Shape;10117;g3681a448973_2_55154"/>
            <p:cNvSpPr/>
            <p:nvPr/>
          </p:nvSpPr>
          <p:spPr>
            <a:xfrm>
              <a:off x="-15876" y="0"/>
              <a:ext cx="1844700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18" name="Google Shape;10118;g3681a448973_2_55154"/>
            <p:cNvPicPr preferRelativeResize="0"/>
            <p:nvPr/>
          </p:nvPicPr>
          <p:blipFill rotWithShape="1">
            <a:blip r:embed="rId3">
              <a:alphaModFix/>
            </a:blip>
            <a:srcRect l="7218" t="16936" r="72250" b="20588"/>
            <a:stretch/>
          </p:blipFill>
          <p:spPr>
            <a:xfrm>
              <a:off x="-15876" y="0"/>
              <a:ext cx="1927803" cy="685800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0119" name="Google Shape;10119;g3681a448973_2_5515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20" name="Google Shape;10120;g3681a448973_2_55154"/>
          <p:cNvSpPr txBox="1">
            <a:spLocks noGrp="1"/>
          </p:cNvSpPr>
          <p:nvPr>
            <p:ph type="ctrTitle"/>
          </p:nvPr>
        </p:nvSpPr>
        <p:spPr>
          <a:xfrm>
            <a:off x="1621873" y="1806430"/>
            <a:ext cx="10189800" cy="22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4"/>
              <a:buFont typeface="Calibri"/>
              <a:buNone/>
              <a:defRPr sz="5334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21" name="Google Shape;10121;g3681a448973_2_5515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22" name="Google Shape;10122;g3681a448973_2_5515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09577198"/>
      </p:ext>
    </p:extLst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0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24" name="Google Shape;10124;g3681a448973_2_55164"/>
          <p:cNvSpPr/>
          <p:nvPr/>
        </p:nvSpPr>
        <p:spPr>
          <a:xfrm>
            <a:off x="-10584" y="6620934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25" name="Google Shape;10125;g3681a448973_2_55164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26" name="Google Shape;10126;g3681a448973_2_55164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27" name="Google Shape;10127;g3681a448973_2_55164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28" name="Google Shape;10128;g3681a448973_2_55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0129" name="Google Shape;10129;g3681a448973_2_5516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5203712"/>
      </p:ext>
    </p:extLst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ver">
  <p:cSld name="6_Cover">
    <p:spTree>
      <p:nvGrpSpPr>
        <p:cNvPr id="1" name="Shape 10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1" name="Google Shape;10131;g3681a448973_2_55171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32" name="Google Shape;10132;g3681a448973_2_5517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33" name="Google Shape;10133;g3681a448973_2_5517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134" name="Google Shape;10134;g3681a448973_2_5517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135" name="Google Shape;10135;g3681a448973_2_5517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136" name="Google Shape;10136;g3681a448973_2_5517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37" name="Google Shape;10137;g3681a448973_2_5517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38" name="Google Shape;10138;g3681a448973_2_551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653907491"/>
      </p:ext>
    </p:extLst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Quotation">
  <p:cSld name="9_Quotation">
    <p:spTree>
      <p:nvGrpSpPr>
        <p:cNvPr id="1" name="Shape 10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40" name="Google Shape;10140;g3681a448973_2_5518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41" name="Google Shape;10141;g3681a448973_2_551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42" name="Google Shape;10142;g3681a448973_2_551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43" name="Google Shape;10143;g3681a448973_2_55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44" name="Google Shape;10144;g3681a448973_2_55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45" name="Google Shape;10145;g3681a448973_2_55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6" name="Google Shape;10146;g3681a448973_2_5518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147" name="Google Shape;10147;g3681a448973_2_551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48" name="Google Shape;10148;g3681a448973_2_5518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149" name="Google Shape;10149;g3681a448973_2_55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50" name="Google Shape;10150;g3681a448973_2_55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51" name="Google Shape;10151;g3681a448973_2_551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5763323"/>
      </p:ext>
    </p:extLst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lt2"/>
        </a:solidFill>
        <a:effectLst/>
      </p:bgPr>
    </p:bg>
    <p:spTree>
      <p:nvGrpSpPr>
        <p:cNvPr id="1" name="Shape 10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53" name="Google Shape;10153;g3681a448973_2_5519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154" name="Google Shape;10154;g3681a448973_2_5519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55" name="Google Shape;10155;g3681a448973_2_5519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56" name="Google Shape;10156;g3681a448973_2_5519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57" name="Google Shape;10157;g3681a448973_2_551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58" name="Google Shape;10158;g3681a448973_2_5519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9" name="Google Shape;10159;g3681a448973_2_5519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88792902"/>
      </p:ext>
    </p:extLst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Quotation">
  <p:cSld name="10_Quotation">
    <p:spTree>
      <p:nvGrpSpPr>
        <p:cNvPr id="1" name="Shape 10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1" name="Google Shape;10161;g3681a448973_2_5520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62" name="Google Shape;10162;g3681a448973_2_552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63" name="Google Shape;10163;g3681a448973_2_552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4" name="Google Shape;10164;g3681a448973_2_55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65" name="Google Shape;10165;g3681a448973_2_55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66" name="Google Shape;10166;g3681a448973_2_55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67" name="Google Shape;10167;g3681a448973_2_5520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168" name="Google Shape;10168;g3681a448973_2_55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9" name="Google Shape;10169;g3681a448973_2_552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170" name="Google Shape;10170;g3681a448973_2_55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71" name="Google Shape;10171;g3681a448973_2_55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72" name="Google Shape;10172;g3681a448973_2_5520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14071934"/>
      </p:ext>
    </p:extLst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10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74" name="Google Shape;10174;g3681a448973_2_5521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175" name="Google Shape;10175;g3681a448973_2_552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76" name="Google Shape;10176;g3681a448973_2_552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177" name="Google Shape;10177;g3681a448973_2_552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78" name="Google Shape;10178;g3681a448973_2_552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79" name="Google Shape;10179;g3681a448973_2_552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80" name="Google Shape;10180;g3681a448973_2_552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1" name="Google Shape;10181;g3681a448973_2_552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82" name="Google Shape;10182;g3681a448973_2_552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3" name="Google Shape;10183;g3681a448973_2_552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7324817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End">
  <p:cSld name="9_End"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3" name="Google Shape;1093;g374da0147aa_0_519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94" name="Google Shape;1094;g374da0147aa_0_519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5" name="Google Shape;1095;g374da0147aa_0_519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6" name="Google Shape;1096;g374da0147aa_0_5193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" name="Google Shape;1097;g374da0147aa_0_5193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8" name="Google Shape;1098;g374da0147aa_0_519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9" name="Google Shape;1099;g374da0147aa_0_51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00" name="Google Shape;1100;g374da0147aa_0_519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>
  <p:cSld name="4_Two Content">
    <p:spTree>
      <p:nvGrpSpPr>
        <p:cNvPr id="1" name="Shape 10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5" name="Google Shape;10185;g3681a448973_2_552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86" name="Google Shape;10186;g3681a448973_2_552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187" name="Google Shape;10187;g3681a448973_2_5522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188" name="Google Shape;10188;g3681a448973_2_552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89" name="Google Shape;10189;g3681a448973_2_552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190" name="Google Shape;10190;g3681a448973_2_552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91" name="Google Shape;10191;g3681a448973_2_552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92" name="Google Shape;10192;g3681a448973_2_5522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93" name="Google Shape;10193;g3681a448973_2_5522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94" name="Google Shape;10194;g3681a448973_2_552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95" name="Google Shape;10195;g3681a448973_2_55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02090989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mparison">
  <p:cSld name="4_Comparison">
    <p:spTree>
      <p:nvGrpSpPr>
        <p:cNvPr id="1" name="Shape 10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97" name="Google Shape;10197;g3681a448973_2_5523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198" name="Google Shape;10198;g3681a448973_2_552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99" name="Google Shape;10199;g3681a448973_2_5523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200" name="Google Shape;10200;g3681a448973_2_552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01" name="Google Shape;10201;g3681a448973_2_552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02" name="Google Shape;10202;g3681a448973_2_552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03" name="Google Shape;10203;g3681a448973_2_5523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04" name="Google Shape;10204;g3681a448973_2_5523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05" name="Google Shape;10205;g3681a448973_2_5523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06" name="Google Shape;10206;g3681a448973_2_5523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07" name="Google Shape;10207;g3681a448973_2_552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08" name="Google Shape;10208;g3681a448973_2_552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09" name="Google Shape;10209;g3681a448973_2_552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23617215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ver">
  <p:cSld name="11_Cover">
    <p:spTree>
      <p:nvGrpSpPr>
        <p:cNvPr id="1" name="Shape 10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11" name="Google Shape;10211;g3681a448973_2_55251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12" name="Google Shape;10212;g3681a448973_2_5525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3" name="Google Shape;10213;g3681a448973_2_5525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214" name="Google Shape;10214;g3681a448973_2_552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215" name="Google Shape;10215;g3681a448973_2_5525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216" name="Google Shape;10216;g3681a448973_2_552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17" name="Google Shape;10217;g3681a448973_2_552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218" name="Google Shape;10218;g3681a448973_2_552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823633469"/>
      </p:ext>
    </p:extLst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Divider">
  <p:cSld name="11_Divider">
    <p:bg>
      <p:bgPr>
        <a:solidFill>
          <a:schemeClr val="lt2"/>
        </a:solidFill>
        <a:effectLst/>
      </p:bgPr>
    </p:bg>
    <p:spTree>
      <p:nvGrpSpPr>
        <p:cNvPr id="1" name="Shape 10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20" name="Google Shape;10220;g3681a448973_2_552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21" name="Google Shape;10221;g3681a448973_2_552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22" name="Google Shape;10222;g3681a448973_2_55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23" name="Google Shape;10223;g3681a448973_2_552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224" name="Google Shape;10224;g3681a448973_2_55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225" name="Google Shape;10225;g3681a448973_2_552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26" name="Google Shape;10226;g3681a448973_2_552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0838327"/>
      </p:ext>
    </p:extLst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Photo Slide">
  <p:cSld name="4_Photo Slide">
    <p:spTree>
      <p:nvGrpSpPr>
        <p:cNvPr id="1" name="Shape 10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8" name="Google Shape;10228;g3681a448973_2_5526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229" name="Google Shape;10229;g3681a448973_2_5526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230" name="Google Shape;10230;g3681a448973_2_5526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231" name="Google Shape;10231;g3681a448973_2_5526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32" name="Google Shape;10232;g3681a448973_2_5526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33" name="Google Shape;10233;g3681a448973_2_5526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234" name="Google Shape;10234;g3681a448973_2_552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2320637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Quotation">
  <p:cSld name="18_Quotation">
    <p:spTree>
      <p:nvGrpSpPr>
        <p:cNvPr id="1" name="Shape 10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36" name="Google Shape;10236;g3681a448973_2_55276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37" name="Google Shape;10237;g3681a448973_2_552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38" name="Google Shape;10238;g3681a448973_2_552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39" name="Google Shape;10239;g3681a448973_2_55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40" name="Google Shape;10240;g3681a448973_2_55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41" name="Google Shape;10241;g3681a448973_2_55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42" name="Google Shape;10242;g3681a448973_2_5527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243" name="Google Shape;10243;g3681a448973_2_55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4" name="Google Shape;10244;g3681a448973_2_5527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245" name="Google Shape;10245;g3681a448973_2_55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46" name="Google Shape;10246;g3681a448973_2_55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47" name="Google Shape;10247;g3681a448973_2_5527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0405000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spTree>
      <p:nvGrpSpPr>
        <p:cNvPr id="1" name="Shape 10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9" name="Google Shape;10249;g3681a448973_2_5528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250" name="Google Shape;10250;g3681a448973_2_552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51" name="Google Shape;10251;g3681a448973_2_5528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252" name="Google Shape;10252;g3681a448973_2_552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53" name="Google Shape;10253;g3681a448973_2_552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54" name="Google Shape;10254;g3681a448973_2_552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55" name="Google Shape;10255;g3681a448973_2_5528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56" name="Google Shape;10256;g3681a448973_2_552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57" name="Google Shape;10257;g3681a448973_2_552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58" name="Google Shape;10258;g3681a448973_2_552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94898876"/>
      </p:ext>
    </p:extLst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Quotation">
  <p:cSld name="21_Quotation">
    <p:spTree>
      <p:nvGrpSpPr>
        <p:cNvPr id="1" name="Shape 10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0" name="Google Shape;10260;g3681a448973_2_5530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61" name="Google Shape;10261;g3681a448973_2_553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2" name="Google Shape;10262;g3681a448973_2_553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63" name="Google Shape;10263;g3681a448973_2_553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64" name="Google Shape;10264;g3681a448973_2_553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65" name="Google Shape;10265;g3681a448973_2_553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66" name="Google Shape;10266;g3681a448973_2_5530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267" name="Google Shape;10267;g3681a448973_2_553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68" name="Google Shape;10268;g3681a448973_2_553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269" name="Google Shape;10269;g3681a448973_2_553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70" name="Google Shape;10270;g3681a448973_2_553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71" name="Google Shape;10271;g3681a448973_2_5530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1148610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Photo Slide">
  <p:cSld name="11_Photo Slide">
    <p:spTree>
      <p:nvGrpSpPr>
        <p:cNvPr id="1" name="Shape 10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3" name="Google Shape;10273;g3681a448973_2_5531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274" name="Google Shape;10274;g3681a448973_2_5531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275" name="Google Shape;10275;g3681a448973_2_5531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276" name="Google Shape;10276;g3681a448973_2_5531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77" name="Google Shape;10277;g3681a448973_2_5531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78" name="Google Shape;10278;g3681a448973_2_5531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279" name="Google Shape;10279;g3681a448973_2_553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89789318"/>
      </p:ext>
    </p:extLst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End">
  <p:cSld name="10_End">
    <p:spTree>
      <p:nvGrpSpPr>
        <p:cNvPr id="1" name="Shape 10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1" name="Google Shape;10281;g3681a448973_2_5532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282" name="Google Shape;10282;g3681a448973_2_5532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83" name="Google Shape;10283;g3681a448973_2_5532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84" name="Google Shape;10284;g3681a448973_2_55321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85" name="Google Shape;10285;g3681a448973_2_5532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6" name="Google Shape;10286;g3681a448973_2_5532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287" name="Google Shape;10287;g3681a448973_2_553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288" name="Google Shape;10288;g3681a448973_2_553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93758799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lank">
  <p:cSld name="8_Blank">
    <p:spTree>
      <p:nvGrpSpPr>
        <p:cNvPr id="1" name="Shape 1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" name="Google Shape;1102;g374da0147aa_0_520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3" name="Google Shape;1103;g374da0147aa_0_5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4" name="Google Shape;1104;g374da0147aa_0_5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5" name="Google Shape;1105;g374da0147aa_0_520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06" name="Google Shape;1106;g374da0147aa_0_52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7" name="Google Shape;1107;g374da0147aa_0_52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08" name="Google Shape;1108;g374da0147aa_0_5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9" name="Google Shape;1109;g374da0147aa_0_5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Blank">
  <p:cSld name="9_Blank">
    <p:spTree>
      <p:nvGrpSpPr>
        <p:cNvPr id="1" name="Shape 10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0" name="Google Shape;10290;g3681a448973_2_553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1" name="Google Shape;10291;g3681a448973_2_553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92" name="Google Shape;10292;g3681a448973_2_553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93" name="Google Shape;10293;g3681a448973_2_5533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294" name="Google Shape;10294;g3681a448973_2_553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95" name="Google Shape;10295;g3681a448973_2_5533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296" name="Google Shape;10296;g3681a448973_2_553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97" name="Google Shape;10297;g3681a448973_2_553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13621728"/>
      </p:ext>
    </p:extLst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10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99" name="Google Shape;10299;g3681a448973_2_5533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00" name="Google Shape;10300;g3681a448973_2_553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01" name="Google Shape;10301;g3681a448973_2_5533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02" name="Google Shape;10302;g3681a448973_2_553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03" name="Google Shape;10303;g3681a448973_2_553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04" name="Google Shape;10304;g3681a448973_2_553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05" name="Google Shape;10305;g3681a448973_2_553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06" name="Google Shape;10306;g3681a448973_2_553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7" name="Google Shape;10307;g3681a448973_2_553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42601160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 B">
  <p:cSld name="1_Cover B">
    <p:spTree>
      <p:nvGrpSpPr>
        <p:cNvPr id="1" name="Shape 10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9" name="Google Shape;10309;g3681a448973_2_55349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5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10" name="Google Shape;10310;g3681a448973_2_55349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0311" name="Google Shape;10311;g3681a448973_2_55349"/>
          <p:cNvGrpSpPr/>
          <p:nvPr/>
        </p:nvGrpSpPr>
        <p:grpSpPr>
          <a:xfrm flipH="1">
            <a:off x="225" y="1"/>
            <a:ext cx="6418638" cy="1509802"/>
            <a:chOff x="7522541" y="1"/>
            <a:chExt cx="4669459" cy="1098357"/>
          </a:xfrm>
        </p:grpSpPr>
        <p:sp>
          <p:nvSpPr>
            <p:cNvPr id="10312" name="Google Shape;10312;g3681a448973_2_55349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13" name="Google Shape;10313;g3681a448973_2_55349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0314" name="Google Shape;10314;g3681a448973_2_5534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1352510"/>
      </p:ext>
    </p:extLst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Divider">
  <p:cSld name="12_Divider">
    <p:bg>
      <p:bgPr>
        <a:solidFill>
          <a:schemeClr val="lt2"/>
        </a:solidFill>
        <a:effectLst/>
      </p:bgPr>
    </p:bg>
    <p:spTree>
      <p:nvGrpSpPr>
        <p:cNvPr id="1" name="Shape 10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16" name="Google Shape;10316;g3681a448973_2_553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317" name="Google Shape;10317;g3681a448973_2_553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18" name="Google Shape;10318;g3681a448973_2_553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19" name="Google Shape;10319;g3681a448973_2_553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320" name="Google Shape;10320;g3681a448973_2_553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321" name="Google Shape;10321;g3681a448973_2_553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22" name="Google Shape;10322;g3681a448973_2_553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25914687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Photo Slide">
  <p:cSld name="12_Photo Slide">
    <p:spTree>
      <p:nvGrpSpPr>
        <p:cNvPr id="1" name="Shape 10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4" name="Google Shape;10324;g3681a448973_2_5536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325" name="Google Shape;10325;g3681a448973_2_5536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326" name="Google Shape;10326;g3681a448973_2_5536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327" name="Google Shape;10327;g3681a448973_2_5536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28" name="Google Shape;10328;g3681a448973_2_5536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329" name="Google Shape;10329;g3681a448973_2_5536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330" name="Google Shape;10330;g3681a448973_2_553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4638157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Quotation">
  <p:cSld name="22_Quotation">
    <p:spTree>
      <p:nvGrpSpPr>
        <p:cNvPr id="1" name="Shape 10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2" name="Google Shape;10332;g3681a448973_2_5537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33" name="Google Shape;10333;g3681a448973_2_553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4" name="Google Shape;10334;g3681a448973_2_553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35" name="Google Shape;10335;g3681a448973_2_553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36" name="Google Shape;10336;g3681a448973_2_553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37" name="Google Shape;10337;g3681a448973_2_553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38" name="Google Shape;10338;g3681a448973_2_553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39" name="Google Shape;10339;g3681a448973_2_553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40" name="Google Shape;10340;g3681a448973_2_553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41" name="Google Shape;10341;g3681a448973_2_553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42" name="Google Shape;10342;g3681a448973_2_553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43" name="Google Shape;10343;g3681a448973_2_553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25445126"/>
      </p:ext>
    </p:extLst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Quotation">
  <p:cSld name="23_Quotation">
    <p:spTree>
      <p:nvGrpSpPr>
        <p:cNvPr id="1" name="Shape 10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5" name="Google Shape;10345;g3681a448973_2_5538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46" name="Google Shape;10346;g3681a448973_2_553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47" name="Google Shape;10347;g3681a448973_2_553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48" name="Google Shape;10348;g3681a448973_2_553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49" name="Google Shape;10349;g3681a448973_2_553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50" name="Google Shape;10350;g3681a448973_2_553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51" name="Google Shape;10351;g3681a448973_2_5538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52" name="Google Shape;10352;g3681a448973_2_553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53" name="Google Shape;10353;g3681a448973_2_5538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54" name="Google Shape;10354;g3681a448973_2_553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55" name="Google Shape;10355;g3681a448973_2_553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56" name="Google Shape;10356;g3681a448973_2_5538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8937680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Content">
  <p:cSld name="12_Title and Content">
    <p:spTree>
      <p:nvGrpSpPr>
        <p:cNvPr id="1" name="Shape 10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58" name="Google Shape;10358;g3681a448973_2_5539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59" name="Google Shape;10359;g3681a448973_2_553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60" name="Google Shape;10360;g3681a448973_2_5539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61" name="Google Shape;10361;g3681a448973_2_553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62" name="Google Shape;10362;g3681a448973_2_553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63" name="Google Shape;10363;g3681a448973_2_553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64" name="Google Shape;10364;g3681a448973_2_553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65" name="Google Shape;10365;g3681a448973_2_553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66" name="Google Shape;10366;g3681a448973_2_553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67" name="Google Shape;10367;g3681a448973_2_553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08500530"/>
      </p:ext>
    </p:extLst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Content">
  <p:cSld name="11_Two Content">
    <p:spTree>
      <p:nvGrpSpPr>
        <p:cNvPr id="1" name="Shape 10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9" name="Google Shape;10369;g3681a448973_2_554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70" name="Google Shape;10370;g3681a448973_2_554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371" name="Google Shape;10371;g3681a448973_2_5540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72" name="Google Shape;10372;g3681a448973_2_554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73" name="Google Shape;10373;g3681a448973_2_5540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74" name="Google Shape;10374;g3681a448973_2_554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75" name="Google Shape;10375;g3681a448973_2_554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76" name="Google Shape;10376;g3681a448973_2_554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77" name="Google Shape;10377;g3681a448973_2_554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78" name="Google Shape;10378;g3681a448973_2_554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79" name="Google Shape;10379;g3681a448973_2_554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7492199"/>
      </p:ext>
    </p:extLst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mparison">
  <p:cSld name="11_Comparison">
    <p:spTree>
      <p:nvGrpSpPr>
        <p:cNvPr id="1" name="Shape 10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81" name="Google Shape;10381;g3681a448973_2_5542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82" name="Google Shape;10382;g3681a448973_2_554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83" name="Google Shape;10383;g3681a448973_2_554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84" name="Google Shape;10384;g3681a448973_2_554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85" name="Google Shape;10385;g3681a448973_2_554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86" name="Google Shape;10386;g3681a448973_2_554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87" name="Google Shape;10387;g3681a448973_2_5542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88" name="Google Shape;10388;g3681a448973_2_5542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89" name="Google Shape;10389;g3681a448973_2_5542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90" name="Google Shape;10390;g3681a448973_2_5542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91" name="Google Shape;10391;g3681a448973_2_554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92" name="Google Shape;10392;g3681a448973_2_554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93" name="Google Shape;10393;g3681a448973_2_55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43566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374da0147aa_0_41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g374da0147aa_0_418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8" name="Google Shape;88;g374da0147aa_0_418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" name="Google Shape;89;g374da0147aa_0_41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" name="Google Shape;90;g374da0147aa_0_418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" name="Google Shape;91;g374da0147aa_0_41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g374da0147aa_0_41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" name="Google Shape;93;g374da0147aa_0_4186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g374da0147aa_0_4186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" name="Google Shape;95;g374da0147aa_0_41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" name="Google Shape;96;g374da0147aa_0_41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Blank">
  <p:cSld name="11_Blank"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g374da0147aa_0_521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2" name="Google Shape;1112;g374da0147aa_0_52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3" name="Google Shape;1113;g374da0147aa_0_5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4" name="Google Shape;1114;g374da0147aa_0_521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15" name="Google Shape;1115;g374da0147aa_0_52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6" name="Google Shape;1116;g374da0147aa_0_521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17" name="Google Shape;1117;g374da0147aa_0_52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8" name="Google Shape;1118;g374da0147aa_0_52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Only">
  <p:cSld name="11_Title Only">
    <p:spTree>
      <p:nvGrpSpPr>
        <p:cNvPr id="1" name="Shape 10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95" name="Google Shape;10395;g3681a448973_2_5543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396" name="Google Shape;10396;g3681a448973_2_554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97" name="Google Shape;10397;g3681a448973_2_554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398" name="Google Shape;10398;g3681a448973_2_554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99" name="Google Shape;10399;g3681a448973_2_554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00" name="Google Shape;10400;g3681a448973_2_554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01" name="Google Shape;10401;g3681a448973_2_554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02" name="Google Shape;10402;g3681a448973_2_554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03" name="Google Shape;10403;g3681a448973_2_554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0824787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End">
  <p:cSld name="11_End">
    <p:spTree>
      <p:nvGrpSpPr>
        <p:cNvPr id="1" name="Shape 10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05" name="Google Shape;10405;g3681a448973_2_5544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406" name="Google Shape;10406;g3681a448973_2_5544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07" name="Google Shape;10407;g3681a448973_2_5544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08" name="Google Shape;10408;g3681a448973_2_55445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09" name="Google Shape;10409;g3681a448973_2_5544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10" name="Google Shape;10410;g3681a448973_2_5544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411" name="Google Shape;10411;g3681a448973_2_554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412" name="Google Shape;10412;g3681a448973_2_554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761148999"/>
      </p:ext>
    </p:extLst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Blank">
  <p:cSld name="10_Blank">
    <p:spTree>
      <p:nvGrpSpPr>
        <p:cNvPr id="1" name="Shape 10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4" name="Google Shape;10414;g3681a448973_2_554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15" name="Google Shape;10415;g3681a448973_2_554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16" name="Google Shape;10416;g3681a448973_2_554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17" name="Google Shape;10417;g3681a448973_2_5545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418" name="Google Shape;10418;g3681a448973_2_554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19" name="Google Shape;10419;g3681a448973_2_5545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420" name="Google Shape;10420;g3681a448973_2_554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21" name="Google Shape;10421;g3681a448973_2_554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2444861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ver">
  <p:cSld name="12_Cover">
    <p:spTree>
      <p:nvGrpSpPr>
        <p:cNvPr id="1" name="Shape 10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3" name="Google Shape;10423;g3681a448973_2_55463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24" name="Google Shape;10424;g3681a448973_2_5546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25" name="Google Shape;10425;g3681a448973_2_5546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426" name="Google Shape;10426;g3681a448973_2_5546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427" name="Google Shape;10427;g3681a448973_2_5546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428" name="Google Shape;10428;g3681a448973_2_554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29" name="Google Shape;10429;g3681a448973_2_5546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430" name="Google Shape;10430;g3681a448973_2_554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138167559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">
  <p:cSld name="13_Divider">
    <p:bg>
      <p:bgPr>
        <a:solidFill>
          <a:schemeClr val="lt2"/>
        </a:solidFill>
        <a:effectLst/>
      </p:bgPr>
    </p:bg>
    <p:spTree>
      <p:nvGrpSpPr>
        <p:cNvPr id="1" name="Shape 10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32" name="Google Shape;10432;g3681a448973_2_5547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433" name="Google Shape;10433;g3681a448973_2_5547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34" name="Google Shape;10434;g3681a448973_2_554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35" name="Google Shape;10435;g3681a448973_2_5547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436" name="Google Shape;10436;g3681a448973_2_554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437" name="Google Shape;10437;g3681a448973_2_5547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38" name="Google Shape;10438;g3681a448973_2_5547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10419587"/>
      </p:ext>
    </p:extLst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Quotation">
  <p:cSld name="24_Quotation">
    <p:spTree>
      <p:nvGrpSpPr>
        <p:cNvPr id="1" name="Shape 10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0" name="Google Shape;10440;g3681a448973_2_5548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41" name="Google Shape;10441;g3681a448973_2_554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42" name="Google Shape;10442;g3681a448973_2_554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3" name="Google Shape;10443;g3681a448973_2_554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44" name="Google Shape;10444;g3681a448973_2_554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5" name="Google Shape;10445;g3681a448973_2_554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46" name="Google Shape;10446;g3681a448973_2_5548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447" name="Google Shape;10447;g3681a448973_2_554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48" name="Google Shape;10448;g3681a448973_2_5548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449" name="Google Shape;10449;g3681a448973_2_554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50" name="Google Shape;10450;g3681a448973_2_554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451" name="Google Shape;10451;g3681a448973_2_554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90932012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spTree>
      <p:nvGrpSpPr>
        <p:cNvPr id="1" name="Shape 10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53" name="Google Shape;10453;g3681a448973_2_5549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454" name="Google Shape;10454;g3681a448973_2_554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55" name="Google Shape;10455;g3681a448973_2_5549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456" name="Google Shape;10456;g3681a448973_2_554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57" name="Google Shape;10457;g3681a448973_2_554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58" name="Google Shape;10458;g3681a448973_2_554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59" name="Google Shape;10459;g3681a448973_2_554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60" name="Google Shape;10460;g3681a448973_2_554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61" name="Google Shape;10461;g3681a448973_2_554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62" name="Google Shape;10462;g3681a448973_2_554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2015904"/>
      </p:ext>
    </p:extLst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Content">
  <p:cSld name="12_Two Content">
    <p:spTree>
      <p:nvGrpSpPr>
        <p:cNvPr id="1" name="Shape 10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64" name="Google Shape;10464;g3681a448973_2_555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65" name="Google Shape;10465;g3681a448973_2_555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66" name="Google Shape;10466;g3681a448973_2_5550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467" name="Google Shape;10467;g3681a448973_2_555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68" name="Google Shape;10468;g3681a448973_2_5550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469" name="Google Shape;10469;g3681a448973_2_555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70" name="Google Shape;10470;g3681a448973_2_555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71" name="Google Shape;10471;g3681a448973_2_555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72" name="Google Shape;10472;g3681a448973_2_555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73" name="Google Shape;10473;g3681a448973_2_555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74" name="Google Shape;10474;g3681a448973_2_555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9735477"/>
      </p:ext>
    </p:extLst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mparison">
  <p:cSld name="12_Comparison">
    <p:spTree>
      <p:nvGrpSpPr>
        <p:cNvPr id="1" name="Shape 10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76" name="Google Shape;10476;g3681a448973_2_5551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477" name="Google Shape;10477;g3681a448973_2_555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78" name="Google Shape;10478;g3681a448973_2_555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479" name="Google Shape;10479;g3681a448973_2_555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80" name="Google Shape;10480;g3681a448973_2_555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81" name="Google Shape;10481;g3681a448973_2_555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82" name="Google Shape;10482;g3681a448973_2_5551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83" name="Google Shape;10483;g3681a448973_2_5551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84" name="Google Shape;10484;g3681a448973_2_5551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85" name="Google Shape;10485;g3681a448973_2_5551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86" name="Google Shape;10486;g3681a448973_2_555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87" name="Google Shape;10487;g3681a448973_2_555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88" name="Google Shape;10488;g3681a448973_2_555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17146669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Photo Slide">
  <p:cSld name="13_Photo Slide">
    <p:spTree>
      <p:nvGrpSpPr>
        <p:cNvPr id="1" name="Shape 10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" name="Google Shape;10490;g3681a448973_2_555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491" name="Google Shape;10491;g3681a448973_2_5553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492" name="Google Shape;10492;g3681a448973_2_555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493" name="Google Shape;10493;g3681a448973_2_555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4" name="Google Shape;10494;g3681a448973_2_555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95" name="Google Shape;10495;g3681a448973_2_555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496" name="Google Shape;10496;g3681a448973_2_555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7503490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Quotation">
  <p:cSld name="26_Quotation"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g374da0147aa_0_522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1" name="Google Shape;1121;g374da0147aa_0_522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2" name="Google Shape;1122;g374da0147aa_0_52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3" name="Google Shape;1123;g374da0147aa_0_522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4" name="Google Shape;1124;g374da0147aa_0_5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5" name="Google Shape;1125;g374da0147aa_0_5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6" name="Google Shape;1126;g374da0147aa_0_522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27" name="Google Shape;1127;g374da0147aa_0_5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8" name="Google Shape;1128;g374da0147aa_0_522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9" name="Google Shape;1129;g374da0147aa_0_5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0" name="Google Shape;1130;g374da0147aa_0_5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1" name="Google Shape;1131;g374da0147aa_0_52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End">
  <p:cSld name="12_End">
    <p:spTree>
      <p:nvGrpSpPr>
        <p:cNvPr id="1" name="Shape 10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98" name="Google Shape;10498;g3681a448973_2_555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499" name="Google Shape;10499;g3681a448973_2_555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00" name="Google Shape;10500;g3681a448973_2_555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01" name="Google Shape;10501;g3681a448973_2_55538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02" name="Google Shape;10502;g3681a448973_2_5553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03" name="Google Shape;10503;g3681a448973_2_555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504" name="Google Shape;10504;g3681a448973_2_555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505" name="Google Shape;10505;g3681a448973_2_555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751341859"/>
      </p:ext>
    </p:extLst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Blank">
  <p:cSld name="13_Blank">
    <p:spTree>
      <p:nvGrpSpPr>
        <p:cNvPr id="1" name="Shape 10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" name="Google Shape;10507;g3681a448973_2_555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08" name="Google Shape;10508;g3681a448973_2_555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09" name="Google Shape;10509;g3681a448973_2_555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10" name="Google Shape;10510;g3681a448973_2_5554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11" name="Google Shape;10511;g3681a448973_2_555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12" name="Google Shape;10512;g3681a448973_2_555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13" name="Google Shape;10513;g3681a448973_2_555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14" name="Google Shape;10514;g3681a448973_2_555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4292511"/>
      </p:ext>
    </p:extLst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Only">
  <p:cSld name="12_Title Only">
    <p:spTree>
      <p:nvGrpSpPr>
        <p:cNvPr id="1" name="Shape 10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16" name="Google Shape;10516;g3681a448973_2_5555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17" name="Google Shape;10517;g3681a448973_2_555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18" name="Google Shape;10518;g3681a448973_2_555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19" name="Google Shape;10519;g3681a448973_2_555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20" name="Google Shape;10520;g3681a448973_2_555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21" name="Google Shape;10521;g3681a448973_2_555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2" name="Google Shape;10522;g3681a448973_2_555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23" name="Google Shape;10523;g3681a448973_2_555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24" name="Google Shape;10524;g3681a448973_2_555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55901670"/>
      </p:ext>
    </p:extLst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ver">
  <p:cSld name="13_Cover">
    <p:spTree>
      <p:nvGrpSpPr>
        <p:cNvPr id="1" name="Shape 10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6" name="Google Shape;10526;g3681a448973_2_55566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27" name="Google Shape;10527;g3681a448973_2_5556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8" name="Google Shape;10528;g3681a448973_2_5556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529" name="Google Shape;10529;g3681a448973_2_5556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530" name="Google Shape;10530;g3681a448973_2_5556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531" name="Google Shape;10531;g3681a448973_2_555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32" name="Google Shape;10532;g3681a448973_2_5556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33" name="Google Shape;10533;g3681a448973_2_555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816365024"/>
      </p:ext>
    </p:extLst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Divider">
  <p:cSld name="16_Divider">
    <p:bg>
      <p:bgPr>
        <a:solidFill>
          <a:schemeClr val="lt2"/>
        </a:solidFill>
        <a:effectLst/>
      </p:bgPr>
    </p:bg>
    <p:spTree>
      <p:nvGrpSpPr>
        <p:cNvPr id="1" name="Shape 10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35" name="Google Shape;10535;g3681a448973_2_555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536" name="Google Shape;10536;g3681a448973_2_555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37" name="Google Shape;10537;g3681a448973_2_555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38" name="Google Shape;10538;g3681a448973_2_555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39" name="Google Shape;10539;g3681a448973_2_555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540" name="Google Shape;10540;g3681a448973_2_555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41" name="Google Shape;10541;g3681a448973_2_555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74656798"/>
      </p:ext>
    </p:extLst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Quotation">
  <p:cSld name="25_Quotation">
    <p:spTree>
      <p:nvGrpSpPr>
        <p:cNvPr id="1" name="Shape 10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3" name="Google Shape;10543;g3681a448973_2_5558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44" name="Google Shape;10544;g3681a448973_2_555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45" name="Google Shape;10545;g3681a448973_2_555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6" name="Google Shape;10546;g3681a448973_2_555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47" name="Google Shape;10547;g3681a448973_2_555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48" name="Google Shape;10548;g3681a448973_2_555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49" name="Google Shape;10549;g3681a448973_2_5558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50" name="Google Shape;10550;g3681a448973_2_555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51" name="Google Shape;10551;g3681a448973_2_5558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52" name="Google Shape;10552;g3681a448973_2_555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53" name="Google Shape;10553;g3681a448973_2_555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554" name="Google Shape;10554;g3681a448973_2_5558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41978209"/>
      </p:ext>
    </p:extLst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>
  <p:cSld name="14_Title and Content">
    <p:spTree>
      <p:nvGrpSpPr>
        <p:cNvPr id="1" name="Shape 10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56" name="Google Shape;10556;g3681a448973_2_5559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57" name="Google Shape;10557;g3681a448973_2_555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58" name="Google Shape;10558;g3681a448973_2_555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59" name="Google Shape;10559;g3681a448973_2_555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60" name="Google Shape;10560;g3681a448973_2_555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61" name="Google Shape;10561;g3681a448973_2_555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62" name="Google Shape;10562;g3681a448973_2_555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63" name="Google Shape;10563;g3681a448973_2_555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64" name="Google Shape;10564;g3681a448973_2_555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5" name="Google Shape;10565;g3681a448973_2_555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71363858"/>
      </p:ext>
    </p:extLst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Content">
  <p:cSld name="13_Two Content">
    <p:spTree>
      <p:nvGrpSpPr>
        <p:cNvPr id="1" name="Shape 10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7" name="Google Shape;10567;g3681a448973_2_556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68" name="Google Shape;10568;g3681a448973_2_5560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569" name="Google Shape;10569;g3681a448973_2_5560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70" name="Google Shape;10570;g3681a448973_2_556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71" name="Google Shape;10571;g3681a448973_2_556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72" name="Google Shape;10572;g3681a448973_2_556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73" name="Google Shape;10573;g3681a448973_2_556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74" name="Google Shape;10574;g3681a448973_2_5560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75" name="Google Shape;10575;g3681a448973_2_5560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76" name="Google Shape;10576;g3681a448973_2_556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77" name="Google Shape;10577;g3681a448973_2_556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6349463"/>
      </p:ext>
    </p:extLst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mparison">
  <p:cSld name="13_Comparison">
    <p:spTree>
      <p:nvGrpSpPr>
        <p:cNvPr id="1" name="Shape 10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79" name="Google Shape;10579;g3681a448973_2_5561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580" name="Google Shape;10580;g3681a448973_2_556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81" name="Google Shape;10581;g3681a448973_2_5561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582" name="Google Shape;10582;g3681a448973_2_556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83" name="Google Shape;10583;g3681a448973_2_556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84" name="Google Shape;10584;g3681a448973_2_556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85" name="Google Shape;10585;g3681a448973_2_556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86" name="Google Shape;10586;g3681a448973_2_556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87" name="Google Shape;10587;g3681a448973_2_556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88" name="Google Shape;10588;g3681a448973_2_556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89" name="Google Shape;10589;g3681a448973_2_556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90" name="Google Shape;10590;g3681a448973_2_556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91" name="Google Shape;10591;g3681a448973_2_556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00309608"/>
      </p:ext>
    </p:extLst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Photo Slide">
  <p:cSld name="16_Photo Slide">
    <p:spTree>
      <p:nvGrpSpPr>
        <p:cNvPr id="1" name="Shape 10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3" name="Google Shape;10593;g3681a448973_2_5563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594" name="Google Shape;10594;g3681a448973_2_5563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595" name="Google Shape;10595;g3681a448973_2_5563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596" name="Google Shape;10596;g3681a448973_2_5563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97" name="Google Shape;10597;g3681a448973_2_5563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98" name="Google Shape;10598;g3681a448973_2_5563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599" name="Google Shape;10599;g3681a448973_2_556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8076246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Quotation">
  <p:cSld name="28_Quotation"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g374da0147aa_0_5233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4" name="Google Shape;1134;g374da0147aa_0_523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5" name="Google Shape;1135;g374da0147aa_0_52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6" name="Google Shape;1136;g374da0147aa_0_523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7" name="Google Shape;1137;g374da0147aa_0_52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8" name="Google Shape;1138;g374da0147aa_0_52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9" name="Google Shape;1139;g374da0147aa_0_523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40" name="Google Shape;1140;g374da0147aa_0_52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1" name="Google Shape;1141;g374da0147aa_0_523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2" name="Google Shape;1142;g374da0147aa_0_52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3" name="Google Shape;1143;g374da0147aa_0_52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4" name="Google Shape;1144;g374da0147aa_0_523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Quotation">
  <p:cSld name="27_Quotation">
    <p:spTree>
      <p:nvGrpSpPr>
        <p:cNvPr id="1" name="Shape 10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01" name="Google Shape;10601;g3681a448973_2_5564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02" name="Google Shape;10602;g3681a448973_2_556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03" name="Google Shape;10603;g3681a448973_2_556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04" name="Google Shape;10604;g3681a448973_2_556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05" name="Google Shape;10605;g3681a448973_2_556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06" name="Google Shape;10606;g3681a448973_2_556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07" name="Google Shape;10607;g3681a448973_2_5564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08" name="Google Shape;10608;g3681a448973_2_556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9" name="Google Shape;10609;g3681a448973_2_556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10" name="Google Shape;10610;g3681a448973_2_556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11" name="Google Shape;10611;g3681a448973_2_556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612" name="Google Shape;10612;g3681a448973_2_556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33221942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End">
  <p:cSld name="14_End">
    <p:spTree>
      <p:nvGrpSpPr>
        <p:cNvPr id="1" name="Shape 10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14" name="Google Shape;10614;g3681a448973_2_5565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615" name="Google Shape;10615;g3681a448973_2_5565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16" name="Google Shape;10616;g3681a448973_2_5565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617" name="Google Shape;10617;g3681a448973_2_55654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18" name="Google Shape;10618;g3681a448973_2_5565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9" name="Google Shape;10619;g3681a448973_2_5565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20" name="Google Shape;10620;g3681a448973_2_556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621" name="Google Shape;10621;g3681a448973_2_556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4171126186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Blank">
  <p:cSld name="15_Blank">
    <p:spTree>
      <p:nvGrpSpPr>
        <p:cNvPr id="1" name="Shape 10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3" name="Google Shape;10623;g3681a448973_2_556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24" name="Google Shape;10624;g3681a448973_2_556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25" name="Google Shape;10625;g3681a448973_2_556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26" name="Google Shape;10626;g3681a448973_2_5566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27" name="Google Shape;10627;g3681a448973_2_556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28" name="Google Shape;10628;g3681a448973_2_556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29" name="Google Shape;10629;g3681a448973_2_556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30" name="Google Shape;10630;g3681a448973_2_556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26219231"/>
      </p:ext>
    </p:extLst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Only">
  <p:cSld name="13_Title Only">
    <p:spTree>
      <p:nvGrpSpPr>
        <p:cNvPr id="1" name="Shape 10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32" name="Google Shape;10632;g3681a448973_2_556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33" name="Google Shape;10633;g3681a448973_2_556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34" name="Google Shape;10634;g3681a448973_2_556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35" name="Google Shape;10635;g3681a448973_2_556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36" name="Google Shape;10636;g3681a448973_2_556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37" name="Google Shape;10637;g3681a448973_2_556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38" name="Google Shape;10638;g3681a448973_2_556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39" name="Google Shape;10639;g3681a448973_2_556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40" name="Google Shape;10640;g3681a448973_2_556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26055598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Photo Slide">
  <p:cSld name="19_Photo Slide">
    <p:spTree>
      <p:nvGrpSpPr>
        <p:cNvPr id="1" name="Shape 10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2" name="Google Shape;10642;g3681a448973_2_556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643" name="Google Shape;10643;g3681a448973_2_5568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644" name="Google Shape;10644;g3681a448973_2_556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645" name="Google Shape;10645;g3681a448973_2_556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46" name="Google Shape;10646;g3681a448973_2_556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647" name="Google Shape;10647;g3681a448973_2_556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648" name="Google Shape;10648;g3681a448973_2_556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68486485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Quotation">
  <p:cSld name="29_Quotation">
    <p:spTree>
      <p:nvGrpSpPr>
        <p:cNvPr id="1" name="Shape 10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0" name="Google Shape;10650;g3681a448973_2_5569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51" name="Google Shape;10651;g3681a448973_2_556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52" name="Google Shape;10652;g3681a448973_2_556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53" name="Google Shape;10653;g3681a448973_2_556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4" name="Google Shape;10654;g3681a448973_2_556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55" name="Google Shape;10655;g3681a448973_2_556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56" name="Google Shape;10656;g3681a448973_2_5569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57" name="Google Shape;10657;g3681a448973_2_556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58" name="Google Shape;10658;g3681a448973_2_556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59" name="Google Shape;10659;g3681a448973_2_556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60" name="Google Shape;10660;g3681a448973_2_556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661" name="Google Shape;10661;g3681a448973_2_556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8408301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and Content">
  <p:cSld name="17_Title and Content">
    <p:spTree>
      <p:nvGrpSpPr>
        <p:cNvPr id="1" name="Shape 10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63" name="Google Shape;10663;g3681a448973_2_5570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64" name="Google Shape;10664;g3681a448973_2_557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65" name="Google Shape;10665;g3681a448973_2_557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66" name="Google Shape;10666;g3681a448973_2_557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67" name="Google Shape;10667;g3681a448973_2_557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68" name="Google Shape;10668;g3681a448973_2_557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9" name="Google Shape;10669;g3681a448973_2_557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70" name="Google Shape;10670;g3681a448973_2_557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71" name="Google Shape;10671;g3681a448973_2_557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72" name="Google Shape;10672;g3681a448973_2_557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4160339"/>
      </p:ext>
    </p:extLst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wo Content">
  <p:cSld name="16_Two Content">
    <p:spTree>
      <p:nvGrpSpPr>
        <p:cNvPr id="1" name="Shape 10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4" name="Google Shape;10674;g3681a448973_2_557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75" name="Google Shape;10675;g3681a448973_2_557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676" name="Google Shape;10676;g3681a448973_2_5571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77" name="Google Shape;10677;g3681a448973_2_557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78" name="Google Shape;10678;g3681a448973_2_557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79" name="Google Shape;10679;g3681a448973_2_557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80" name="Google Shape;10680;g3681a448973_2_557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81" name="Google Shape;10681;g3681a448973_2_5571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82" name="Google Shape;10682;g3681a448973_2_5571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83" name="Google Shape;10683;g3681a448973_2_557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84" name="Google Shape;10684;g3681a448973_2_557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97715056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mparison">
  <p:cSld name="16_Comparison">
    <p:spTree>
      <p:nvGrpSpPr>
        <p:cNvPr id="1" name="Shape 106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6" name="Google Shape;10686;g3681a448973_2_5572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687" name="Google Shape;10687;g3681a448973_2_557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88" name="Google Shape;10688;g3681a448973_2_557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689" name="Google Shape;10689;g3681a448973_2_557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90" name="Google Shape;10690;g3681a448973_2_557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91" name="Google Shape;10691;g3681a448973_2_557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92" name="Google Shape;10692;g3681a448973_2_5572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93" name="Google Shape;10693;g3681a448973_2_5572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94" name="Google Shape;10694;g3681a448973_2_5572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95" name="Google Shape;10695;g3681a448973_2_5572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96" name="Google Shape;10696;g3681a448973_2_557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97" name="Google Shape;10697;g3681a448973_2_557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98" name="Google Shape;10698;g3681a448973_2_557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31027866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Only">
  <p:cSld name="16_Title Only">
    <p:spTree>
      <p:nvGrpSpPr>
        <p:cNvPr id="1" name="Shape 10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00" name="Google Shape;10700;g3681a448973_2_5574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01" name="Google Shape;10701;g3681a448973_2_557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2" name="Google Shape;10702;g3681a448973_2_557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03" name="Google Shape;10703;g3681a448973_2_557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04" name="Google Shape;10704;g3681a448973_2_557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05" name="Google Shape;10705;g3681a448973_2_557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06" name="Google Shape;10706;g3681a448973_2_557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07" name="Google Shape;10707;g3681a448973_2_557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08" name="Google Shape;10708;g3681a448973_2_557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6439435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ver">
  <p:cSld name="14_Cover">
    <p:spTree>
      <p:nvGrpSpPr>
        <p:cNvPr id="1" name="Shape 1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" name="Google Shape;1146;g374da0147aa_0_5246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7" name="Google Shape;1147;g374da0147aa_0_5246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8" name="Google Shape;1148;g374da0147aa_0_5246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49" name="Google Shape;1149;g374da0147aa_0_524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50" name="Google Shape;1150;g374da0147aa_0_5246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151" name="Google Shape;1151;g374da0147aa_0_524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2" name="Google Shape;1152;g374da0147aa_0_524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53" name="Google Shape;1153;g374da0147aa_0_52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End">
  <p:cSld name="16_End">
    <p:spTree>
      <p:nvGrpSpPr>
        <p:cNvPr id="1" name="Shape 10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10" name="Google Shape;10710;g3681a448973_2_557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711" name="Google Shape;10711;g3681a448973_2_557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12" name="Google Shape;10712;g3681a448973_2_557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13" name="Google Shape;10713;g3681a448973_2_55750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14" name="Google Shape;10714;g3681a448973_2_5575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15" name="Google Shape;10715;g3681a448973_2_557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16" name="Google Shape;10716;g3681a448973_2_557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17" name="Google Shape;10717;g3681a448973_2_557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543495050"/>
      </p:ext>
    </p:extLst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Blank">
  <p:cSld name="18_Blank">
    <p:spTree>
      <p:nvGrpSpPr>
        <p:cNvPr id="1" name="Shape 10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9" name="Google Shape;10719;g3681a448973_2_557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20" name="Google Shape;10720;g3681a448973_2_557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21" name="Google Shape;10721;g3681a448973_2_557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22" name="Google Shape;10722;g3681a448973_2_5575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23" name="Google Shape;10723;g3681a448973_2_557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24" name="Google Shape;10724;g3681a448973_2_557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25" name="Google Shape;10725;g3681a448973_2_557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26" name="Google Shape;10726;g3681a448973_2_557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0146682"/>
      </p:ext>
    </p:extLst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2_Quotation">
  <p:cSld name="32_Quotation">
    <p:spTree>
      <p:nvGrpSpPr>
        <p:cNvPr id="1" name="Shape 10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28" name="Google Shape;10728;g3681a448973_2_55768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29" name="Google Shape;10729;g3681a448973_2_557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30" name="Google Shape;10730;g3681a448973_2_557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1" name="Google Shape;10731;g3681a448973_2_557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32" name="Google Shape;10732;g3681a448973_2_557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33" name="Google Shape;10733;g3681a448973_2_557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34" name="Google Shape;10734;g3681a448973_2_5576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35" name="Google Shape;10735;g3681a448973_2_557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36" name="Google Shape;10736;g3681a448973_2_5576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37" name="Google Shape;10737;g3681a448973_2_557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38" name="Google Shape;10738;g3681a448973_2_557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739" name="Google Shape;10739;g3681a448973_2_5576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9124255"/>
      </p:ext>
    </p:extLst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ver">
  <p:cSld name="16_Cover">
    <p:spTree>
      <p:nvGrpSpPr>
        <p:cNvPr id="1" name="Shape 10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1" name="Google Shape;10741;g3681a448973_2_55781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42" name="Google Shape;10742;g3681a448973_2_5578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43" name="Google Shape;10743;g3681a448973_2_5578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44" name="Google Shape;10744;g3681a448973_2_557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745" name="Google Shape;10745;g3681a448973_2_5578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746" name="Google Shape;10746;g3681a448973_2_557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47" name="Google Shape;10747;g3681a448973_2_5578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748" name="Google Shape;10748;g3681a448973_2_557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779454529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Divider">
  <p:cSld name="19_Divider">
    <p:bg>
      <p:bgPr>
        <a:solidFill>
          <a:schemeClr val="lt2"/>
        </a:solidFill>
        <a:effectLst/>
      </p:bgPr>
    </p:bg>
    <p:spTree>
      <p:nvGrpSpPr>
        <p:cNvPr id="1" name="Shape 10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50" name="Google Shape;10750;g3681a448973_2_5579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751" name="Google Shape;10751;g3681a448973_2_5579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52" name="Google Shape;10752;g3681a448973_2_557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53" name="Google Shape;10753;g3681a448973_2_5579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754" name="Google Shape;10754;g3681a448973_2_557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755" name="Google Shape;10755;g3681a448973_2_5579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56" name="Google Shape;10756;g3681a448973_2_5579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84619147"/>
      </p:ext>
    </p:extLst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Photo Slide">
  <p:cSld name="20_Photo Slide">
    <p:spTree>
      <p:nvGrpSpPr>
        <p:cNvPr id="1" name="Shape 107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8" name="Google Shape;10758;g3681a448973_2_5579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759" name="Google Shape;10759;g3681a448973_2_5579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760" name="Google Shape;10760;g3681a448973_2_5579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761" name="Google Shape;10761;g3681a448973_2_5579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62" name="Google Shape;10762;g3681a448973_2_5579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63" name="Google Shape;10763;g3681a448973_2_5579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764" name="Google Shape;10764;g3681a448973_2_557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21502761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Quotation">
  <p:cSld name="33_Quotation">
    <p:spTree>
      <p:nvGrpSpPr>
        <p:cNvPr id="1" name="Shape 10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6" name="Google Shape;10766;g3681a448973_2_55806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67" name="Google Shape;10767;g3681a448973_2_558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68" name="Google Shape;10768;g3681a448973_2_558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69" name="Google Shape;10769;g3681a448973_2_558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70" name="Google Shape;10770;g3681a448973_2_558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71" name="Google Shape;10771;g3681a448973_2_558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72" name="Google Shape;10772;g3681a448973_2_5580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73" name="Google Shape;10773;g3681a448973_2_558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74" name="Google Shape;10774;g3681a448973_2_5580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75" name="Google Shape;10775;g3681a448973_2_558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76" name="Google Shape;10776;g3681a448973_2_558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777" name="Google Shape;10777;g3681a448973_2_5580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2012244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and Content">
  <p:cSld name="20_Title and Content">
    <p:spTree>
      <p:nvGrpSpPr>
        <p:cNvPr id="1" name="Shape 10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79" name="Google Shape;10779;g3681a448973_2_5581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80" name="Google Shape;10780;g3681a448973_2_558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81" name="Google Shape;10781;g3681a448973_2_5581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82" name="Google Shape;10782;g3681a448973_2_558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83" name="Google Shape;10783;g3681a448973_2_558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84" name="Google Shape;10784;g3681a448973_2_558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85" name="Google Shape;10785;g3681a448973_2_558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86" name="Google Shape;10786;g3681a448973_2_558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7" name="Google Shape;10787;g3681a448973_2_558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88" name="Google Shape;10788;g3681a448973_2_558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54414890"/>
      </p:ext>
    </p:extLst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wo Content">
  <p:cSld name="19_Two Content">
    <p:spTree>
      <p:nvGrpSpPr>
        <p:cNvPr id="1" name="Shape 10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0" name="Google Shape;10790;g3681a448973_2_558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91" name="Google Shape;10791;g3681a448973_2_558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792" name="Google Shape;10792;g3681a448973_2_5583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793" name="Google Shape;10793;g3681a448973_2_558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94" name="Google Shape;10794;g3681a448973_2_5583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795" name="Google Shape;10795;g3681a448973_2_558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96" name="Google Shape;10796;g3681a448973_2_558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97" name="Google Shape;10797;g3681a448973_2_558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98" name="Google Shape;10798;g3681a448973_2_558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99" name="Google Shape;10799;g3681a448973_2_558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00" name="Google Shape;10800;g3681a448973_2_558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0293981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mparison">
  <p:cSld name="19_Comparison">
    <p:spTree>
      <p:nvGrpSpPr>
        <p:cNvPr id="1" name="Shape 10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02" name="Google Shape;10802;g3681a448973_2_5584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03" name="Google Shape;10803;g3681a448973_2_558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04" name="Google Shape;10804;g3681a448973_2_5584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05" name="Google Shape;10805;g3681a448973_2_558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06" name="Google Shape;10806;g3681a448973_2_558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807" name="Google Shape;10807;g3681a448973_2_558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08" name="Google Shape;10808;g3681a448973_2_5584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09" name="Google Shape;10809;g3681a448973_2_5584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10" name="Google Shape;10810;g3681a448973_2_5584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11" name="Google Shape;10811;g3681a448973_2_5584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12" name="Google Shape;10812;g3681a448973_2_558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13" name="Google Shape;10813;g3681a448973_2_558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14" name="Google Shape;10814;g3681a448973_2_558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5187790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Divider">
  <p:cSld name="14_Divider">
    <p:bg>
      <p:bgPr>
        <a:solidFill>
          <a:schemeClr val="lt2"/>
        </a:solidFill>
        <a:effectLst/>
      </p:bgPr>
    </p:bg>
    <p:spTree>
      <p:nvGrpSpPr>
        <p:cNvPr id="1" name="Shape 1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5" name="Google Shape;1155;g374da0147aa_0_5255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156" name="Google Shape;1156;g374da0147aa_0_525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7" name="Google Shape;1157;g374da0147aa_0_52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8" name="Google Shape;1158;g374da0147aa_0_525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59" name="Google Shape;1159;g374da0147aa_0_52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60" name="Google Shape;1160;g374da0147aa_0_5255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1" name="Google Shape;1161;g374da0147aa_0_5255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Only">
  <p:cSld name="19_Title Only">
    <p:spTree>
      <p:nvGrpSpPr>
        <p:cNvPr id="1" name="Shape 10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16" name="Google Shape;10816;g3681a448973_2_5585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17" name="Google Shape;10817;g3681a448973_2_558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18" name="Google Shape;10818;g3681a448973_2_558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19" name="Google Shape;10819;g3681a448973_2_558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20" name="Google Shape;10820;g3681a448973_2_558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821" name="Google Shape;10821;g3681a448973_2_558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22" name="Google Shape;10822;g3681a448973_2_558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23" name="Google Shape;10823;g3681a448973_2_558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24" name="Google Shape;10824;g3681a448973_2_558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62093506"/>
      </p:ext>
    </p:extLst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End">
  <p:cSld name="19_End">
    <p:spTree>
      <p:nvGrpSpPr>
        <p:cNvPr id="1" name="Shape 10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26" name="Google Shape;10826;g3681a448973_2_5586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27" name="Google Shape;10827;g3681a448973_2_5586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28" name="Google Shape;10828;g3681a448973_2_5586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829" name="Google Shape;10829;g3681a448973_2_55866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30" name="Google Shape;10830;g3681a448973_2_5586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31" name="Google Shape;10831;g3681a448973_2_5586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832" name="Google Shape;10832;g3681a448973_2_558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833" name="Google Shape;10833;g3681a448973_2_5586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290009913"/>
      </p:ext>
    </p:extLst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Blank">
  <p:cSld name="19_Blank">
    <p:spTree>
      <p:nvGrpSpPr>
        <p:cNvPr id="1" name="Shape 10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35" name="Google Shape;10835;g3681a448973_2_558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36" name="Google Shape;10836;g3681a448973_2_558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37" name="Google Shape;10837;g3681a448973_2_558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38" name="Google Shape;10838;g3681a448973_2_5587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39" name="Google Shape;10839;g3681a448973_2_558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40" name="Google Shape;10840;g3681a448973_2_5587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41" name="Google Shape;10841;g3681a448973_2_558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2" name="Google Shape;10842;g3681a448973_2_558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34837573"/>
      </p:ext>
    </p:extLst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ver">
  <p:cSld name="19_Cover">
    <p:spTree>
      <p:nvGrpSpPr>
        <p:cNvPr id="1" name="Shape 10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44" name="Google Shape;10844;g3681a448973_2_55884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45" name="Google Shape;10845;g3681a448973_2_5588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46" name="Google Shape;10846;g3681a448973_2_5588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47" name="Google Shape;10847;g3681a448973_2_558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848" name="Google Shape;10848;g3681a448973_2_5588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849" name="Google Shape;10849;g3681a448973_2_558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50" name="Google Shape;10850;g3681a448973_2_5588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851" name="Google Shape;10851;g3681a448973_2_558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975505465"/>
      </p:ext>
    </p:extLst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Divider">
  <p:cSld name="20_Divider">
    <p:bg>
      <p:bgPr>
        <a:solidFill>
          <a:schemeClr val="lt2"/>
        </a:solidFill>
        <a:effectLst/>
      </p:bgPr>
    </p:bg>
    <p:spTree>
      <p:nvGrpSpPr>
        <p:cNvPr id="1" name="Shape 10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53" name="Google Shape;10853;g3681a448973_2_5589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854" name="Google Shape;10854;g3681a448973_2_5589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55" name="Google Shape;10855;g3681a448973_2_5589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56" name="Google Shape;10856;g3681a448973_2_5589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857" name="Google Shape;10857;g3681a448973_2_558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858" name="Google Shape;10858;g3681a448973_2_5589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59" name="Google Shape;10859;g3681a448973_2_5589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52814818"/>
      </p:ext>
    </p:extLst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Quotation">
  <p:cSld name="39_Quotation">
    <p:spTree>
      <p:nvGrpSpPr>
        <p:cNvPr id="1" name="Shape 10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1" name="Google Shape;10861;g3681a448973_2_5590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62" name="Google Shape;10862;g3681a448973_2_559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63" name="Google Shape;10863;g3681a448973_2_559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64" name="Google Shape;10864;g3681a448973_2_559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65" name="Google Shape;10865;g3681a448973_2_559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66" name="Google Shape;10866;g3681a448973_2_559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67" name="Google Shape;10867;g3681a448973_2_5590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68" name="Google Shape;10868;g3681a448973_2_559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69" name="Google Shape;10869;g3681a448973_2_559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70" name="Google Shape;10870;g3681a448973_2_559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71" name="Google Shape;10871;g3681a448973_2_559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72" name="Google Shape;10872;g3681a448973_2_5590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0112306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Photo Slide">
  <p:cSld name="21_Photo Slide">
    <p:spTree>
      <p:nvGrpSpPr>
        <p:cNvPr id="1" name="Shape 108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4" name="Google Shape;10874;g3681a448973_2_5591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875" name="Google Shape;10875;g3681a448973_2_5591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876" name="Google Shape;10876;g3681a448973_2_5591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877" name="Google Shape;10877;g3681a448973_2_5591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78" name="Google Shape;10878;g3681a448973_2_5591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879" name="Google Shape;10879;g3681a448973_2_5591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880" name="Google Shape;10880;g3681a448973_2_559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41627562"/>
      </p:ext>
    </p:extLst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0_Quotation">
  <p:cSld name="40_Quotation">
    <p:spTree>
      <p:nvGrpSpPr>
        <p:cNvPr id="1" name="Shape 108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2" name="Google Shape;10882;g3681a448973_2_5592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83" name="Google Shape;10883;g3681a448973_2_559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4" name="Google Shape;10884;g3681a448973_2_559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85" name="Google Shape;10885;g3681a448973_2_559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86" name="Google Shape;10886;g3681a448973_2_559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87" name="Google Shape;10887;g3681a448973_2_559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88" name="Google Shape;10888;g3681a448973_2_5592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89" name="Google Shape;10889;g3681a448973_2_559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90" name="Google Shape;10890;g3681a448973_2_5592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91" name="Google Shape;10891;g3681a448973_2_559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92" name="Google Shape;10892;g3681a448973_2_559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93" name="Google Shape;10893;g3681a448973_2_5592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0912220"/>
      </p:ext>
    </p:extLst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and Content">
  <p:cSld name="25_Title and Content">
    <p:spTree>
      <p:nvGrpSpPr>
        <p:cNvPr id="1" name="Shape 10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95" name="Google Shape;10895;g3681a448973_2_5593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896" name="Google Shape;10896;g3681a448973_2_559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97" name="Google Shape;10897;g3681a448973_2_559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898" name="Google Shape;10898;g3681a448973_2_559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99" name="Google Shape;10899;g3681a448973_2_559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900" name="Google Shape;10900;g3681a448973_2_559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01" name="Google Shape;10901;g3681a448973_2_559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02" name="Google Shape;10902;g3681a448973_2_559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03" name="Google Shape;10903;g3681a448973_2_559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04" name="Google Shape;10904;g3681a448973_2_559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0729343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wo Content">
  <p:cSld name="20_Two Content">
    <p:spTree>
      <p:nvGrpSpPr>
        <p:cNvPr id="1" name="Shape 10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6" name="Google Shape;10906;g3681a448973_2_559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07" name="Google Shape;10907;g3681a448973_2_559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908" name="Google Shape;10908;g3681a448973_2_5594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909" name="Google Shape;10909;g3681a448973_2_559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10" name="Google Shape;10910;g3681a448973_2_5594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911" name="Google Shape;10911;g3681a448973_2_559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12" name="Google Shape;10912;g3681a448973_2_559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913" name="Google Shape;10913;g3681a448973_2_5594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14" name="Google Shape;10914;g3681a448973_2_5594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15" name="Google Shape;10915;g3681a448973_2_559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16" name="Google Shape;10916;g3681a448973_2_559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3238736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Photo Slide">
  <p:cSld name="14_Photo Slide">
    <p:spTree>
      <p:nvGrpSpPr>
        <p:cNvPr id="1" name="Shape 1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3" name="Google Shape;1163;g374da0147aa_0_526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4" name="Google Shape;1164;g374da0147aa_0_526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65" name="Google Shape;1165;g374da0147aa_0_526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66" name="Google Shape;1166;g374da0147aa_0_526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7" name="Google Shape;1167;g374da0147aa_0_526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8" name="Google Shape;1168;g374da0147aa_0_526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69" name="Google Shape;1169;g374da0147aa_0_52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mparison">
  <p:cSld name="20_Comparison">
    <p:spTree>
      <p:nvGrpSpPr>
        <p:cNvPr id="1" name="Shape 10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18" name="Google Shape;10918;g3681a448973_2_5595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919" name="Google Shape;10919;g3681a448973_2_559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20" name="Google Shape;10920;g3681a448973_2_559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921" name="Google Shape;10921;g3681a448973_2_559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22" name="Google Shape;10922;g3681a448973_2_559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923" name="Google Shape;10923;g3681a448973_2_559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24" name="Google Shape;10924;g3681a448973_2_559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25" name="Google Shape;10925;g3681a448973_2_559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26" name="Google Shape;10926;g3681a448973_2_559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27" name="Google Shape;10927;g3681a448973_2_559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28" name="Google Shape;10928;g3681a448973_2_559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29" name="Google Shape;10929;g3681a448973_2_559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30" name="Google Shape;10930;g3681a448973_2_559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96214004"/>
      </p:ext>
    </p:extLst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Only">
  <p:cSld name="20_Title Only">
    <p:spTree>
      <p:nvGrpSpPr>
        <p:cNvPr id="1" name="Shape 10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32" name="Google Shape;10932;g3681a448973_2_559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933" name="Google Shape;10933;g3681a448973_2_559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34" name="Google Shape;10934;g3681a448973_2_559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935" name="Google Shape;10935;g3681a448973_2_559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36" name="Google Shape;10936;g3681a448973_2_559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937" name="Google Shape;10937;g3681a448973_2_559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38" name="Google Shape;10938;g3681a448973_2_559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39" name="Google Shape;10939;g3681a448973_2_559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40" name="Google Shape;10940;g3681a448973_2_559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70170298"/>
      </p:ext>
    </p:extLst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End">
  <p:cSld name="20_End">
    <p:spTree>
      <p:nvGrpSpPr>
        <p:cNvPr id="1" name="Shape 109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42" name="Google Shape;10942;g3681a448973_2_559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943" name="Google Shape;10943;g3681a448973_2_559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44" name="Google Shape;10944;g3681a448973_2_559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45" name="Google Shape;10945;g3681a448973_2_5598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46" name="Google Shape;10946;g3681a448973_2_559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47" name="Google Shape;10947;g3681a448973_2_559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48" name="Google Shape;10948;g3681a448973_2_559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49" name="Google Shape;10949;g3681a448973_2_559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653556239"/>
      </p:ext>
    </p:extLst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Blank">
  <p:cSld name="20_Blank">
    <p:spTree>
      <p:nvGrpSpPr>
        <p:cNvPr id="1" name="Shape 109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1" name="Google Shape;10951;g3681a448973_2_559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52" name="Google Shape;10952;g3681a448973_2_559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53" name="Google Shape;10953;g3681a448973_2_559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54" name="Google Shape;10954;g3681a448973_2_5599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0955" name="Google Shape;10955;g3681a448973_2_559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56" name="Google Shape;10956;g3681a448973_2_559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957" name="Google Shape;10957;g3681a448973_2_559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58" name="Google Shape;10958;g3681a448973_2_559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32586"/>
      </p:ext>
    </p:extLst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ver">
  <p:cSld name="20_Cover">
    <p:spTree>
      <p:nvGrpSpPr>
        <p:cNvPr id="1" name="Shape 109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0" name="Google Shape;10960;g3681a448973_2_56000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61" name="Google Shape;10961;g3681a448973_2_560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62" name="Google Shape;10962;g3681a448973_2_560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63" name="Google Shape;10963;g3681a448973_2_560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64" name="Google Shape;10964;g3681a448973_2_560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65" name="Google Shape;10965;g3681a448973_2_560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66" name="Google Shape;10966;g3681a448973_2_560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67" name="Google Shape;10967;g3681a448973_2_560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532422037"/>
      </p:ext>
    </p:extLst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Bullets Layout">
  <p:cSld name="6_Title and Bullets Layout">
    <p:spTree>
      <p:nvGrpSpPr>
        <p:cNvPr id="1" name="Shape 10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9" name="Google Shape;10969;g3681a448973_2_5600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70" name="Google Shape;10970;g3681a448973_2_5600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1" name="Google Shape;10971;g3681a448973_2_5600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2" name="Google Shape;10972;g3681a448973_2_5600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973" name="Google Shape;10973;g3681a448973_2_560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9132522"/>
      </p:ext>
    </p:extLst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and Content">
  <p:cSld name="27_Title and Content">
    <p:spTree>
      <p:nvGrpSpPr>
        <p:cNvPr id="1" name="Shape 10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75" name="Google Shape;10975;g3681a448973_2_5601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976" name="Google Shape;10976;g3681a448973_2_560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977" name="Google Shape;10977;g3681a448973_2_5601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8" name="Google Shape;10978;g3681a448973_2_5601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79" name="Google Shape;10979;g3681a448973_2_5601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81805477"/>
      </p:ext>
    </p:extLst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Section | Picture and Copy Layout">
  <p:cSld name="6_Two Section | Picture and Copy Layout">
    <p:spTree>
      <p:nvGrpSpPr>
        <p:cNvPr id="1" name="Shape 109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1" name="Google Shape;10981;g3681a448973_2_5602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82" name="Google Shape;10982;g3681a448973_2_5602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83" name="Google Shape;10983;g3681a448973_2_5602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84" name="Google Shape;10984;g3681a448973_2_5602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85" name="Google Shape;10985;g3681a448973_2_5602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86" name="Google Shape;10986;g3681a448973_2_560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1398125"/>
      </p:ext>
    </p:extLst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able of Content">
  <p:cSld name="1_Table of Content">
    <p:spTree>
      <p:nvGrpSpPr>
        <p:cNvPr id="1" name="Shape 109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8" name="Google Shape;10988;g3681a448973_2_56028"/>
          <p:cNvSpPr/>
          <p:nvPr/>
        </p:nvSpPr>
        <p:spPr>
          <a:xfrm>
            <a:off x="-10584" y="6620933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89" name="Google Shape;10989;g3681a448973_2_56028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0" name="Google Shape;10990;g3681a448973_2_56028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1" name="Google Shape;10991;g3681a448973_2_56028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2" name="Google Shape;10992;g3681a448973_2_560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0993" name="Google Shape;10993;g3681a448973_2_56028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5624313"/>
      </p:ext>
    </p:extLst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09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95" name="Google Shape;10995;g3681a448973_2_56035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6" name="Google Shape;10996;g3681a448973_2_56035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0997" name="Google Shape;10997;g3681a448973_2_5603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998" name="Google Shape;10998;g3681a448973_2_560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9" name="Google Shape;10999;g3681a448973_2_560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746288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Quotation">
  <p:cSld name="30_Quotation"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" name="Google Shape;1171;g374da0147aa_0_527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2" name="Google Shape;1172;g374da0147aa_0_527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" name="Google Shape;1173;g374da0147aa_0_52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4" name="Google Shape;1174;g374da0147aa_0_527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5" name="Google Shape;1175;g374da0147aa_0_52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6" name="Google Shape;1176;g374da0147aa_0_52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7" name="Google Shape;1177;g374da0147aa_0_527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78" name="Google Shape;1178;g374da0147aa_0_52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9" name="Google Shape;1179;g374da0147aa_0_527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80" name="Google Shape;1180;g374da0147aa_0_52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1" name="Google Shape;1181;g374da0147aa_0_52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82" name="Google Shape;1182;g374da0147aa_0_527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110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1" name="Google Shape;11001;g3681a448973_2_56041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00" cy="11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02" name="Google Shape;11002;g3681a448973_2_56041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700" cy="58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003" name="Google Shape;11003;g3681a448973_2_56041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00" cy="46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1004" name="Google Shape;11004;g3681a448973_2_5604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005" name="Google Shape;11005;g3681a448973_2_560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06" name="Google Shape;11006;g3681a448973_2_560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0519261"/>
      </p:ext>
    </p:extLst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8" name="Google Shape;11008;g3681a448973_2_56048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09" name="Google Shape;11009;g3681a448973_2_56048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010" name="Google Shape;11010;g3681a448973_2_5604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11" name="Google Shape;11011;g3681a448973_2_56048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012" name="Google Shape;11012;g3681a448973_2_5604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3" name="Google Shape;11013;g3681a448973_2_5604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14" name="Google Shape;11014;g3681a448973_2_56048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15" name="Google Shape;11015;g3681a448973_2_56048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016" name="Google Shape;11016;g3681a448973_2_560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8199172"/>
      </p:ext>
    </p:extLst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9_Title and Content">
    <p:spTree>
      <p:nvGrpSpPr>
        <p:cNvPr id="1" name="Shape 1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18" name="Google Shape;11018;g3681a448973_2_5605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019" name="Google Shape;11019;g3681a448973_2_560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20" name="Google Shape;11020;g3681a448973_2_560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021" name="Google Shape;11021;g3681a448973_2_560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22" name="Google Shape;11022;g3681a448973_2_560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023" name="Google Shape;11023;g3681a448973_2_560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24" name="Google Shape;11024;g3681a448973_2_560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25" name="Google Shape;11025;g3681a448973_2_560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26" name="Google Shape;11026;g3681a448973_2_560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27" name="Google Shape;11027;g3681a448973_2_560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59416967"/>
      </p:ext>
    </p:extLst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">
    <p:spTree>
      <p:nvGrpSpPr>
        <p:cNvPr id="1" name="Shape 1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9" name="Google Shape;11029;g3681a448973_2_560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30" name="Google Shape;11030;g3681a448973_2_5606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31" name="Google Shape;11031;g3681a448973_2_560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32" name="Google Shape;11032;g3681a448973_2_560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33" name="Google Shape;11033;g3681a448973_2_560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34" name="Google Shape;11034;g3681a448973_2_560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035" name="Google Shape;11035;g3681a448973_2_560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9170668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">
    <p:spTree>
      <p:nvGrpSpPr>
        <p:cNvPr id="1" name="Shape 1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7" name="Google Shape;11037;g3681a448973_2_5607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38" name="Google Shape;11038;g3681a448973_2_5607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39" name="Google Shape;11039;g3681a448973_2_5607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40" name="Google Shape;11040;g3681a448973_2_5607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41" name="Google Shape;11041;g3681a448973_2_5607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42" name="Google Shape;11042;g3681a448973_2_5607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043" name="Google Shape;11043;g3681a448973_2_560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26144011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ver">
  <p:cSld name="21_Cover">
    <p:spTree>
      <p:nvGrpSpPr>
        <p:cNvPr id="1" name="Shape 11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45" name="Google Shape;11045;g3681a448973_2_56085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46" name="Google Shape;11046;g3681a448973_2_5608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7" name="Google Shape;11047;g3681a448973_2_5608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48" name="Google Shape;11048;g3681a448973_2_560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49" name="Google Shape;11049;g3681a448973_2_5608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50" name="Google Shape;11050;g3681a448973_2_5608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51" name="Google Shape;11051;g3681a448973_2_5608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52" name="Google Shape;11052;g3681a448973_2_560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218752896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Divider">
  <p:cSld name="21_Divider">
    <p:bg>
      <p:bgPr>
        <a:solidFill>
          <a:schemeClr val="lt2"/>
        </a:solidFill>
        <a:effectLst/>
      </p:bgPr>
    </p:bg>
    <p:spTree>
      <p:nvGrpSpPr>
        <p:cNvPr id="1" name="Shape 110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54" name="Google Shape;11054;g3681a448973_2_5609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55" name="Google Shape;11055;g3681a448973_2_5609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56" name="Google Shape;11056;g3681a448973_2_560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57" name="Google Shape;11057;g3681a448973_2_5609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58" name="Google Shape;11058;g3681a448973_2_560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59" name="Google Shape;11059;g3681a448973_2_5609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60" name="Google Shape;11060;g3681a448973_2_5609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2312495"/>
      </p:ext>
    </p:extLst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Photo Slide">
  <p:cSld name="22_Photo Slide">
    <p:spTree>
      <p:nvGrpSpPr>
        <p:cNvPr id="1" name="Shape 11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62" name="Google Shape;11062;g3681a448973_2_5610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63" name="Google Shape;11063;g3681a448973_2_5610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64" name="Google Shape;11064;g3681a448973_2_5610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5" name="Google Shape;11065;g3681a448973_2_5610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66" name="Google Shape;11066;g3681a448973_2_5610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67" name="Google Shape;11067;g3681a448973_2_5610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068" name="Google Shape;11068;g3681a448973_2_561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7616467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3_Quotation">
  <p:cSld name="43_Quotation">
    <p:spTree>
      <p:nvGrpSpPr>
        <p:cNvPr id="1" name="Shape 1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0" name="Google Shape;11070;g3681a448973_2_5611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71" name="Google Shape;11071;g3681a448973_2_561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72" name="Google Shape;11072;g3681a448973_2_561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73" name="Google Shape;11073;g3681a448973_2_56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74" name="Google Shape;11074;g3681a448973_2_56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75" name="Google Shape;11075;g3681a448973_2_56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76" name="Google Shape;11076;g3681a448973_2_5611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077" name="Google Shape;11077;g3681a448973_2_56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78" name="Google Shape;11078;g3681a448973_2_561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079" name="Google Shape;11079;g3681a448973_2_56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80" name="Google Shape;11080;g3681a448973_2_56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081" name="Google Shape;11081;g3681a448973_2_5611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329463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and Content">
  <p:cSld name="29_Title and Content">
    <p:spTree>
      <p:nvGrpSpPr>
        <p:cNvPr id="1" name="Shape 110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83" name="Google Shape;11083;g3681a448973_2_5612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084" name="Google Shape;11084;g3681a448973_2_56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85" name="Google Shape;11085;g3681a448973_2_5612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086" name="Google Shape;11086;g3681a448973_2_56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87" name="Google Shape;11087;g3681a448973_2_56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088" name="Google Shape;11088;g3681a448973_2_561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9" name="Google Shape;11089;g3681a448973_2_561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0" name="Google Shape;11090;g3681a448973_2_56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91" name="Google Shape;11091;g3681a448973_2_56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92" name="Google Shape;11092;g3681a448973_2_56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7762023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spTree>
      <p:nvGrpSpPr>
        <p:cNvPr id="1" name="Shape 1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4" name="Google Shape;1184;g374da0147aa_0_528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85" name="Google Shape;1185;g374da0147aa_0_52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6" name="Google Shape;1186;g374da0147aa_0_528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87" name="Google Shape;1187;g374da0147aa_0_52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8" name="Google Shape;1188;g374da0147aa_0_52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9" name="Google Shape;1189;g374da0147aa_0_52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" name="Google Shape;1190;g374da0147aa_0_528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1" name="Google Shape;1191;g374da0147aa_0_528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2" name="Google Shape;1192;g374da0147aa_0_52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3" name="Google Shape;1193;g374da0147aa_0_52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wo Content">
  <p:cSld name="21_Two Content">
    <p:spTree>
      <p:nvGrpSpPr>
        <p:cNvPr id="1" name="Shape 11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94" name="Google Shape;11094;g3681a448973_2_561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95" name="Google Shape;11095;g3681a448973_2_561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096" name="Google Shape;11096;g3681a448973_2_5613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097" name="Google Shape;11097;g3681a448973_2_561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98" name="Google Shape;11098;g3681a448973_2_5613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099" name="Google Shape;11099;g3681a448973_2_561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00" name="Google Shape;11100;g3681a448973_2_561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01" name="Google Shape;11101;g3681a448973_2_5613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02" name="Google Shape;11102;g3681a448973_2_5613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03" name="Google Shape;11103;g3681a448973_2_561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04" name="Google Shape;11104;g3681a448973_2_56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23206271"/>
      </p:ext>
    </p:extLst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mparison">
  <p:cSld name="21_Comparison">
    <p:spTree>
      <p:nvGrpSpPr>
        <p:cNvPr id="1" name="Shape 1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06" name="Google Shape;11106;g3681a448973_2_5614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107" name="Google Shape;11107;g3681a448973_2_56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08" name="Google Shape;11108;g3681a448973_2_5614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109" name="Google Shape;11109;g3681a448973_2_56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10" name="Google Shape;11110;g3681a448973_2_56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11" name="Google Shape;11111;g3681a448973_2_56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12" name="Google Shape;11112;g3681a448973_2_561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113" name="Google Shape;11113;g3681a448973_2_561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14" name="Google Shape;11114;g3681a448973_2_561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115" name="Google Shape;11115;g3681a448973_2_561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16" name="Google Shape;11116;g3681a448973_2_56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17" name="Google Shape;11117;g3681a448973_2_56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18" name="Google Shape;11118;g3681a448973_2_56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4321696"/>
      </p:ext>
    </p:extLst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Only">
  <p:cSld name="21_Title Only">
    <p:spTree>
      <p:nvGrpSpPr>
        <p:cNvPr id="1" name="Shape 1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20" name="Google Shape;11120;g3681a448973_2_5616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121" name="Google Shape;11121;g3681a448973_2_561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22" name="Google Shape;11122;g3681a448973_2_5616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123" name="Google Shape;11123;g3681a448973_2_561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24" name="Google Shape;11124;g3681a448973_2_561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25" name="Google Shape;11125;g3681a448973_2_561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26" name="Google Shape;11126;g3681a448973_2_561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27" name="Google Shape;11127;g3681a448973_2_561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28" name="Google Shape;11128;g3681a448973_2_561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26441994"/>
      </p:ext>
    </p:extLst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End">
  <p:cSld name="21_End">
    <p:spTree>
      <p:nvGrpSpPr>
        <p:cNvPr id="1" name="Shape 1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30" name="Google Shape;11130;g3681a448973_2_5617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131" name="Google Shape;11131;g3681a448973_2_5617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32" name="Google Shape;11132;g3681a448973_2_5617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33" name="Google Shape;11133;g3681a448973_2_56170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34" name="Google Shape;11134;g3681a448973_2_5617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35" name="Google Shape;11135;g3681a448973_2_5617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136" name="Google Shape;11136;g3681a448973_2_561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137" name="Google Shape;11137;g3681a448973_2_561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808948692"/>
      </p:ext>
    </p:extLst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Blank">
  <p:cSld name="21_Blank">
    <p:spTree>
      <p:nvGrpSpPr>
        <p:cNvPr id="1" name="Shape 1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9" name="Google Shape;11139;g3681a448973_2_561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40" name="Google Shape;11140;g3681a448973_2_56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41" name="Google Shape;11141;g3681a448973_2_56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42" name="Google Shape;11142;g3681a448973_2_5617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143" name="Google Shape;11143;g3681a448973_2_561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44" name="Google Shape;11144;g3681a448973_2_561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145" name="Google Shape;11145;g3681a448973_2_56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46" name="Google Shape;11146;g3681a448973_2_56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2371730"/>
      </p:ext>
    </p:extLst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ver">
  <p:cSld name="22_Cover">
    <p:spTree>
      <p:nvGrpSpPr>
        <p:cNvPr id="1" name="Shape 11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48" name="Google Shape;11148;g3681a448973_2_56188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49" name="Google Shape;11149;g3681a448973_2_5618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0" name="Google Shape;11150;g3681a448973_2_5618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51" name="Google Shape;11151;g3681a448973_2_5618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152" name="Google Shape;11152;g3681a448973_2_5618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153" name="Google Shape;11153;g3681a448973_2_561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54" name="Google Shape;11154;g3681a448973_2_5618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55" name="Google Shape;11155;g3681a448973_2_561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41168148"/>
      </p:ext>
    </p:extLst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Divider">
  <p:cSld name="22_Divider">
    <p:bg>
      <p:bgPr>
        <a:solidFill>
          <a:schemeClr val="lt2"/>
        </a:solidFill>
        <a:effectLst/>
      </p:bgPr>
    </p:bg>
    <p:spTree>
      <p:nvGrpSpPr>
        <p:cNvPr id="1" name="Shape 11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57" name="Google Shape;11157;g3681a448973_2_5619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158" name="Google Shape;11158;g3681a448973_2_5619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59" name="Google Shape;11159;g3681a448973_2_561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60" name="Google Shape;11160;g3681a448973_2_5619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61" name="Google Shape;11161;g3681a448973_2_56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62" name="Google Shape;11162;g3681a448973_2_5619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63" name="Google Shape;11163;g3681a448973_2_5619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1806431"/>
      </p:ext>
    </p:extLst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Photo Slide">
  <p:cSld name="23_Photo Slide">
    <p:spTree>
      <p:nvGrpSpPr>
        <p:cNvPr id="1" name="Shape 1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5" name="Google Shape;11165;g3681a448973_2_5620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166" name="Google Shape;11166;g3681a448973_2_5620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67" name="Google Shape;11167;g3681a448973_2_5620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168" name="Google Shape;11168;g3681a448973_2_5620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69" name="Google Shape;11169;g3681a448973_2_5620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70" name="Google Shape;11170;g3681a448973_2_5620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171" name="Google Shape;11171;g3681a448973_2_562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69295878"/>
      </p:ext>
    </p:extLst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Quotation">
  <p:cSld name="44_Quotation">
    <p:spTree>
      <p:nvGrpSpPr>
        <p:cNvPr id="1" name="Shape 11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73" name="Google Shape;11173;g3681a448973_2_5621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74" name="Google Shape;11174;g3681a448973_2_562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75" name="Google Shape;11175;g3681a448973_2_562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76" name="Google Shape;11176;g3681a448973_2_56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77" name="Google Shape;11177;g3681a448973_2_56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78" name="Google Shape;11178;g3681a448973_2_56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9" name="Google Shape;11179;g3681a448973_2_5621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180" name="Google Shape;11180;g3681a448973_2_562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81" name="Google Shape;11181;g3681a448973_2_562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182" name="Google Shape;11182;g3681a448973_2_56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83" name="Google Shape;11183;g3681a448973_2_56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184" name="Google Shape;11184;g3681a448973_2_5621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7113467"/>
      </p:ext>
    </p:extLst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Title and Content">
  <p:cSld name="30_Title and Content">
    <p:spTree>
      <p:nvGrpSpPr>
        <p:cNvPr id="1" name="Shape 11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86" name="Google Shape;11186;g3681a448973_2_5622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187" name="Google Shape;11187;g3681a448973_2_56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88" name="Google Shape;11188;g3681a448973_2_562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189" name="Google Shape;11189;g3681a448973_2_56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90" name="Google Shape;11190;g3681a448973_2_56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91" name="Google Shape;11191;g3681a448973_2_562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2" name="Google Shape;11192;g3681a448973_2_562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93" name="Google Shape;11193;g3681a448973_2_56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94" name="Google Shape;11194;g3681a448973_2_56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95" name="Google Shape;11195;g3681a448973_2_56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3805848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Content">
  <p:cSld name="14_Two Content">
    <p:spTree>
      <p:nvGrpSpPr>
        <p:cNvPr id="1" name="Shape 1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5" name="Google Shape;1195;g374da0147aa_0_52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6" name="Google Shape;1196;g374da0147aa_0_5295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97" name="Google Shape;1197;g374da0147aa_0_529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198" name="Google Shape;1198;g374da0147aa_0_52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9" name="Google Shape;1199;g374da0147aa_0_529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0" name="Google Shape;1200;g374da0147aa_0_52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1" name="Google Shape;1201;g374da0147aa_0_52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02" name="Google Shape;1202;g374da0147aa_0_5295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3" name="Google Shape;1203;g374da0147aa_0_5295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4" name="Google Shape;1204;g374da0147aa_0_52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5" name="Google Shape;1205;g374da0147aa_0_52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wo Content">
  <p:cSld name="22_Two Content">
    <p:spTree>
      <p:nvGrpSpPr>
        <p:cNvPr id="1" name="Shape 11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7" name="Google Shape;11197;g3681a448973_2_562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8" name="Google Shape;11198;g3681a448973_2_562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199" name="Google Shape;11199;g3681a448973_2_5623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00" name="Google Shape;11200;g3681a448973_2_562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01" name="Google Shape;11201;g3681a448973_2_5623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02" name="Google Shape;11202;g3681a448973_2_562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03" name="Google Shape;11203;g3681a448973_2_562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04" name="Google Shape;11204;g3681a448973_2_562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05" name="Google Shape;11205;g3681a448973_2_562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06" name="Google Shape;11206;g3681a448973_2_562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07" name="Google Shape;11207;g3681a448973_2_562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29532012"/>
      </p:ext>
    </p:extLst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mparison">
  <p:cSld name="22_Comparison">
    <p:spTree>
      <p:nvGrpSpPr>
        <p:cNvPr id="1" name="Shape 11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09" name="Google Shape;11209;g3681a448973_2_5624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10" name="Google Shape;11210;g3681a448973_2_562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11" name="Google Shape;11211;g3681a448973_2_5624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12" name="Google Shape;11212;g3681a448973_2_562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3" name="Google Shape;11213;g3681a448973_2_562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14" name="Google Shape;11214;g3681a448973_2_562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15" name="Google Shape;11215;g3681a448973_2_5624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216" name="Google Shape;11216;g3681a448973_2_5624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17" name="Google Shape;11217;g3681a448973_2_5624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218" name="Google Shape;11218;g3681a448973_2_5624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19" name="Google Shape;11219;g3681a448973_2_562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20" name="Google Shape;11220;g3681a448973_2_562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21" name="Google Shape;11221;g3681a448973_2_562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38897518"/>
      </p:ext>
    </p:extLst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Only">
  <p:cSld name="22_Title Only">
    <p:spTree>
      <p:nvGrpSpPr>
        <p:cNvPr id="1" name="Shape 11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23" name="Google Shape;11223;g3681a448973_2_5626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24" name="Google Shape;11224;g3681a448973_2_56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25" name="Google Shape;11225;g3681a448973_2_562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26" name="Google Shape;11226;g3681a448973_2_56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27" name="Google Shape;11227;g3681a448973_2_56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28" name="Google Shape;11228;g3681a448973_2_562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29" name="Google Shape;11229;g3681a448973_2_562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30" name="Google Shape;11230;g3681a448973_2_56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31" name="Google Shape;11231;g3681a448973_2_56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43080886"/>
      </p:ext>
    </p:extLst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End">
  <p:cSld name="22_End">
    <p:spTree>
      <p:nvGrpSpPr>
        <p:cNvPr id="1" name="Shape 1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33" name="Google Shape;11233;g3681a448973_2_5627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234" name="Google Shape;11234;g3681a448973_2_5627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35" name="Google Shape;11235;g3681a448973_2_5627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236" name="Google Shape;11236;g3681a448973_2_56273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37" name="Google Shape;11237;g3681a448973_2_5627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38" name="Google Shape;11238;g3681a448973_2_5627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39" name="Google Shape;11239;g3681a448973_2_562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240" name="Google Shape;11240;g3681a448973_2_562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937686918"/>
      </p:ext>
    </p:extLst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Blank">
  <p:cSld name="22_Blank">
    <p:spTree>
      <p:nvGrpSpPr>
        <p:cNvPr id="1" name="Shape 11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2" name="Google Shape;11242;g3681a448973_2_562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43" name="Google Shape;11243;g3681a448973_2_562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44" name="Google Shape;11244;g3681a448973_2_562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45" name="Google Shape;11245;g3681a448973_2_5628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46" name="Google Shape;11246;g3681a448973_2_562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47" name="Google Shape;11247;g3681a448973_2_5628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48" name="Google Shape;11248;g3681a448973_2_562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49" name="Google Shape;11249;g3681a448973_2_562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3168464"/>
      </p:ext>
    </p:extLst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bg>
      <p:bgPr>
        <a:solidFill>
          <a:schemeClr val="lt1"/>
        </a:solidFill>
        <a:effectLst/>
      </p:bgPr>
    </p:bg>
    <p:spTree>
      <p:nvGrpSpPr>
        <p:cNvPr id="1" name="Shape 1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1" name="Google Shape;11251;g3681a448973_2_5629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52" name="Google Shape;11252;g3681a448973_2_56291"/>
          <p:cNvSpPr/>
          <p:nvPr/>
        </p:nvSpPr>
        <p:spPr>
          <a:xfrm>
            <a:off x="2" y="5100849"/>
            <a:ext cx="7111365" cy="1757679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53" name="Google Shape;11253;g3681a448973_2_56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1254" name="Google Shape;11254;g3681a448973_2_56291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55" name="Google Shape;11255;g3681a448973_2_5629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1256" name="Google Shape;11256;g3681a448973_2_5629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57" name="Google Shape;11257;g3681a448973_2_56291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500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58" name="Google Shape;11258;g3681a448973_2_56291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9" name="Google Shape;11259;g3681a448973_2_562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0" name="Google Shape;11260;g3681a448973_2_5629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261" name="Google Shape;11261;g3681a448973_2_562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39593667"/>
      </p:ext>
    </p:extLst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Quotation">
  <p:cSld name="46_Quotation">
    <p:spTree>
      <p:nvGrpSpPr>
        <p:cNvPr id="1" name="Shape 1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3" name="Google Shape;11263;g3681a448973_2_5630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64" name="Google Shape;11264;g3681a448973_2_563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5" name="Google Shape;11265;g3681a448973_2_563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66" name="Google Shape;11266;g3681a448973_2_56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67" name="Google Shape;11267;g3681a448973_2_563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68" name="Google Shape;11268;g3681a448973_2_56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69" name="Google Shape;11269;g3681a448973_2_5630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70" name="Google Shape;11270;g3681a448973_2_563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71" name="Google Shape;11271;g3681a448973_2_563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72" name="Google Shape;11272;g3681a448973_2_563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73" name="Google Shape;11273;g3681a448973_2_563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74" name="Google Shape;11274;g3681a448973_2_5630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8436283"/>
      </p:ext>
    </p:extLst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wo Content">
  <p:cSld name="23_Two Content">
    <p:spTree>
      <p:nvGrpSpPr>
        <p:cNvPr id="1" name="Shape 1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6" name="Google Shape;11276;g3681a448973_2_563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77" name="Google Shape;11277;g3681a448973_2_563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278" name="Google Shape;11278;g3681a448973_2_5631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79" name="Google Shape;11279;g3681a448973_2_56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80" name="Google Shape;11280;g3681a448973_2_563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81" name="Google Shape;11281;g3681a448973_2_563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2" name="Google Shape;11282;g3681a448973_2_563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83" name="Google Shape;11283;g3681a448973_2_5631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84" name="Google Shape;11284;g3681a448973_2_5631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85" name="Google Shape;11285;g3681a448973_2_563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86" name="Google Shape;11286;g3681a448973_2_563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22893515"/>
      </p:ext>
    </p:extLst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mparison">
  <p:cSld name="23_Comparison">
    <p:spTree>
      <p:nvGrpSpPr>
        <p:cNvPr id="1" name="Shape 11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88" name="Google Shape;11288;g3681a448973_2_5632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289" name="Google Shape;11289;g3681a448973_2_563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90" name="Google Shape;11290;g3681a448973_2_563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291" name="Google Shape;11291;g3681a448973_2_563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92" name="Google Shape;11292;g3681a448973_2_563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3" name="Google Shape;11293;g3681a448973_2_563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4" name="Google Shape;11294;g3681a448973_2_5632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295" name="Google Shape;11295;g3681a448973_2_5632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96" name="Google Shape;11296;g3681a448973_2_5632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297" name="Google Shape;11297;g3681a448973_2_5632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98" name="Google Shape;11298;g3681a448973_2_563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99" name="Google Shape;11299;g3681a448973_2_563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00" name="Google Shape;11300;g3681a448973_2_563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56247344"/>
      </p:ext>
    </p:extLst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Only">
  <p:cSld name="23_Title Only">
    <p:spTree>
      <p:nvGrpSpPr>
        <p:cNvPr id="1" name="Shape 11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02" name="Google Shape;11302;g3681a448973_2_5634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303" name="Google Shape;11303;g3681a448973_2_563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04" name="Google Shape;11304;g3681a448973_2_5634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05" name="Google Shape;11305;g3681a448973_2_563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06" name="Google Shape;11306;g3681a448973_2_563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307" name="Google Shape;11307;g3681a448973_2_563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8" name="Google Shape;11308;g3681a448973_2_563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09" name="Google Shape;11309;g3681a448973_2_563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10" name="Google Shape;11310;g3681a448973_2_563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4960861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mparison">
  <p:cSld name="14_Comparison">
    <p:spTree>
      <p:nvGrpSpPr>
        <p:cNvPr id="1" name="Shape 1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7" name="Google Shape;1207;g374da0147aa_0_530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08" name="Google Shape;1208;g374da0147aa_0_53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9" name="Google Shape;1209;g374da0147aa_0_53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10" name="Google Shape;1210;g374da0147aa_0_53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1" name="Google Shape;1211;g374da0147aa_0_53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12" name="Google Shape;1212;g374da0147aa_0_5307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3" name="Google Shape;1213;g374da0147aa_0_5307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14" name="Google Shape;1214;g374da0147aa_0_5307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5" name="Google Shape;1215;g374da0147aa_0_530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16" name="Google Shape;1216;g374da0147aa_0_530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7" name="Google Shape;1217;g374da0147aa_0_530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18" name="Google Shape;1218;g374da0147aa_0_53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9" name="Google Shape;1219;g374da0147aa_0_53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End">
  <p:cSld name="23_End">
    <p:spTree>
      <p:nvGrpSpPr>
        <p:cNvPr id="1" name="Shape 11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12" name="Google Shape;11312;g3681a448973_2_563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313" name="Google Shape;11313;g3681a448973_2_563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14" name="Google Shape;11314;g3681a448973_2_563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315" name="Google Shape;11315;g3681a448973_2_5635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16" name="Google Shape;11316;g3681a448973_2_563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7" name="Google Shape;11317;g3681a448973_2_563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18" name="Google Shape;11318;g3681a448973_2_563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319" name="Google Shape;11319;g3681a448973_2_563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4199899366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Blank">
  <p:cSld name="23_Blank">
    <p:spTree>
      <p:nvGrpSpPr>
        <p:cNvPr id="1" name="Shape 1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1" name="Google Shape;11321;g3681a448973_2_563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2" name="Google Shape;11322;g3681a448973_2_563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23" name="Google Shape;11323;g3681a448973_2_563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24" name="Google Shape;11324;g3681a448973_2_5636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325" name="Google Shape;11325;g3681a448973_2_563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26" name="Google Shape;11326;g3681a448973_2_5636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27" name="Google Shape;11327;g3681a448973_2_563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28" name="Google Shape;11328;g3681a448973_2_563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3934823"/>
      </p:ext>
    </p:extLst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ver">
  <p:cSld name="23_Cover">
    <p:spTree>
      <p:nvGrpSpPr>
        <p:cNvPr id="1" name="Shape 11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0" name="Google Shape;11330;g3681a448973_2_56370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31" name="Google Shape;11331;g3681a448973_2_5637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2" name="Google Shape;11332;g3681a448973_2_5637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333" name="Google Shape;11333;g3681a448973_2_563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334" name="Google Shape;11334;g3681a448973_2_5637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335" name="Google Shape;11335;g3681a448973_2_563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36" name="Google Shape;11336;g3681a448973_2_5637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337" name="Google Shape;11337;g3681a448973_2_563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794957308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Divider">
  <p:cSld name="23_Divider">
    <p:bg>
      <p:bgPr>
        <a:solidFill>
          <a:schemeClr val="lt2"/>
        </a:solidFill>
        <a:effectLst/>
      </p:bgPr>
    </p:bg>
    <p:spTree>
      <p:nvGrpSpPr>
        <p:cNvPr id="1" name="Shape 11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39" name="Google Shape;11339;g3681a448973_2_563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340" name="Google Shape;11340;g3681a448973_2_563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41" name="Google Shape;11341;g3681a448973_2_563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42" name="Google Shape;11342;g3681a448973_2_563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343" name="Google Shape;11343;g3681a448973_2_563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344" name="Google Shape;11344;g3681a448973_2_563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45" name="Google Shape;11345;g3681a448973_2_563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21475983"/>
      </p:ext>
    </p:extLst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Quotation">
  <p:cSld name="47_Quotation">
    <p:spTree>
      <p:nvGrpSpPr>
        <p:cNvPr id="1" name="Shape 11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7" name="Google Shape;11347;g3681a448973_2_56387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48" name="Google Shape;11348;g3681a448973_2_563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49" name="Google Shape;11349;g3681a448973_2_563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50" name="Google Shape;11350;g3681a448973_2_563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51" name="Google Shape;11351;g3681a448973_2_563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52" name="Google Shape;11352;g3681a448973_2_563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53" name="Google Shape;11353;g3681a448973_2_5638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354" name="Google Shape;11354;g3681a448973_2_563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55" name="Google Shape;11355;g3681a448973_2_563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56" name="Google Shape;11356;g3681a448973_2_563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57" name="Google Shape;11357;g3681a448973_2_563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58" name="Google Shape;11358;g3681a448973_2_5638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17214134"/>
      </p:ext>
    </p:extLst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Quotation">
  <p:cSld name="48_Quotation">
    <p:spTree>
      <p:nvGrpSpPr>
        <p:cNvPr id="1" name="Shape 1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0" name="Google Shape;11360;g3681a448973_2_5640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61" name="Google Shape;11361;g3681a448973_2_564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2" name="Google Shape;11362;g3681a448973_2_564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63" name="Google Shape;11363;g3681a448973_2_56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64" name="Google Shape;11364;g3681a448973_2_56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65" name="Google Shape;11365;g3681a448973_2_56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66" name="Google Shape;11366;g3681a448973_2_5640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367" name="Google Shape;11367;g3681a448973_2_56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68" name="Google Shape;11368;g3681a448973_2_564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69" name="Google Shape;11369;g3681a448973_2_56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70" name="Google Shape;11370;g3681a448973_2_56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71" name="Google Shape;11371;g3681a448973_2_5640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5552624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9_Quotation">
  <p:cSld name="49_Quotation">
    <p:spTree>
      <p:nvGrpSpPr>
        <p:cNvPr id="1" name="Shape 1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73" name="Google Shape;11373;g3681a448973_2_5641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74" name="Google Shape;11374;g3681a448973_2_564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75" name="Google Shape;11375;g3681a448973_2_564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6" name="Google Shape;11376;g3681a448973_2_564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77" name="Google Shape;11377;g3681a448973_2_564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78" name="Google Shape;11378;g3681a448973_2_564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79" name="Google Shape;11379;g3681a448973_2_5641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380" name="Google Shape;11380;g3681a448973_2_564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81" name="Google Shape;11381;g3681a448973_2_564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382" name="Google Shape;11382;g3681a448973_2_564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83" name="Google Shape;11383;g3681a448973_2_564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84" name="Google Shape;11384;g3681a448973_2_5641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98819017"/>
      </p:ext>
    </p:extLst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ver">
  <p:cSld name="24_Cover">
    <p:spTree>
      <p:nvGrpSpPr>
        <p:cNvPr id="1" name="Shape 11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6" name="Google Shape;11386;g3681a448973_2_56426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87" name="Google Shape;11387;g3681a448973_2_5642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88" name="Google Shape;11388;g3681a448973_2_5642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389" name="Google Shape;11389;g3681a448973_2_564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390" name="Google Shape;11390;g3681a448973_2_5642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391" name="Google Shape;11391;g3681a448973_2_564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92" name="Google Shape;11392;g3681a448973_2_5642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393" name="Google Shape;11393;g3681a448973_2_564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628819391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Divider">
  <p:cSld name="24_Divider">
    <p:bg>
      <p:bgPr>
        <a:solidFill>
          <a:schemeClr val="lt2"/>
        </a:solidFill>
        <a:effectLst/>
      </p:bgPr>
    </p:bg>
    <p:spTree>
      <p:nvGrpSpPr>
        <p:cNvPr id="1" name="Shape 11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95" name="Google Shape;11395;g3681a448973_2_5643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396" name="Google Shape;11396;g3681a448973_2_5643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97" name="Google Shape;11397;g3681a448973_2_5643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98" name="Google Shape;11398;g3681a448973_2_5643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399" name="Google Shape;11399;g3681a448973_2_564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400" name="Google Shape;11400;g3681a448973_2_5643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01" name="Google Shape;11401;g3681a448973_2_5643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20899840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Photo Slide">
  <p:cSld name="24_Photo Slide">
    <p:spTree>
      <p:nvGrpSpPr>
        <p:cNvPr id="1" name="Shape 11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3" name="Google Shape;11403;g3681a448973_2_564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404" name="Google Shape;11404;g3681a448973_2_5644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405" name="Google Shape;11405;g3681a448973_2_564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406" name="Google Shape;11406;g3681a448973_2_564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07" name="Google Shape;11407;g3681a448973_2_564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08" name="Google Shape;11408;g3681a448973_2_564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409" name="Google Shape;11409;g3681a448973_2_564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07429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g374da0147aa_0_419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9" name="Google Shape;99;g374da0147aa_0_419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" name="Google Shape;100;g374da0147aa_0_419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01" name="Google Shape;101;g374da0147aa_0_419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102;g374da0147aa_0_419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3" name="Google Shape;103;g374da0147aa_0_419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04" name="Google Shape;104;g374da0147aa_0_41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Only">
  <p:cSld name="14_Title Only">
    <p:spTree>
      <p:nvGrpSpPr>
        <p:cNvPr id="1" name="Shape 1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1" name="Google Shape;1221;g374da0147aa_0_532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22" name="Google Shape;1222;g374da0147aa_0_5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23" name="Google Shape;1223;g374da0147aa_0_53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24" name="Google Shape;1224;g374da0147aa_0_5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5" name="Google Shape;1225;g374da0147aa_0_5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26" name="Google Shape;1226;g374da0147aa_0_53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7" name="Google Shape;1227;g374da0147aa_0_532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28" name="Google Shape;1228;g374da0147aa_0_5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9" name="Google Shape;1229;g374da0147aa_0_5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0_Quotation">
  <p:cSld name="50_Quotation">
    <p:spTree>
      <p:nvGrpSpPr>
        <p:cNvPr id="1" name="Shape 11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1" name="Google Shape;11411;g3681a448973_2_5645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12" name="Google Shape;11412;g3681a448973_2_564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13" name="Google Shape;11413;g3681a448973_2_564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14" name="Google Shape;11414;g3681a448973_2_564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15" name="Google Shape;11415;g3681a448973_2_564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16" name="Google Shape;11416;g3681a448973_2_564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17" name="Google Shape;11417;g3681a448973_2_5645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18" name="Google Shape;11418;g3681a448973_2_564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19" name="Google Shape;11419;g3681a448973_2_5645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20" name="Google Shape;11420;g3681a448973_2_564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21" name="Google Shape;11421;g3681a448973_2_564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22" name="Google Shape;11422;g3681a448973_2_5645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9279670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1_Quotation">
  <p:cSld name="51_Quotation">
    <p:spTree>
      <p:nvGrpSpPr>
        <p:cNvPr id="1" name="Shape 11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4" name="Google Shape;11424;g3681a448973_2_56464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25" name="Google Shape;11425;g3681a448973_2_564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26" name="Google Shape;11426;g3681a448973_2_564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27" name="Google Shape;11427;g3681a448973_2_564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28" name="Google Shape;11428;g3681a448973_2_564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29" name="Google Shape;11429;g3681a448973_2_564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30" name="Google Shape;11430;g3681a448973_2_5646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31" name="Google Shape;11431;g3681a448973_2_564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32" name="Google Shape;11432;g3681a448973_2_564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33" name="Google Shape;11433;g3681a448973_2_564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34" name="Google Shape;11434;g3681a448973_2_564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35" name="Google Shape;11435;g3681a448973_2_5646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4789988"/>
      </p:ext>
    </p:extLst>
  </p:cSld>
  <p:clrMapOvr>
    <a:masterClrMapping/>
  </p:clrMapOvr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1_Title and Content">
  <p:cSld name="31_Title and Content">
    <p:spTree>
      <p:nvGrpSpPr>
        <p:cNvPr id="1" name="Shape 11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37" name="Google Shape;11437;g3681a448973_2_5647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38" name="Google Shape;11438;g3681a448973_2_564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39" name="Google Shape;11439;g3681a448973_2_5647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40" name="Google Shape;11440;g3681a448973_2_564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1" name="Google Shape;11441;g3681a448973_2_564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42" name="Google Shape;11442;g3681a448973_2_564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43" name="Google Shape;11443;g3681a448973_2_5647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44" name="Google Shape;11444;g3681a448973_2_564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5" name="Google Shape;11445;g3681a448973_2_564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46" name="Google Shape;11446;g3681a448973_2_564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9468814"/>
      </p:ext>
    </p:extLst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wo Content">
  <p:cSld name="24_Two Content">
    <p:spTree>
      <p:nvGrpSpPr>
        <p:cNvPr id="1" name="Shape 11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48" name="Google Shape;11448;g3681a448973_2_564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49" name="Google Shape;11449;g3681a448973_2_564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450" name="Google Shape;11450;g3681a448973_2_5648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51" name="Google Shape;11451;g3681a448973_2_564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52" name="Google Shape;11452;g3681a448973_2_5648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53" name="Google Shape;11453;g3681a448973_2_564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54" name="Google Shape;11454;g3681a448973_2_564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55" name="Google Shape;11455;g3681a448973_2_5648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56" name="Google Shape;11456;g3681a448973_2_5648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57" name="Google Shape;11457;g3681a448973_2_564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8" name="Google Shape;11458;g3681a448973_2_564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29132347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mparison">
  <p:cSld name="24_Comparison">
    <p:spTree>
      <p:nvGrpSpPr>
        <p:cNvPr id="1" name="Shape 11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60" name="Google Shape;11460;g3681a448973_2_5650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61" name="Google Shape;11461;g3681a448973_2_565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62" name="Google Shape;11462;g3681a448973_2_565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63" name="Google Shape;11463;g3681a448973_2_565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64" name="Google Shape;11464;g3681a448973_2_565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65" name="Google Shape;11465;g3681a448973_2_565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66" name="Google Shape;11466;g3681a448973_2_5650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67" name="Google Shape;11467;g3681a448973_2_5650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68" name="Google Shape;11468;g3681a448973_2_5650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69" name="Google Shape;11469;g3681a448973_2_5650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0" name="Google Shape;11470;g3681a448973_2_565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71" name="Google Shape;11471;g3681a448973_2_565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72" name="Google Shape;11472;g3681a448973_2_565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80710118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Only">
  <p:cSld name="24_Title Only">
    <p:spTree>
      <p:nvGrpSpPr>
        <p:cNvPr id="1" name="Shape 11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4" name="Google Shape;11474;g3681a448973_2_5651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75" name="Google Shape;11475;g3681a448973_2_565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76" name="Google Shape;11476;g3681a448973_2_565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77" name="Google Shape;11477;g3681a448973_2_565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78" name="Google Shape;11478;g3681a448973_2_565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79" name="Google Shape;11479;g3681a448973_2_565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80" name="Google Shape;11480;g3681a448973_2_565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1" name="Google Shape;11481;g3681a448973_2_565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82" name="Google Shape;11482;g3681a448973_2_565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75708014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End">
  <p:cSld name="24_End">
    <p:spTree>
      <p:nvGrpSpPr>
        <p:cNvPr id="1" name="Shape 11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84" name="Google Shape;11484;g3681a448973_2_5652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485" name="Google Shape;11485;g3681a448973_2_5652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86" name="Google Shape;11486;g3681a448973_2_5652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87" name="Google Shape;11487;g3681a448973_2_56524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88" name="Google Shape;11488;g3681a448973_2_5652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89" name="Google Shape;11489;g3681a448973_2_5652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490" name="Google Shape;11490;g3681a448973_2_565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491" name="Google Shape;11491;g3681a448973_2_5652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152335471"/>
      </p:ext>
    </p:extLst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Blank">
  <p:cSld name="24_Blank">
    <p:spTree>
      <p:nvGrpSpPr>
        <p:cNvPr id="1" name="Shape 11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93" name="Google Shape;11493;g3681a448973_2_565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94" name="Google Shape;11494;g3681a448973_2_565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5" name="Google Shape;11495;g3681a448973_2_565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96" name="Google Shape;11496;g3681a448973_2_5653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497" name="Google Shape;11497;g3681a448973_2_565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8" name="Google Shape;11498;g3681a448973_2_5653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499" name="Google Shape;11499;g3681a448973_2_565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00" name="Google Shape;11500;g3681a448973_2_565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92898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2_Quotation">
  <p:cSld name="52_Quotation">
    <p:spTree>
      <p:nvGrpSpPr>
        <p:cNvPr id="1" name="Shape 11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02" name="Google Shape;11502;g3681a448973_2_5654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03" name="Google Shape;11503;g3681a448973_2_565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04" name="Google Shape;11504;g3681a448973_2_565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05" name="Google Shape;11505;g3681a448973_2_565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06" name="Google Shape;11506;g3681a448973_2_565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07" name="Google Shape;11507;g3681a448973_2_565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08" name="Google Shape;11508;g3681a448973_2_5654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09" name="Google Shape;11509;g3681a448973_2_565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10" name="Google Shape;11510;g3681a448973_2_5654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11" name="Google Shape;11511;g3681a448973_2_565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2" name="Google Shape;11512;g3681a448973_2_565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513" name="Google Shape;11513;g3681a448973_2_5654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7960065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3_Quotation">
  <p:cSld name="53_Quotation">
    <p:spTree>
      <p:nvGrpSpPr>
        <p:cNvPr id="1" name="Shape 1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15" name="Google Shape;11515;g3681a448973_2_5655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16" name="Google Shape;11516;g3681a448973_2_565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17" name="Google Shape;11517;g3681a448973_2_565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18" name="Google Shape;11518;g3681a448973_2_565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19" name="Google Shape;11519;g3681a448973_2_565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20" name="Google Shape;11520;g3681a448973_2_565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21" name="Google Shape;11521;g3681a448973_2_5655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22" name="Google Shape;11522;g3681a448973_2_565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23" name="Google Shape;11523;g3681a448973_2_5655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24" name="Google Shape;11524;g3681a448973_2_565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25" name="Google Shape;11525;g3681a448973_2_565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526" name="Google Shape;11526;g3681a448973_2_5655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505530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End">
  <p:cSld name="13_End">
    <p:spTree>
      <p:nvGrpSpPr>
        <p:cNvPr id="1" name="Shape 1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1" name="Google Shape;1231;g374da0147aa_0_533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32" name="Google Shape;1232;g374da0147aa_0_533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3" name="Google Shape;1233;g374da0147aa_0_533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34" name="Google Shape;1234;g374da0147aa_0_5331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5" name="Google Shape;1235;g374da0147aa_0_5331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6" name="Google Shape;1236;g374da0147aa_0_533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37" name="Google Shape;1237;g374da0147aa_0_53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38" name="Google Shape;1238;g374da0147aa_0_533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4_Quotation">
  <p:cSld name="54_Quotation">
    <p:spTree>
      <p:nvGrpSpPr>
        <p:cNvPr id="1" name="Shape 11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8" name="Google Shape;11528;g3681a448973_2_56568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29" name="Google Shape;11529;g3681a448973_2_565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0" name="Google Shape;11530;g3681a448973_2_565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31" name="Google Shape;11531;g3681a448973_2_565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32" name="Google Shape;11532;g3681a448973_2_565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33" name="Google Shape;11533;g3681a448973_2_565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34" name="Google Shape;11534;g3681a448973_2_5656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35" name="Google Shape;11535;g3681a448973_2_565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36" name="Google Shape;11536;g3681a448973_2_5656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37" name="Google Shape;11537;g3681a448973_2_565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38" name="Google Shape;11538;g3681a448973_2_565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539" name="Google Shape;11539;g3681a448973_2_5656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8284156"/>
      </p:ext>
    </p:extLst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5_Quotation">
  <p:cSld name="55_Quotation">
    <p:spTree>
      <p:nvGrpSpPr>
        <p:cNvPr id="1" name="Shape 11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1" name="Google Shape;11541;g3681a448973_2_5658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42" name="Google Shape;11542;g3681a448973_2_5658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43" name="Google Shape;11543;g3681a448973_2_5658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4" name="Google Shape;11544;g3681a448973_2_565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45" name="Google Shape;11545;g3681a448973_2_565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46" name="Google Shape;11546;g3681a448973_2_565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47" name="Google Shape;11547;g3681a448973_2_5658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48" name="Google Shape;11548;g3681a448973_2_565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49" name="Google Shape;11549;g3681a448973_2_5658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50" name="Google Shape;11550;g3681a448973_2_565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51" name="Google Shape;11551;g3681a448973_2_565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552" name="Google Shape;11552;g3681a448973_2_5658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8341914"/>
      </p:ext>
    </p:extLst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ver">
  <p:cSld name="25_Cover">
    <p:spTree>
      <p:nvGrpSpPr>
        <p:cNvPr id="1" name="Shape 11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54" name="Google Shape;11554;g3681a448973_2_56594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55" name="Google Shape;11555;g3681a448973_2_5659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56" name="Google Shape;11556;g3681a448973_2_5659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557" name="Google Shape;11557;g3681a448973_2_565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558" name="Google Shape;11558;g3681a448973_2_5659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559" name="Google Shape;11559;g3681a448973_2_565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60" name="Google Shape;11560;g3681a448973_2_5659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561" name="Google Shape;11561;g3681a448973_2_565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03070509"/>
      </p:ext>
    </p:extLst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Divider">
  <p:cSld name="25_Divider">
    <p:bg>
      <p:bgPr>
        <a:solidFill>
          <a:schemeClr val="lt2"/>
        </a:solidFill>
        <a:effectLst/>
      </p:bgPr>
    </p:bg>
    <p:spTree>
      <p:nvGrpSpPr>
        <p:cNvPr id="1" name="Shape 11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63" name="Google Shape;11563;g3681a448973_2_5660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564" name="Google Shape;11564;g3681a448973_2_5660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65" name="Google Shape;11565;g3681a448973_2_5660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66" name="Google Shape;11566;g3681a448973_2_5660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567" name="Google Shape;11567;g3681a448973_2_566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568" name="Google Shape;11568;g3681a448973_2_5660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69" name="Google Shape;11569;g3681a448973_2_5660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10923538"/>
      </p:ext>
    </p:extLst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Photo Slide">
  <p:cSld name="25_Photo Slide">
    <p:spTree>
      <p:nvGrpSpPr>
        <p:cNvPr id="1" name="Shape 11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" name="Google Shape;11571;g3681a448973_2_566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572" name="Google Shape;11572;g3681a448973_2_5661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573" name="Google Shape;11573;g3681a448973_2_566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574" name="Google Shape;11574;g3681a448973_2_566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75" name="Google Shape;11575;g3681a448973_2_566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576" name="Google Shape;11576;g3681a448973_2_566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577" name="Google Shape;11577;g3681a448973_2_566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5946455"/>
      </p:ext>
    </p:extLst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6_Quotation">
  <p:cSld name="56_Quotation">
    <p:spTree>
      <p:nvGrpSpPr>
        <p:cNvPr id="1" name="Shape 11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9" name="Google Shape;11579;g3681a448973_2_56619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80" name="Google Shape;11580;g3681a448973_2_566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81" name="Google Shape;11581;g3681a448973_2_566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82" name="Google Shape;11582;g3681a448973_2_566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3" name="Google Shape;11583;g3681a448973_2_566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84" name="Google Shape;11584;g3681a448973_2_566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85" name="Google Shape;11585;g3681a448973_2_5661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86" name="Google Shape;11586;g3681a448973_2_566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87" name="Google Shape;11587;g3681a448973_2_5661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88" name="Google Shape;11588;g3681a448973_2_566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89" name="Google Shape;11589;g3681a448973_2_566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590" name="Google Shape;11590;g3681a448973_2_5661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6015401"/>
      </p:ext>
    </p:extLst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2_Title and Content">
  <p:cSld name="32_Title and Content">
    <p:spTree>
      <p:nvGrpSpPr>
        <p:cNvPr id="1" name="Shape 11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92" name="Google Shape;11592;g3681a448973_2_5663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593" name="Google Shape;11593;g3681a448973_2_566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94" name="Google Shape;11594;g3681a448973_2_5663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595" name="Google Shape;11595;g3681a448973_2_566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96" name="Google Shape;11596;g3681a448973_2_566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97" name="Google Shape;11597;g3681a448973_2_566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98" name="Google Shape;11598;g3681a448973_2_566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99" name="Google Shape;11599;g3681a448973_2_566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00" name="Google Shape;11600;g3681a448973_2_566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01" name="Google Shape;11601;g3681a448973_2_566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15014699"/>
      </p:ext>
    </p:extLst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wo Content">
  <p:cSld name="25_Two Content">
    <p:spTree>
      <p:nvGrpSpPr>
        <p:cNvPr id="1" name="Shape 11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3" name="Google Shape;11603;g3681a448973_2_566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04" name="Google Shape;11604;g3681a448973_2_566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605" name="Google Shape;11605;g3681a448973_2_5664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06" name="Google Shape;11606;g3681a448973_2_566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07" name="Google Shape;11607;g3681a448973_2_5664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08" name="Google Shape;11608;g3681a448973_2_566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09" name="Google Shape;11609;g3681a448973_2_566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10" name="Google Shape;11610;g3681a448973_2_5664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11" name="Google Shape;11611;g3681a448973_2_5664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12" name="Google Shape;11612;g3681a448973_2_566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13" name="Google Shape;11613;g3681a448973_2_566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9499136"/>
      </p:ext>
    </p:extLst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mparison">
  <p:cSld name="25_Comparison">
    <p:spTree>
      <p:nvGrpSpPr>
        <p:cNvPr id="1" name="Shape 11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5" name="Google Shape;11615;g3681a448973_2_5665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16" name="Google Shape;11616;g3681a448973_2_566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17" name="Google Shape;11617;g3681a448973_2_5665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18" name="Google Shape;11618;g3681a448973_2_566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19" name="Google Shape;11619;g3681a448973_2_566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20" name="Google Shape;11620;g3681a448973_2_566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21" name="Google Shape;11621;g3681a448973_2_5665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622" name="Google Shape;11622;g3681a448973_2_5665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3" name="Google Shape;11623;g3681a448973_2_5665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624" name="Google Shape;11624;g3681a448973_2_5665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5" name="Google Shape;11625;g3681a448973_2_566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26" name="Google Shape;11626;g3681a448973_2_566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27" name="Google Shape;11627;g3681a448973_2_566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42250562"/>
      </p:ext>
    </p:extLst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Only">
  <p:cSld name="25_Title Only">
    <p:spTree>
      <p:nvGrpSpPr>
        <p:cNvPr id="1" name="Shape 11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29" name="Google Shape;11629;g3681a448973_2_5666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30" name="Google Shape;11630;g3681a448973_2_566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1" name="Google Shape;11631;g3681a448973_2_5666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32" name="Google Shape;11632;g3681a448973_2_566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33" name="Google Shape;11633;g3681a448973_2_566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34" name="Google Shape;11634;g3681a448973_2_566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35" name="Google Shape;11635;g3681a448973_2_566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36" name="Google Shape;11636;g3681a448973_2_566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37" name="Google Shape;11637;g3681a448973_2_566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4237625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Blank">
  <p:cSld name="12_Blank"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g374da0147aa_0_534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41" name="Google Shape;1241;g374da0147aa_0_53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2" name="Google Shape;1242;g374da0147aa_0_53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43" name="Google Shape;1243;g374da0147aa_0_534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44" name="Google Shape;1244;g374da0147aa_0_53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5" name="Google Shape;1245;g374da0147aa_0_53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46" name="Google Shape;1246;g374da0147aa_0_53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7" name="Google Shape;1247;g374da0147aa_0_53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End">
  <p:cSld name="25_End">
    <p:spTree>
      <p:nvGrpSpPr>
        <p:cNvPr id="1" name="Shape 116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39" name="Google Shape;11639;g3681a448973_2_5667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640" name="Google Shape;11640;g3681a448973_2_5667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41" name="Google Shape;11641;g3681a448973_2_5667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42" name="Google Shape;11642;g3681a448973_2_56679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43" name="Google Shape;11643;g3681a448973_2_5667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44" name="Google Shape;11644;g3681a448973_2_5667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645" name="Google Shape;11645;g3681a448973_2_566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646" name="Google Shape;11646;g3681a448973_2_5667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809646554"/>
      </p:ext>
    </p:extLst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Blank">
  <p:cSld name="25_Blank">
    <p:spTree>
      <p:nvGrpSpPr>
        <p:cNvPr id="1" name="Shape 11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8" name="Google Shape;11648;g3681a448973_2_566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49" name="Google Shape;11649;g3681a448973_2_566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50" name="Google Shape;11650;g3681a448973_2_566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51" name="Google Shape;11651;g3681a448973_2_5668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52" name="Google Shape;11652;g3681a448973_2_566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53" name="Google Shape;11653;g3681a448973_2_5668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54" name="Google Shape;11654;g3681a448973_2_566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5" name="Google Shape;11655;g3681a448973_2_566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3928933"/>
      </p:ext>
    </p:extLst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ver">
  <p:cSld name="26_Cover">
    <p:spTree>
      <p:nvGrpSpPr>
        <p:cNvPr id="1" name="Shape 11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7" name="Google Shape;11657;g3681a448973_2_56697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58" name="Google Shape;11658;g3681a448973_2_566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59" name="Google Shape;11659;g3681a448973_2_566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660" name="Google Shape;11660;g3681a448973_2_566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661" name="Google Shape;11661;g3681a448973_2_566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662" name="Google Shape;11662;g3681a448973_2_566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63" name="Google Shape;11663;g3681a448973_2_566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664" name="Google Shape;11664;g3681a448973_2_566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323341623"/>
      </p:ext>
    </p:extLst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Divider">
  <p:cSld name="26_Divider">
    <p:bg>
      <p:bgPr>
        <a:solidFill>
          <a:schemeClr val="lt2"/>
        </a:solidFill>
        <a:effectLst/>
      </p:bgPr>
    </p:bg>
    <p:spTree>
      <p:nvGrpSpPr>
        <p:cNvPr id="1" name="Shape 11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66" name="Google Shape;11666;g3681a448973_2_5670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667" name="Google Shape;11667;g3681a448973_2_5670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68" name="Google Shape;11668;g3681a448973_2_5670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69" name="Google Shape;11669;g3681a448973_2_5670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670" name="Google Shape;11670;g3681a448973_2_567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671" name="Google Shape;11671;g3681a448973_2_5670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2" name="Google Shape;11672;g3681a448973_2_5670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5252687"/>
      </p:ext>
    </p:extLst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Photo Slide">
  <p:cSld name="26_Photo Slide">
    <p:spTree>
      <p:nvGrpSpPr>
        <p:cNvPr id="1" name="Shape 11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4" name="Google Shape;11674;g3681a448973_2_5671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75" name="Google Shape;11675;g3681a448973_2_5671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676" name="Google Shape;11676;g3681a448973_2_5671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677" name="Google Shape;11677;g3681a448973_2_5671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78" name="Google Shape;11678;g3681a448973_2_5671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79" name="Google Shape;11679;g3681a448973_2_5671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1680" name="Google Shape;11680;g3681a448973_2_567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51263851"/>
      </p:ext>
    </p:extLst>
  </p:cSld>
  <p:clrMapOvr>
    <a:masterClrMapping/>
  </p:clrMapOvr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7_Quotation">
  <p:cSld name="57_Quotation">
    <p:spTree>
      <p:nvGrpSpPr>
        <p:cNvPr id="1" name="Shape 11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2" name="Google Shape;11682;g3681a448973_2_5672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83" name="Google Shape;11683;g3681a448973_2_567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84" name="Google Shape;11684;g3681a448973_2_567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85" name="Google Shape;11685;g3681a448973_2_567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6" name="Google Shape;11686;g3681a448973_2_567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87" name="Google Shape;11687;g3681a448973_2_567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88" name="Google Shape;11688;g3681a448973_2_5672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89" name="Google Shape;11689;g3681a448973_2_567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90" name="Google Shape;11690;g3681a448973_2_5672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91" name="Google Shape;11691;g3681a448973_2_567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92" name="Google Shape;11692;g3681a448973_2_567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693" name="Google Shape;11693;g3681a448973_2_5672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7973628"/>
      </p:ext>
    </p:extLst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Title and Content">
  <p:cSld name="33_Title and Content">
    <p:spTree>
      <p:nvGrpSpPr>
        <p:cNvPr id="1" name="Shape 11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95" name="Google Shape;11695;g3681a448973_2_5673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696" name="Google Shape;11696;g3681a448973_2_567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97" name="Google Shape;11697;g3681a448973_2_567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698" name="Google Shape;11698;g3681a448973_2_567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99" name="Google Shape;11699;g3681a448973_2_567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00" name="Google Shape;11700;g3681a448973_2_567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01" name="Google Shape;11701;g3681a448973_2_567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02" name="Google Shape;11702;g3681a448973_2_567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03" name="Google Shape;11703;g3681a448973_2_567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04" name="Google Shape;11704;g3681a448973_2_567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7376075"/>
      </p:ext>
    </p:extLst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wo Content">
  <p:cSld name="26_Two Content">
    <p:spTree>
      <p:nvGrpSpPr>
        <p:cNvPr id="1" name="Shape 1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06" name="Google Shape;11706;g3681a448973_2_567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07" name="Google Shape;11707;g3681a448973_2_567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708" name="Google Shape;11708;g3681a448973_2_5674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09" name="Google Shape;11709;g3681a448973_2_567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10" name="Google Shape;11710;g3681a448973_2_5674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11" name="Google Shape;11711;g3681a448973_2_567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12" name="Google Shape;11712;g3681a448973_2_567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13" name="Google Shape;11713;g3681a448973_2_5674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14" name="Google Shape;11714;g3681a448973_2_5674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15" name="Google Shape;11715;g3681a448973_2_567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16" name="Google Shape;11716;g3681a448973_2_567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01108446"/>
      </p:ext>
    </p:extLst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mparison">
  <p:cSld name="26_Comparison">
    <p:spTree>
      <p:nvGrpSpPr>
        <p:cNvPr id="1" name="Shape 11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8" name="Google Shape;11718;g3681a448973_2_5675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19" name="Google Shape;11719;g3681a448973_2_567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20" name="Google Shape;11720;g3681a448973_2_567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21" name="Google Shape;11721;g3681a448973_2_567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22" name="Google Shape;11722;g3681a448973_2_567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23" name="Google Shape;11723;g3681a448973_2_567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24" name="Google Shape;11724;g3681a448973_2_567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25" name="Google Shape;11725;g3681a448973_2_567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6" name="Google Shape;11726;g3681a448973_2_567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27" name="Google Shape;11727;g3681a448973_2_567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8" name="Google Shape;11728;g3681a448973_2_567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29" name="Google Shape;11729;g3681a448973_2_567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30" name="Google Shape;11730;g3681a448973_2_567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2630259"/>
      </p:ext>
    </p:extLst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Only">
  <p:cSld name="26_Title Only">
    <p:spTree>
      <p:nvGrpSpPr>
        <p:cNvPr id="1" name="Shape 117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32" name="Google Shape;11732;g3681a448973_2_567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33" name="Google Shape;11733;g3681a448973_2_567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34" name="Google Shape;11734;g3681a448973_2_567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35" name="Google Shape;11735;g3681a448973_2_567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36" name="Google Shape;11736;g3681a448973_2_567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37" name="Google Shape;11737;g3681a448973_2_567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8" name="Google Shape;11738;g3681a448973_2_567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39" name="Google Shape;11739;g3681a448973_2_567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40" name="Google Shape;11740;g3681a448973_2_567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3368868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Quotation">
  <p:cSld name="34_Quotation">
    <p:spTree>
      <p:nvGrpSpPr>
        <p:cNvPr id="1" name="Shape 1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" name="Google Shape;1249;g374da0147aa_0_534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0" name="Google Shape;1250;g374da0147aa_0_534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1" name="Google Shape;1251;g374da0147aa_0_534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2" name="Google Shape;1252;g374da0147aa_0_534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3" name="Google Shape;1253;g374da0147aa_0_53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4" name="Google Shape;1254;g374da0147aa_0_53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5" name="Google Shape;1255;g374da0147aa_0_534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56" name="Google Shape;1256;g374da0147aa_0_53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7" name="Google Shape;1257;g374da0147aa_0_534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8" name="Google Shape;1258;g374da0147aa_0_53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9" name="Google Shape;1259;g374da0147aa_0_53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60" name="Google Shape;1260;g374da0147aa_0_534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End">
  <p:cSld name="26_End">
    <p:spTree>
      <p:nvGrpSpPr>
        <p:cNvPr id="1" name="Shape 11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42" name="Google Shape;11742;g3681a448973_2_567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43" name="Google Shape;11743;g3681a448973_2_567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44" name="Google Shape;11744;g3681a448973_2_567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5" name="Google Shape;11745;g3681a448973_2_5678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46" name="Google Shape;11746;g3681a448973_2_567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47" name="Google Shape;11747;g3681a448973_2_567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48" name="Google Shape;11748;g3681a448973_2_567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49" name="Google Shape;11749;g3681a448973_2_567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050553240"/>
      </p:ext>
    </p:extLst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Blank">
  <p:cSld name="26_Blank">
    <p:spTree>
      <p:nvGrpSpPr>
        <p:cNvPr id="1" name="Shape 117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51" name="Google Shape;11751;g3681a448973_2_567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52" name="Google Shape;11752;g3681a448973_2_567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53" name="Google Shape;11753;g3681a448973_2_567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54" name="Google Shape;11754;g3681a448973_2_5679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55" name="Google Shape;11755;g3681a448973_2_567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56" name="Google Shape;11756;g3681a448973_2_567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57" name="Google Shape;11757;g3681a448973_2_567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58" name="Google Shape;11758;g3681a448973_2_567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03348519"/>
      </p:ext>
    </p:extLst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8_Quotation">
  <p:cSld name="58_Quotation">
    <p:spTree>
      <p:nvGrpSpPr>
        <p:cNvPr id="1" name="Shape 11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0" name="Google Shape;11760;g3681a448973_2_5680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61" name="Google Shape;11761;g3681a448973_2_568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2" name="Google Shape;11762;g3681a448973_2_568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3" name="Google Shape;11763;g3681a448973_2_568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64" name="Google Shape;11764;g3681a448973_2_568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65" name="Google Shape;11765;g3681a448973_2_568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66" name="Google Shape;11766;g3681a448973_2_5680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67" name="Google Shape;11767;g3681a448973_2_568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68" name="Google Shape;11768;g3681a448973_2_5680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69" name="Google Shape;11769;g3681a448973_2_568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70" name="Google Shape;11770;g3681a448973_2_568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771" name="Google Shape;11771;g3681a448973_2_5680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6892878"/>
      </p:ext>
    </p:extLst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4_Title and Content">
    <p:spTree>
      <p:nvGrpSpPr>
        <p:cNvPr id="1" name="Shape 11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73" name="Google Shape;11773;g3681a448973_2_5681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1774" name="Google Shape;11774;g3681a448973_2_568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75" name="Google Shape;11775;g3681a448973_2_568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776" name="Google Shape;11776;g3681a448973_2_568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77" name="Google Shape;11777;g3681a448973_2_568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78" name="Google Shape;11778;g3681a448973_2_568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79" name="Google Shape;11779;g3681a448973_2_568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0" name="Google Shape;11780;g3681a448973_2_568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81" name="Google Shape;11781;g3681a448973_2_568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82" name="Google Shape;11782;g3681a448973_2_568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10315306"/>
      </p:ext>
    </p:extLst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4" name="Google Shape;11784;g3681a448973_2_5682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85" name="Google Shape;11785;g3681a448973_2_5682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786" name="Google Shape;11786;g3681a448973_2_5682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787" name="Google Shape;11787;g3681a448973_2_568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88" name="Google Shape;11788;g3681a448973_2_568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9365808"/>
      </p:ext>
    </p:extLst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_Yale Blue">
  <p:cSld name="10_Title Slide_Yale Blue">
    <p:spTree>
      <p:nvGrpSpPr>
        <p:cNvPr id="1" name="Shape 11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0" name="Google Shape;11790;g3681a448973_2_568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91" name="Google Shape;11791;g3681a448973_2_568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92" name="Google Shape;11792;g3681a448973_2_568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793" name="Google Shape;11793;g3681a448973_2_568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94" name="Google Shape;11794;g3681a448973_2_568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795" name="Google Shape;11795;g3681a448973_2_56830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96" name="Google Shape;11796;g3681a448973_2_56830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97" name="Google Shape;11797;g3681a448973_2_568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798" name="Google Shape;11798;g3681a448973_2_568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4941324"/>
      </p:ext>
    </p:extLst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Slide_Yale Blue">
  <p:cSld name="13_Title Slide_Yale Blue">
    <p:spTree>
      <p:nvGrpSpPr>
        <p:cNvPr id="1" name="Shape 11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0" name="Google Shape;11800;g3681a448973_2_568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1" name="Google Shape;11801;g3681a448973_2_568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2" name="Google Shape;11802;g3681a448973_2_568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03" name="Google Shape;11803;g3681a448973_2_568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4" name="Google Shape;11804;g3681a448973_2_568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05" name="Google Shape;11805;g3681a448973_2_56840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06" name="Google Shape;11806;g3681a448973_2_56840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07" name="Google Shape;11807;g3681a448973_2_568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08" name="Google Shape;11808;g3681a448973_2_568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91606843"/>
      </p:ext>
    </p:extLst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Bullets Layout">
  <p:cSld name="8_Title and Bullets Layout">
    <p:spTree>
      <p:nvGrpSpPr>
        <p:cNvPr id="1" name="Shape 11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0" name="Google Shape;11810;g3681a448973_2_5685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11" name="Google Shape;11811;g3681a448973_2_5685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12" name="Google Shape;11812;g3681a448973_2_5685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13" name="Google Shape;11813;g3681a448973_2_5685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14" name="Google Shape;11814;g3681a448973_2_5685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46029942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Title and Content">
  <p:cSld name="34_Title and Content">
    <p:spTree>
      <p:nvGrpSpPr>
        <p:cNvPr id="1" name="Shape 11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6" name="Google Shape;11816;g3681a448973_2_5685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817" name="Google Shape;11817;g3681a448973_2_5685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818" name="Google Shape;11818;g3681a448973_2_5685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19" name="Google Shape;11819;g3681a448973_2_5685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20" name="Google Shape;11820;g3681a448973_2_5685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74901990"/>
      </p:ext>
    </p:extLst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Section | Picture and Copy Layout">
  <p:cSld name="8_Two Section | Picture and Copy Layout">
    <p:spTree>
      <p:nvGrpSpPr>
        <p:cNvPr id="1" name="Shape 118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22" name="Google Shape;11822;g3681a448973_2_56862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23" name="Google Shape;11823;g3681a448973_2_56862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24" name="Google Shape;11824;g3681a448973_2_5686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25" name="Google Shape;11825;g3681a448973_2_5686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26" name="Google Shape;11826;g3681a448973_2_5686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827" name="Google Shape;11827;g3681a448973_2_5686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863179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Quotation">
  <p:cSld name="35_Quotation">
    <p:spTree>
      <p:nvGrpSpPr>
        <p:cNvPr id="1" name="Shape 1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2" name="Google Shape;1262;g374da0147aa_0_5362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3" name="Google Shape;1263;g374da0147aa_0_536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4" name="Google Shape;1264;g374da0147aa_0_53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5" name="Google Shape;1265;g374da0147aa_0_536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66" name="Google Shape;1266;g374da0147aa_0_53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7" name="Google Shape;1267;g374da0147aa_0_53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68" name="Google Shape;1268;g374da0147aa_0_536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69" name="Google Shape;1269;g374da0147aa_0_53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70" name="Google Shape;1270;g374da0147aa_0_536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71" name="Google Shape;1271;g374da0147aa_0_53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2" name="Google Shape;1272;g374da0147aa_0_53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73" name="Google Shape;1273;g374da0147aa_0_536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Slide_Yale Blue">
  <p:cSld name="14_Title Slide_Yale Blue">
    <p:spTree>
      <p:nvGrpSpPr>
        <p:cNvPr id="1" name="Shape 11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29" name="Google Shape;11829;g3681a448973_2_5686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30" name="Google Shape;11830;g3681a448973_2_5686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1" name="Google Shape;11831;g3681a448973_2_568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32" name="Google Shape;11832;g3681a448973_2_568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3" name="Google Shape;11833;g3681a448973_2_568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34" name="Google Shape;11834;g3681a448973_2_56869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35" name="Google Shape;11835;g3681a448973_2_56869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36" name="Google Shape;11836;g3681a448973_2_5686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37" name="Google Shape;11837;g3681a448973_2_568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3254080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Bullets Layout">
  <p:cSld name="9_Title and Bullets Layout">
    <p:spTree>
      <p:nvGrpSpPr>
        <p:cNvPr id="1" name="Shape 11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39" name="Google Shape;11839;g3681a448973_2_5687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40" name="Google Shape;11840;g3681a448973_2_5687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41" name="Google Shape;11841;g3681a448973_2_5687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42" name="Google Shape;11842;g3681a448973_2_5687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43" name="Google Shape;11843;g3681a448973_2_568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21733454"/>
      </p:ext>
    </p:extLst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Title and Content">
  <p:cSld name="35_Title and Content">
    <p:spTree>
      <p:nvGrpSpPr>
        <p:cNvPr id="1" name="Shape 1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45" name="Google Shape;11845;g3681a448973_2_5688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846" name="Google Shape;11846;g3681a448973_2_568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847" name="Google Shape;11847;g3681a448973_2_5688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48" name="Google Shape;11848;g3681a448973_2_5688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49" name="Google Shape;11849;g3681a448973_2_5688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82578477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Section | Picture and Copy Layout">
  <p:cSld name="9_Two Section | Picture and Copy Layout">
    <p:spTree>
      <p:nvGrpSpPr>
        <p:cNvPr id="1" name="Shape 11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51" name="Google Shape;11851;g3681a448973_2_5689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52" name="Google Shape;11852;g3681a448973_2_5689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53" name="Google Shape;11853;g3681a448973_2_5689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54" name="Google Shape;11854;g3681a448973_2_5689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55" name="Google Shape;11855;g3681a448973_2_5689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856" name="Google Shape;11856;g3681a448973_2_568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88047272"/>
      </p:ext>
    </p:extLst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Slide_Yale Blue">
  <p:cSld name="15_Title Slide_Yale Blue">
    <p:spTree>
      <p:nvGrpSpPr>
        <p:cNvPr id="1" name="Shape 118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58" name="Google Shape;11858;g3681a448973_2_5689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59" name="Google Shape;11859;g3681a448973_2_5689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60" name="Google Shape;11860;g3681a448973_2_5689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61" name="Google Shape;11861;g3681a448973_2_568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62" name="Google Shape;11862;g3681a448973_2_568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63" name="Google Shape;11863;g3681a448973_2_56898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64" name="Google Shape;11864;g3681a448973_2_56898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65" name="Google Shape;11865;g3681a448973_2_5689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66" name="Google Shape;11866;g3681a448973_2_568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73427562"/>
      </p:ext>
    </p:extLst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Slide_Yale Blue">
  <p:cSld name="16_Title Slide_Yale Blue">
    <p:spTree>
      <p:nvGrpSpPr>
        <p:cNvPr id="1" name="Shape 118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68" name="Google Shape;11868;g3681a448973_2_5690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69" name="Google Shape;11869;g3681a448973_2_5690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70" name="Google Shape;11870;g3681a448973_2_5690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71" name="Google Shape;11871;g3681a448973_2_569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72" name="Google Shape;11872;g3681a448973_2_569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73" name="Google Shape;11873;g3681a448973_2_56908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74" name="Google Shape;11874;g3681a448973_2_56908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75" name="Google Shape;11875;g3681a448973_2_5690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76" name="Google Shape;11876;g3681a448973_2_569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1081912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Slide_Yale Blue">
  <p:cSld name="17_Title Slide_Yale Blue">
    <p:spTree>
      <p:nvGrpSpPr>
        <p:cNvPr id="1" name="Shape 1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" name="Google Shape;11878;g3681a448973_2_5691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79" name="Google Shape;11879;g3681a448973_2_5691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80" name="Google Shape;11880;g3681a448973_2_5691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81" name="Google Shape;11881;g3681a448973_2_569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82" name="Google Shape;11882;g3681a448973_2_569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83" name="Google Shape;11883;g3681a448973_2_56918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84" name="Google Shape;11884;g3681a448973_2_56918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85" name="Google Shape;11885;g3681a448973_2_5691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86" name="Google Shape;11886;g3681a448973_2_569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3310093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Bullets Layout">
  <p:cSld name="10_Title and Bullets Layout">
    <p:spTree>
      <p:nvGrpSpPr>
        <p:cNvPr id="1" name="Shape 11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88" name="Google Shape;11888;g3681a448973_2_5692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89" name="Google Shape;11889;g3681a448973_2_56928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90" name="Google Shape;11890;g3681a448973_2_56928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91" name="Google Shape;11891;g3681a448973_2_5692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92" name="Google Shape;11892;g3681a448973_2_569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40968264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6_Title and Content">
  <p:cSld name="36_Title and Content">
    <p:spTree>
      <p:nvGrpSpPr>
        <p:cNvPr id="1" name="Shape 11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4" name="Google Shape;11894;g3681a448973_2_5693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895" name="Google Shape;11895;g3681a448973_2_569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896" name="Google Shape;11896;g3681a448973_2_5693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97" name="Google Shape;11897;g3681a448973_2_5693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98" name="Google Shape;11898;g3681a448973_2_5693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19512015"/>
      </p:ext>
    </p:extLst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Section | Picture and Copy Layout">
  <p:cSld name="10_Two Section | Picture and Copy Layout">
    <p:spTree>
      <p:nvGrpSpPr>
        <p:cNvPr id="1" name="Shape 11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0" name="Google Shape;11900;g3681a448973_2_5694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1" name="Google Shape;11901;g3681a448973_2_5694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2" name="Google Shape;11902;g3681a448973_2_5694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03" name="Google Shape;11903;g3681a448973_2_5694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04" name="Google Shape;11904;g3681a448973_2_5694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05" name="Google Shape;11905;g3681a448973_2_569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7789459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Quotation">
  <p:cSld name="37_Quotation">
    <p:spTree>
      <p:nvGrpSpPr>
        <p:cNvPr id="1" name="Shape 1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5" name="Google Shape;1275;g374da0147aa_0_537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6" name="Google Shape;1276;g374da0147aa_0_537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7" name="Google Shape;1277;g374da0147aa_0_53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8" name="Google Shape;1278;g374da0147aa_0_537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9" name="Google Shape;1279;g374da0147aa_0_53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80" name="Google Shape;1280;g374da0147aa_0_53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81" name="Google Shape;1281;g374da0147aa_0_537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82" name="Google Shape;1282;g374da0147aa_0_5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3" name="Google Shape;1283;g374da0147aa_0_537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84" name="Google Shape;1284;g374da0147aa_0_53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5" name="Google Shape;1285;g374da0147aa_0_53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86" name="Google Shape;1286;g374da0147aa_0_537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Slide_Yale Blue">
  <p:cSld name="18_Title Slide_Yale Blue">
    <p:spTree>
      <p:nvGrpSpPr>
        <p:cNvPr id="1" name="Shape 11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7" name="Google Shape;11907;g3681a448973_2_5694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08" name="Google Shape;11908;g3681a448973_2_5694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9" name="Google Shape;11909;g3681a448973_2_5694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910" name="Google Shape;11910;g3681a448973_2_569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1" name="Google Shape;11911;g3681a448973_2_569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912" name="Google Shape;11912;g3681a448973_2_56947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13" name="Google Shape;11913;g3681a448973_2_56947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14" name="Google Shape;11914;g3681a448973_2_5694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15" name="Google Shape;11915;g3681a448973_2_569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9493212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Bullets Layout">
  <p:cSld name="11_Title and Bullets Layout">
    <p:spTree>
      <p:nvGrpSpPr>
        <p:cNvPr id="1" name="Shape 11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7" name="Google Shape;11917;g3681a448973_2_569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8" name="Google Shape;11918;g3681a448973_2_56957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19" name="Google Shape;11919;g3681a448973_2_56957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20" name="Google Shape;11920;g3681a448973_2_569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21" name="Google Shape;11921;g3681a448973_2_569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2349266"/>
      </p:ext>
    </p:extLst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Title and Content">
  <p:cSld name="37_Title and Content">
    <p:spTree>
      <p:nvGrpSpPr>
        <p:cNvPr id="1" name="Shape 11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3" name="Google Shape;11923;g3681a448973_2_56963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924" name="Google Shape;11924;g3681a448973_2_569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925" name="Google Shape;11925;g3681a448973_2_56963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26" name="Google Shape;11926;g3681a448973_2_5696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27" name="Google Shape;11927;g3681a448973_2_5696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17398146"/>
      </p:ext>
    </p:extLst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Section | Picture and Copy Layout">
  <p:cSld name="11_Two Section | Picture and Copy Layout">
    <p:spTree>
      <p:nvGrpSpPr>
        <p:cNvPr id="1" name="Shape 11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9" name="Google Shape;11929;g3681a448973_2_5696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30" name="Google Shape;11930;g3681a448973_2_5696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31" name="Google Shape;11931;g3681a448973_2_5696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32" name="Google Shape;11932;g3681a448973_2_5696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33" name="Google Shape;11933;g3681a448973_2_5696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34" name="Google Shape;11934;g3681a448973_2_569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6684948"/>
      </p:ext>
    </p:extLst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Slide_Yale Blue">
  <p:cSld name="19_Title Slide_Yale Blue">
    <p:spTree>
      <p:nvGrpSpPr>
        <p:cNvPr id="1" name="Shape 11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6" name="Google Shape;11936;g3681a448973_2_5697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37" name="Google Shape;11937;g3681a448973_2_5697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38" name="Google Shape;11938;g3681a448973_2_5697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939" name="Google Shape;11939;g3681a448973_2_569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40" name="Google Shape;11940;g3681a448973_2_569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941" name="Google Shape;11941;g3681a448973_2_56976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2" name="Google Shape;11942;g3681a448973_2_56976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3" name="Google Shape;11943;g3681a448973_2_5697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44" name="Google Shape;11944;g3681a448973_2_569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96526576"/>
      </p:ext>
    </p:extLst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Bullets Layout">
  <p:cSld name="12_Title and Bullets Layout">
    <p:spTree>
      <p:nvGrpSpPr>
        <p:cNvPr id="1" name="Shape 119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6" name="Google Shape;11946;g3681a448973_2_5698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47" name="Google Shape;11947;g3681a448973_2_5698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8" name="Google Shape;11948;g3681a448973_2_5698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9" name="Google Shape;11949;g3681a448973_2_5698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50" name="Google Shape;11950;g3681a448973_2_569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13580526"/>
      </p:ext>
    </p:extLst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8_Title and Content">
  <p:cSld name="38_Title and Content">
    <p:spTree>
      <p:nvGrpSpPr>
        <p:cNvPr id="1" name="Shape 119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52" name="Google Shape;11952;g3681a448973_2_56992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953" name="Google Shape;11953;g3681a448973_2_569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954" name="Google Shape;11954;g3681a448973_2_56992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55" name="Google Shape;11955;g3681a448973_2_5699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56" name="Google Shape;11956;g3681a448973_2_5699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53137499"/>
      </p:ext>
    </p:extLst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Section | Picture and Copy Layout">
  <p:cSld name="12_Two Section | Picture and Copy Layout">
    <p:spTree>
      <p:nvGrpSpPr>
        <p:cNvPr id="1" name="Shape 11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58" name="Google Shape;11958;g3681a448973_2_56998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59" name="Google Shape;11959;g3681a448973_2_56998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60" name="Google Shape;11960;g3681a448973_2_5699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61" name="Google Shape;11961;g3681a448973_2_5699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62" name="Google Shape;11962;g3681a448973_2_5699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63" name="Google Shape;11963;g3681a448973_2_569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51443734"/>
      </p:ext>
    </p:extLst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Slide_Yale Blue">
  <p:cSld name="20_Title Slide_Yale Blue">
    <p:spTree>
      <p:nvGrpSpPr>
        <p:cNvPr id="1" name="Shape 119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5" name="Google Shape;11965;g3681a448973_2_5700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66" name="Google Shape;11966;g3681a448973_2_5700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67" name="Google Shape;11967;g3681a448973_2_5700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968" name="Google Shape;11968;g3681a448973_2_570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69" name="Google Shape;11969;g3681a448973_2_570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970" name="Google Shape;11970;g3681a448973_2_57005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1" name="Google Shape;11971;g3681a448973_2_57005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2" name="Google Shape;11972;g3681a448973_2_5700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73" name="Google Shape;11973;g3681a448973_2_570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61510891"/>
      </p:ext>
    </p:extLst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Bullets Layout">
  <p:cSld name="13_Title and Bullets Layout">
    <p:spTree>
      <p:nvGrpSpPr>
        <p:cNvPr id="1" name="Shape 11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75" name="Google Shape;11975;g3681a448973_2_5701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76" name="Google Shape;11976;g3681a448973_2_5701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7" name="Google Shape;11977;g3681a448973_2_5701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8" name="Google Shape;11978;g3681a448973_2_5701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79" name="Google Shape;11979;g3681a448973_2_570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617011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ver">
  <p:cSld name="15_Cover">
    <p:spTree>
      <p:nvGrpSpPr>
        <p:cNvPr id="1" name="Shape 1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8" name="Google Shape;1288;g374da0147aa_0_5388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g374da0147aa_0_5388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0" name="Google Shape;1290;g374da0147aa_0_5388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91" name="Google Shape;1291;g374da0147aa_0_538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92" name="Google Shape;1292;g374da0147aa_0_5388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293" name="Google Shape;1293;g374da0147aa_0_53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4" name="Google Shape;1294;g374da0147aa_0_538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95" name="Google Shape;1295;g374da0147aa_0_53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Title and Content">
  <p:cSld name="39_Title and Content">
    <p:spTree>
      <p:nvGrpSpPr>
        <p:cNvPr id="1" name="Shape 119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" name="Google Shape;11981;g3681a448973_2_5702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982" name="Google Shape;11982;g3681a448973_2_570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983" name="Google Shape;11983;g3681a448973_2_5702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84" name="Google Shape;11984;g3681a448973_2_5702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85" name="Google Shape;11985;g3681a448973_2_5702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66724079"/>
      </p:ext>
    </p:extLst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Section | Picture and Copy Layout">
  <p:cSld name="13_Two Section | Picture and Copy Layout">
    <p:spTree>
      <p:nvGrpSpPr>
        <p:cNvPr id="1" name="Shape 11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7" name="Google Shape;11987;g3681a448973_2_57027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88" name="Google Shape;11988;g3681a448973_2_57027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89" name="Google Shape;11989;g3681a448973_2_5702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90" name="Google Shape;11990;g3681a448973_2_5702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91" name="Google Shape;11991;g3681a448973_2_5702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92" name="Google Shape;11992;g3681a448973_2_570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1144629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Bullets Layout">
  <p:cSld name="14_Title and Bullets Layout">
    <p:spTree>
      <p:nvGrpSpPr>
        <p:cNvPr id="1" name="Shape 11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94" name="Google Shape;11994;g3681a448973_2_5703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95" name="Google Shape;11995;g3681a448973_2_5703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96" name="Google Shape;11996;g3681a448973_2_5703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97" name="Google Shape;11997;g3681a448973_2_5703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998" name="Google Shape;11998;g3681a448973_2_570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9459207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0_Title and Content">
  <p:cSld name="40_Title and Content">
    <p:spTree>
      <p:nvGrpSpPr>
        <p:cNvPr id="1" name="Shape 11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00" name="Google Shape;12000;g3681a448973_2_5704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001" name="Google Shape;12001;g3681a448973_2_570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002" name="Google Shape;12002;g3681a448973_2_5704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03" name="Google Shape;12003;g3681a448973_2_5704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04" name="Google Shape;12004;g3681a448973_2_5704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93797504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Section | Picture and Copy Layout">
  <p:cSld name="14_Two Section | Picture and Copy Layout">
    <p:spTree>
      <p:nvGrpSpPr>
        <p:cNvPr id="1" name="Shape 12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06" name="Google Shape;12006;g3681a448973_2_5704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07" name="Google Shape;12007;g3681a448973_2_5704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08" name="Google Shape;12008;g3681a448973_2_5704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09" name="Google Shape;12009;g3681a448973_2_5704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10" name="Google Shape;12010;g3681a448973_2_5704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011" name="Google Shape;12011;g3681a448973_2_570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4167087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ver">
  <p:cSld name="27_Cover">
    <p:spTree>
      <p:nvGrpSpPr>
        <p:cNvPr id="1" name="Shape 12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13" name="Google Shape;12013;g3681a448973_2_57053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14" name="Google Shape;12014;g3681a448973_2_5705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15" name="Google Shape;12015;g3681a448973_2_5705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016" name="Google Shape;12016;g3681a448973_2_5705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017" name="Google Shape;12017;g3681a448973_2_5705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2018" name="Google Shape;12018;g3681a448973_2_570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19" name="Google Shape;12019;g3681a448973_2_5705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020" name="Google Shape;12020;g3681a448973_2_570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794704907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Divider">
  <p:cSld name="27_Divider">
    <p:bg>
      <p:bgPr>
        <a:solidFill>
          <a:schemeClr val="lt2"/>
        </a:solidFill>
        <a:effectLst/>
      </p:bgPr>
    </p:bg>
    <p:spTree>
      <p:nvGrpSpPr>
        <p:cNvPr id="1" name="Shape 12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22" name="Google Shape;12022;g3681a448973_2_5706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2023" name="Google Shape;12023;g3681a448973_2_5706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24" name="Google Shape;12024;g3681a448973_2_570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25" name="Google Shape;12025;g3681a448973_2_5706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026" name="Google Shape;12026;g3681a448973_2_570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027" name="Google Shape;12027;g3681a448973_2_5706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28" name="Google Shape;12028;g3681a448973_2_5706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72179263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Photo Slide">
  <p:cSld name="27_Photo Slide">
    <p:spTree>
      <p:nvGrpSpPr>
        <p:cNvPr id="1" name="Shape 12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30" name="Google Shape;12030;g3681a448973_2_5707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031" name="Google Shape;12031;g3681a448973_2_5707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032" name="Google Shape;12032;g3681a448973_2_5707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2033" name="Google Shape;12033;g3681a448973_2_5707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34" name="Google Shape;12034;g3681a448973_2_5707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035" name="Google Shape;12035;g3681a448973_2_5707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036" name="Google Shape;12036;g3681a448973_2_570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9996402"/>
      </p:ext>
    </p:extLst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9_Quotation">
  <p:cSld name="59_Quotation">
    <p:spTree>
      <p:nvGrpSpPr>
        <p:cNvPr id="1" name="Shape 12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38" name="Google Shape;12038;g3681a448973_2_57078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39" name="Google Shape;12039;g3681a448973_2_570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40" name="Google Shape;12040;g3681a448973_2_570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41" name="Google Shape;12041;g3681a448973_2_570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42" name="Google Shape;12042;g3681a448973_2_570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43" name="Google Shape;12043;g3681a448973_2_570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044" name="Google Shape;12044;g3681a448973_2_5707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045" name="Google Shape;12045;g3681a448973_2_570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46" name="Google Shape;12046;g3681a448973_2_570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47" name="Google Shape;12047;g3681a448973_2_570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48" name="Google Shape;12048;g3681a448973_2_570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49" name="Google Shape;12049;g3681a448973_2_570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22104116"/>
      </p:ext>
    </p:extLst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1_Title and Content">
  <p:cSld name="41_Title and Content">
    <p:spTree>
      <p:nvGrpSpPr>
        <p:cNvPr id="1" name="Shape 12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51" name="Google Shape;12051;g3681a448973_2_5709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052" name="Google Shape;12052;g3681a448973_2_570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53" name="Google Shape;12053;g3681a448973_2_570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54" name="Google Shape;12054;g3681a448973_2_570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55" name="Google Shape;12055;g3681a448973_2_570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056" name="Google Shape;12056;g3681a448973_2_570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57" name="Google Shape;12057;g3681a448973_2_570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58" name="Google Shape;12058;g3681a448973_2_570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59" name="Google Shape;12059;g3681a448973_2_570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60" name="Google Shape;12060;g3681a448973_2_570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2189550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Divider">
  <p:cSld name="15_Divider">
    <p:bg>
      <p:bgPr>
        <a:solidFill>
          <a:schemeClr val="lt2"/>
        </a:solidFill>
        <a:effectLst/>
      </p:bgPr>
    </p:bg>
    <p:spTree>
      <p:nvGrpSpPr>
        <p:cNvPr id="1" name="Shape 1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7" name="Google Shape;1297;g374da0147aa_0_5397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298" name="Google Shape;1298;g374da0147aa_0_539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9" name="Google Shape;1299;g374da0147aa_0_53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0" name="Google Shape;1300;g374da0147aa_0_539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01" name="Google Shape;1301;g374da0147aa_0_53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02" name="Google Shape;1302;g374da0147aa_0_5397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3" name="Google Shape;1303;g374da0147aa_0_5397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wo Content">
  <p:cSld name="27_Two Content">
    <p:spTree>
      <p:nvGrpSpPr>
        <p:cNvPr id="1" name="Shape 12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62" name="Google Shape;12062;g3681a448973_2_57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63" name="Google Shape;12063;g3681a448973_2_57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064" name="Google Shape;12064;g3681a448973_2_5710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065" name="Google Shape;12065;g3681a448973_2_57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66" name="Google Shape;12066;g3681a448973_2_571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67" name="Google Shape;12067;g3681a448973_2_57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68" name="Google Shape;12068;g3681a448973_2_57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069" name="Google Shape;12069;g3681a448973_2_57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70" name="Google Shape;12070;g3681a448973_2_57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71" name="Google Shape;12071;g3681a448973_2_57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72" name="Google Shape;12072;g3681a448973_2_57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21887817"/>
      </p:ext>
    </p:extLst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mparison">
  <p:cSld name="27_Comparison">
    <p:spTree>
      <p:nvGrpSpPr>
        <p:cNvPr id="1" name="Shape 12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74" name="Google Shape;12074;g3681a448973_2_5711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075" name="Google Shape;12075;g3681a448973_2_57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76" name="Google Shape;12076;g3681a448973_2_571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77" name="Google Shape;12077;g3681a448973_2_57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78" name="Google Shape;12078;g3681a448973_2_57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079" name="Google Shape;12079;g3681a448973_2_571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80" name="Google Shape;12080;g3681a448973_2_571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081" name="Google Shape;12081;g3681a448973_2_571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82" name="Google Shape;12082;g3681a448973_2_571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083" name="Google Shape;12083;g3681a448973_2_571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84" name="Google Shape;12084;g3681a448973_2_57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85" name="Google Shape;12085;g3681a448973_2_57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86" name="Google Shape;12086;g3681a448973_2_57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4296098"/>
      </p:ext>
    </p:extLst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Only">
  <p:cSld name="27_Title Only">
    <p:spTree>
      <p:nvGrpSpPr>
        <p:cNvPr id="1" name="Shape 12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88" name="Google Shape;12088;g3681a448973_2_5712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089" name="Google Shape;12089;g3681a448973_2_571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90" name="Google Shape;12090;g3681a448973_2_571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091" name="Google Shape;12091;g3681a448973_2_57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92" name="Google Shape;12092;g3681a448973_2_57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093" name="Google Shape;12093;g3681a448973_2_571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94" name="Google Shape;12094;g3681a448973_2_57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95" name="Google Shape;12095;g3681a448973_2_57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96" name="Google Shape;12096;g3681a448973_2_57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58225600"/>
      </p:ext>
    </p:extLst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End">
  <p:cSld name="27_End">
    <p:spTree>
      <p:nvGrpSpPr>
        <p:cNvPr id="1" name="Shape 120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98" name="Google Shape;12098;g3681a448973_2_571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099" name="Google Shape;12099;g3681a448973_2_571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00" name="Google Shape;12100;g3681a448973_2_571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01" name="Google Shape;12101;g3681a448973_2_57138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02" name="Google Shape;12102;g3681a448973_2_5713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03" name="Google Shape;12103;g3681a448973_2_571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104" name="Google Shape;12104;g3681a448973_2_571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105" name="Google Shape;12105;g3681a448973_2_571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188584264"/>
      </p:ext>
    </p:extLst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Blank">
  <p:cSld name="27_Blank">
    <p:spTree>
      <p:nvGrpSpPr>
        <p:cNvPr id="1" name="Shape 12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07" name="Google Shape;12107;g3681a448973_2_571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108" name="Google Shape;12108;g3681a448973_2_57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09" name="Google Shape;12109;g3681a448973_2_57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110" name="Google Shape;12110;g3681a448973_2_5714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111" name="Google Shape;12111;g3681a448973_2_571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12" name="Google Shape;12112;g3681a448973_2_571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113" name="Google Shape;12113;g3681a448973_2_57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14" name="Google Shape;12114;g3681a448973_2_57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8170279"/>
      </p:ext>
    </p:extLst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Slide">
  <p:cSld name="5_Title Slide">
    <p:spTree>
      <p:nvGrpSpPr>
        <p:cNvPr id="1" name="Shape 12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16" name="Google Shape;12116;g3681a448973_2_57156"/>
          <p:cNvSpPr/>
          <p:nvPr/>
        </p:nvSpPr>
        <p:spPr>
          <a:xfrm>
            <a:off x="-21166" y="6629400"/>
            <a:ext cx="12213300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117" name="Google Shape;12117;g3681a448973_2_5715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3" cy="18139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2118" name="Google Shape;12118;g3681a448973_2_57156"/>
          <p:cNvGrpSpPr/>
          <p:nvPr/>
        </p:nvGrpSpPr>
        <p:grpSpPr>
          <a:xfrm>
            <a:off x="0" y="0"/>
            <a:ext cx="1862644" cy="6629629"/>
            <a:chOff x="-15876" y="0"/>
            <a:chExt cx="1927803" cy="6858001"/>
          </a:xfrm>
        </p:grpSpPr>
        <p:sp>
          <p:nvSpPr>
            <p:cNvPr id="12119" name="Google Shape;12119;g3681a448973_2_57156"/>
            <p:cNvSpPr/>
            <p:nvPr/>
          </p:nvSpPr>
          <p:spPr>
            <a:xfrm>
              <a:off x="-15876" y="0"/>
              <a:ext cx="1844700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120" name="Google Shape;12120;g3681a448973_2_57156"/>
            <p:cNvPicPr preferRelativeResize="0"/>
            <p:nvPr/>
          </p:nvPicPr>
          <p:blipFill rotWithShape="1">
            <a:blip r:embed="rId3">
              <a:alphaModFix/>
            </a:blip>
            <a:srcRect l="7218" t="16936" r="72250" b="20588"/>
            <a:stretch/>
          </p:blipFill>
          <p:spPr>
            <a:xfrm>
              <a:off x="-15876" y="0"/>
              <a:ext cx="1927803" cy="685800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2121" name="Google Shape;12121;g3681a448973_2_57156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22" name="Google Shape;12122;g3681a448973_2_57156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00" cy="22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3" name="Google Shape;12123;g3681a448973_2_57156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24" name="Google Shape;12124;g3681a448973_2_57156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55269900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able of Content">
  <p:cSld name="2_Table of Content">
    <p:spTree>
      <p:nvGrpSpPr>
        <p:cNvPr id="1" name="Shape 12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26" name="Google Shape;12126;g3681a448973_2_57166"/>
          <p:cNvSpPr/>
          <p:nvPr/>
        </p:nvSpPr>
        <p:spPr>
          <a:xfrm>
            <a:off x="-10584" y="6620933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27" name="Google Shape;12127;g3681a448973_2_57166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8" name="Google Shape;12128;g3681a448973_2_57166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29" name="Google Shape;12129;g3681a448973_2_57166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30" name="Google Shape;12130;g3681a448973_2_571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131" name="Google Shape;12131;g3681a448973_2_57166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97848552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2_Title and Content">
    <p:spTree>
      <p:nvGrpSpPr>
        <p:cNvPr id="1" name="Shape 12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33" name="Google Shape;12133;g3681a448973_2_5717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134" name="Google Shape;12134;g3681a448973_2_571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35" name="Google Shape;12135;g3681a448973_2_571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136" name="Google Shape;12136;g3681a448973_2_571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37" name="Google Shape;12137;g3681a448973_2_571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138" name="Google Shape;12138;g3681a448973_2_571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39" name="Google Shape;12139;g3681a448973_2_571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40" name="Google Shape;12140;g3681a448973_2_57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141" name="Google Shape;12141;g3681a448973_2_571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42" name="Google Shape;12142;g3681a448973_2_57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15696857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12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44" name="Google Shape;12144;g3681a448973_2_5718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145" name="Google Shape;12145;g3681a448973_2_5718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146" name="Google Shape;12146;g3681a448973_2_5718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2147" name="Google Shape;12147;g3681a448973_2_571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48" name="Google Shape;12148;g3681a448973_2_571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49" name="Google Shape;12149;g3681a448973_2_571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150" name="Google Shape;12150;g3681a448973_2_571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85338792"/>
      </p:ext>
    </p:extLst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>
  <p:cSld name="6_Title Slide">
    <p:spTree>
      <p:nvGrpSpPr>
        <p:cNvPr id="1" name="Shape 12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52" name="Google Shape;12152;g3681a448973_2_571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53" name="Google Shape;12153;g3681a448973_2_571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2154" name="Google Shape;12154;g3681a448973_2_57192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55" name="Google Shape;12155;g3681a448973_2_5719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3436346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Photo Slide">
  <p:cSld name="15_Photo Slide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g374da0147aa_0_5405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06" name="Google Shape;1306;g374da0147aa_0_540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07" name="Google Shape;1307;g374da0147aa_0_5405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308" name="Google Shape;1308;g374da0147aa_0_540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9" name="Google Shape;1309;g374da0147aa_0_540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10" name="Google Shape;1310;g374da0147aa_0_540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311" name="Google Shape;1311;g374da0147aa_0_54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2_Title and Content">
  <p:cSld name="42_Title and Content">
    <p:spTree>
      <p:nvGrpSpPr>
        <p:cNvPr id="1" name="Shape 12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57" name="Google Shape;12157;g3681a448973_2_571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1" cy="6856475"/>
          </a:xfrm>
          <a:prstGeom prst="rect">
            <a:avLst/>
          </a:prstGeom>
          <a:noFill/>
          <a:ln>
            <a:noFill/>
          </a:ln>
        </p:spPr>
      </p:pic>
      <p:sp>
        <p:nvSpPr>
          <p:cNvPr id="12158" name="Google Shape;12158;g3681a448973_2_571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59" name="Google Shape;12159;g3681a448973_2_57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60" name="Google Shape;12160;g3681a448973_2_57197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12027618"/>
      </p:ext>
    </p:extLst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3_Title and Content">
  <p:cSld name="43_Title and Content">
    <p:spTree>
      <p:nvGrpSpPr>
        <p:cNvPr id="1" name="Shape 12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62" name="Google Shape;12162;g3681a448973_2_5720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9" y="762"/>
            <a:ext cx="12189293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12163" name="Google Shape;12163;g3681a448973_2_572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64" name="Google Shape;12164;g3681a448973_2_57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65" name="Google Shape;12165;g3681a448973_2_57202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71125046"/>
      </p:ext>
    </p:extLst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12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67" name="Google Shape;12167;g3681a448973_2_572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0" cy="6856285"/>
          </a:xfrm>
          <a:prstGeom prst="rect">
            <a:avLst/>
          </a:prstGeom>
          <a:noFill/>
          <a:ln>
            <a:noFill/>
          </a:ln>
        </p:spPr>
      </p:pic>
      <p:sp>
        <p:nvSpPr>
          <p:cNvPr id="12168" name="Google Shape;12168;g3681a448973_2_57207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69" name="Google Shape;12169;g3681a448973_2_57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70" name="Google Shape;12170;g3681a448973_2_57207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80459209"/>
      </p:ext>
    </p:extLst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12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72" name="Google Shape;12172;g3681a448973_2_572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73" name="Google Shape;12173;g3681a448973_2_572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2174" name="Google Shape;12174;g3681a448973_2_57212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75" name="Google Shape;12175;g3681a448973_2_5721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1567443"/>
      </p:ext>
    </p:extLst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reaker-4">
  <p:cSld name="1_Breaker-4">
    <p:spTree>
      <p:nvGrpSpPr>
        <p:cNvPr id="1" name="Shape 12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77" name="Google Shape;12177;g3681a448973_2_5721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96"/>
            <a:ext cx="12188953" cy="6857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78" name="Google Shape;12178;g3681a448973_2_572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2179" name="Google Shape;12179;g3681a448973_2_57217"/>
          <p:cNvSpPr txBox="1">
            <a:spLocks noGrp="1"/>
          </p:cNvSpPr>
          <p:nvPr>
            <p:ph type="body" idx="1"/>
          </p:nvPr>
        </p:nvSpPr>
        <p:spPr>
          <a:xfrm>
            <a:off x="7459666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80" name="Google Shape;12180;g3681a448973_2_57217"/>
          <p:cNvSpPr txBox="1">
            <a:spLocks noGrp="1"/>
          </p:cNvSpPr>
          <p:nvPr>
            <p:ph type="body" idx="2"/>
          </p:nvPr>
        </p:nvSpPr>
        <p:spPr>
          <a:xfrm>
            <a:off x="7459662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7932561"/>
      </p:ext>
    </p:extLst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reaker-4">
  <p:cSld name="2_Breaker-4">
    <p:spTree>
      <p:nvGrpSpPr>
        <p:cNvPr id="1" name="Shape 12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82" name="Google Shape;12182;g3681a448973_2_5722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96"/>
            <a:ext cx="12188953" cy="6857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83" name="Google Shape;12183;g3681a448973_2_572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2184" name="Google Shape;12184;g3681a448973_2_57222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85" name="Google Shape;12185;g3681a448973_2_5722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6696235"/>
      </p:ext>
    </p:extLst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Title and Content">
  <p:cSld name="44_Title and Content">
    <p:spTree>
      <p:nvGrpSpPr>
        <p:cNvPr id="1" name="Shape 12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87" name="Google Shape;12187;g3681a448973_2_572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7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2188" name="Google Shape;12188;g3681a448973_2_572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89" name="Google Shape;12189;g3681a448973_2_57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90" name="Google Shape;12190;g3681a448973_2_5722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5162931"/>
      </p:ext>
    </p:extLst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12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92" name="Google Shape;12192;g3681a448973_2_572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193" name="Google Shape;12193;g3681a448973_2_5723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94" name="Google Shape;12194;g3681a448973_2_5723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95" name="Google Shape;12195;g3681a448973_2_57232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80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3643855"/>
      </p:ext>
    </p:extLst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12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97" name="Google Shape;12197;g3681a448973_2_57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98" name="Google Shape;12198;g3681a448973_2_57237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6246637"/>
      </p:ext>
    </p:extLst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12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00" name="Google Shape;12200;g3681a448973_2_57240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201" name="Google Shape;12201;g3681a448973_2_5724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202" name="Google Shape;12202;g3681a448973_2_57240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203" name="Google Shape;12203;g3681a448973_2_572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04" name="Google Shape;12204;g3681a448973_2_572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205" name="Google Shape;12205;g3681a448973_2_572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206" name="Google Shape;12206;g3681a448973_2_572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425726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and Content">
  <p:cSld name="16_Title and Content">
    <p:spTree>
      <p:nvGrpSpPr>
        <p:cNvPr id="1" name="Shape 1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13" name="Google Shape;1313;g374da0147aa_0_541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314" name="Google Shape;1314;g374da0147aa_0_54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5" name="Google Shape;1315;g374da0147aa_0_54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316" name="Google Shape;1316;g374da0147aa_0_54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7" name="Google Shape;1317;g374da0147aa_0_54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18" name="Google Shape;1318;g374da0147aa_0_54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g374da0147aa_0_54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0" name="Google Shape;1320;g374da0147aa_0_541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1" name="Google Shape;1321;g374da0147aa_0_54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2" name="Google Shape;1322;g374da0147aa_0_54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Bullets Layout">
  <p:cSld name="15_Title and Bullets Layout">
    <p:spTree>
      <p:nvGrpSpPr>
        <p:cNvPr id="1" name="Shape 12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08" name="Google Shape;12208;g3681a448973_2_57248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09" name="Google Shape;12209;g3681a448973_2_5724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10" name="Google Shape;12210;g3681a448973_2_5724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11" name="Google Shape;12211;g3681a448973_2_57248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212" name="Google Shape;12212;g3681a448973_2_572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8828428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Title and Content">
  <p:cSld name="45_Title and Content">
    <p:spTree>
      <p:nvGrpSpPr>
        <p:cNvPr id="1" name="Shape 12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14" name="Google Shape;12214;g3681a448973_2_5725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215" name="Google Shape;12215;g3681a448973_2_572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216" name="Google Shape;12216;g3681a448973_2_5725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17" name="Google Shape;12217;g3681a448973_2_57254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18" name="Google Shape;12218;g3681a448973_2_57254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2425220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Section | Picture and Copy Layout">
  <p:cSld name="15_Two Section | Picture and Copy Layout">
    <p:spTree>
      <p:nvGrpSpPr>
        <p:cNvPr id="1" name="Shape 12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20" name="Google Shape;12220;g3681a448973_2_5726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21" name="Google Shape;12221;g3681a448973_2_5726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22" name="Google Shape;12222;g3681a448973_2_57260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23" name="Google Shape;12223;g3681a448973_2_57260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24" name="Google Shape;12224;g3681a448973_2_57260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225" name="Google Shape;12225;g3681a448973_2_572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3237795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able of Content">
  <p:cSld name="3_Table of Content">
    <p:spTree>
      <p:nvGrpSpPr>
        <p:cNvPr id="1" name="Shape 12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27" name="Google Shape;12227;g3681a448973_2_57267"/>
          <p:cNvSpPr/>
          <p:nvPr/>
        </p:nvSpPr>
        <p:spPr>
          <a:xfrm>
            <a:off x="-10584" y="6620934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28" name="Google Shape;12228;g3681a448973_2_57267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29" name="Google Shape;12229;g3681a448973_2_57267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30" name="Google Shape;12230;g3681a448973_2_57267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31" name="Google Shape;12231;g3681a448973_2_572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232" name="Google Shape;12232;g3681a448973_2_57267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10236088"/>
      </p:ext>
    </p:extLst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">
  <p:cSld name="1_Section Header">
    <p:spTree>
      <p:nvGrpSpPr>
        <p:cNvPr id="1" name="Shape 12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34" name="Google Shape;12234;g3681a448973_2_57274"/>
          <p:cNvSpPr txBox="1">
            <a:spLocks noGrp="1"/>
          </p:cNvSpPr>
          <p:nvPr>
            <p:ph type="title"/>
          </p:nvPr>
        </p:nvSpPr>
        <p:spPr>
          <a:xfrm>
            <a:off x="963084" y="4406904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35" name="Google Shape;12235;g3681a448973_2_57274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2236" name="Google Shape;12236;g3681a448973_2_572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37" name="Google Shape;12237;g3681a448973_2_57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38" name="Google Shape;12238;g3681a448973_2_572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7174663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 with Caption">
  <p:cSld name="1_Content with Caption">
    <p:spTree>
      <p:nvGrpSpPr>
        <p:cNvPr id="1" name="Shape 12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40" name="Google Shape;12240;g3681a448973_2_57280"/>
          <p:cNvSpPr txBox="1">
            <a:spLocks noGrp="1"/>
          </p:cNvSpPr>
          <p:nvPr>
            <p:ph type="title"/>
          </p:nvPr>
        </p:nvSpPr>
        <p:spPr>
          <a:xfrm>
            <a:off x="609605" y="273052"/>
            <a:ext cx="4011000" cy="11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41" name="Google Shape;12241;g3681a448973_2_57280"/>
          <p:cNvSpPr txBox="1">
            <a:spLocks noGrp="1"/>
          </p:cNvSpPr>
          <p:nvPr>
            <p:ph type="body" idx="1"/>
          </p:nvPr>
        </p:nvSpPr>
        <p:spPr>
          <a:xfrm>
            <a:off x="4766734" y="273055"/>
            <a:ext cx="6815700" cy="58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2242" name="Google Shape;12242;g3681a448973_2_57280"/>
          <p:cNvSpPr txBox="1">
            <a:spLocks noGrp="1"/>
          </p:cNvSpPr>
          <p:nvPr>
            <p:ph type="body" idx="2"/>
          </p:nvPr>
        </p:nvSpPr>
        <p:spPr>
          <a:xfrm>
            <a:off x="609605" y="1435104"/>
            <a:ext cx="4011000" cy="46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2243" name="Google Shape;12243;g3681a448973_2_5728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44" name="Google Shape;12244;g3681a448973_2_572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45" name="Google Shape;12245;g3681a448973_2_572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34569156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EVERYDAY - CONTENT ONLY">
  <p:cSld name="1_EVERYDAY - CONTENT ONLY">
    <p:spTree>
      <p:nvGrpSpPr>
        <p:cNvPr id="1" name="Shape 12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47" name="Google Shape;12247;g3681a448973_2_57287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48" name="Google Shape;12248;g3681a448973_2_57287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49" name="Google Shape;12249;g3681a448973_2_5728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50" name="Google Shape;12250;g3681a448973_2_57287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51" name="Google Shape;12251;g3681a448973_2_5728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52" name="Google Shape;12252;g3681a448973_2_5728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253" name="Google Shape;12253;g3681a448973_2_57287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54" name="Google Shape;12254;g3681a448973_2_57287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255" name="Google Shape;12255;g3681a448973_2_572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7050765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6_Title and Content">
    <p:spTree>
      <p:nvGrpSpPr>
        <p:cNvPr id="1" name="Shape 12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57" name="Google Shape;12257;g3681a448973_2_5729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258" name="Google Shape;12258;g3681a448973_2_572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259" name="Google Shape;12259;g3681a448973_2_5729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260" name="Google Shape;12260;g3681a448973_2_572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61" name="Google Shape;12261;g3681a448973_2_572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262" name="Google Shape;12262;g3681a448973_2_57297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63" name="Google Shape;12263;g3681a448973_2_57297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64" name="Google Shape;12264;g3681a448973_2_5729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265" name="Google Shape;12265;g3681a448973_2_572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66" name="Google Shape;12266;g3681a448973_2_57297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25195451"/>
      </p:ext>
    </p:extLst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12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68" name="Google Shape;12268;g3681a448973_2_5730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269" name="Google Shape;12269;g3681a448973_2_5730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270" name="Google Shape;12270;g3681a448973_2_5730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271" name="Google Shape;12271;g3681a448973_2_5730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72" name="Google Shape;12272;g3681a448973_2_5730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273" name="Google Shape;12273;g3681a448973_2_5730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274" name="Google Shape;12274;g3681a448973_2_573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2894413"/>
      </p:ext>
    </p:extLst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12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76" name="Google Shape;12276;g3681a448973_2_5731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277" name="Google Shape;12277;g3681a448973_2_5731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278" name="Google Shape;12278;g3681a448973_2_5731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279" name="Google Shape;12279;g3681a448973_2_573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80" name="Google Shape;12280;g3681a448973_2_573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281" name="Google Shape;12281;g3681a448973_2_573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282" name="Google Shape;12282;g3681a448973_2_573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53528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Google Shape;106;g374da0147aa_0_420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7" name="Google Shape;107;g374da0147aa_0_4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" name="Google Shape;108;g374da0147aa_0_420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9" name="Google Shape;109;g374da0147aa_0_4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g374da0147aa_0_4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" name="Google Shape;111;g374da0147aa_0_420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g374da0147aa_0_420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3" name="Google Shape;113;g374da0147aa_0_420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" name="Google Shape;114;g374da0147aa_0_420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" name="Google Shape;115;g374da0147aa_0_420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g374da0147aa_0_420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" name="Google Shape;117;g374da0147aa_0_4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" name="Google Shape;118;g374da0147aa_0_4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Content">
  <p:cSld name="15_Two Content"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4" name="Google Shape;1324;g374da0147aa_0_54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5" name="Google Shape;1325;g374da0147aa_0_542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26" name="Google Shape;1326;g374da0147aa_0_542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327" name="Google Shape;1327;g374da0147aa_0_54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28" name="Google Shape;1328;g374da0147aa_0_542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329" name="Google Shape;1329;g374da0147aa_0_54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0" name="Google Shape;1330;g374da0147aa_0_54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1" name="Google Shape;1331;g374da0147aa_0_5424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2" name="Google Shape;1332;g374da0147aa_0_5424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33" name="Google Shape;1333;g374da0147aa_0_54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4" name="Google Shape;1334;g374da0147aa_0_54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EVERYDAY - CONTENT ONLY">
  <p:cSld name="2_EVERYDAY - CONTENT ONLY">
    <p:spTree>
      <p:nvGrpSpPr>
        <p:cNvPr id="1" name="Shape 12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4" name="Google Shape;12284;g3681a448973_2_57324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85" name="Google Shape;12285;g3681a448973_2_57324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86" name="Google Shape;12286;g3681a448973_2_57324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87" name="Google Shape;12287;g3681a448973_2_57324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88" name="Google Shape;12288;g3681a448973_2_57324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89" name="Google Shape;12289;g3681a448973_2_57324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290" name="Google Shape;12290;g3681a448973_2_57324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91" name="Google Shape;12291;g3681a448973_2_57324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292" name="Google Shape;12292;g3681a448973_2_573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2652141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EVERYDAY - CONTENT ONLY">
  <p:cSld name="3_EVERYDAY - CONTENT ONLY">
    <p:spTree>
      <p:nvGrpSpPr>
        <p:cNvPr id="1" name="Shape 12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4" name="Google Shape;12294;g3681a448973_2_57334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95" name="Google Shape;12295;g3681a448973_2_57334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96" name="Google Shape;12296;g3681a448973_2_57334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97" name="Google Shape;12297;g3681a448973_2_57334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298" name="Google Shape;12298;g3681a448973_2_57334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9" name="Google Shape;12299;g3681a448973_2_57334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300" name="Google Shape;12300;g3681a448973_2_57334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01" name="Google Shape;12301;g3681a448973_2_57334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302" name="Google Shape;12302;g3681a448973_2_573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4527370"/>
      </p:ext>
    </p:extLst>
  </p:cSld>
  <p:clrMapOvr>
    <a:masterClrMapping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0_Quotation">
  <p:cSld name="60_Quotation">
    <p:spTree>
      <p:nvGrpSpPr>
        <p:cNvPr id="1" name="Shape 12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4" name="Google Shape;12304;g3681a448973_2_57344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05" name="Google Shape;12305;g3681a448973_2_5734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06" name="Google Shape;12306;g3681a448973_2_573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07" name="Google Shape;12307;g3681a448973_2_573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08" name="Google Shape;12308;g3681a448973_2_573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09" name="Google Shape;12309;g3681a448973_2_573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310" name="Google Shape;12310;g3681a448973_2_5734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11" name="Google Shape;12311;g3681a448973_2_57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12" name="Google Shape;12312;g3681a448973_2_573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13" name="Google Shape;12313;g3681a448973_2_573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14" name="Google Shape;12314;g3681a448973_2_573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315" name="Google Shape;12315;g3681a448973_2_5734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3871003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1_Quotation">
  <p:cSld name="61_Quotation">
    <p:spTree>
      <p:nvGrpSpPr>
        <p:cNvPr id="1" name="Shape 12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7" name="Google Shape;12317;g3681a448973_2_5735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18" name="Google Shape;12318;g3681a448973_2_5735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19" name="Google Shape;12319;g3681a448973_2_5735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20" name="Google Shape;12320;g3681a448973_2_5735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21" name="Google Shape;12321;g3681a448973_2_573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22" name="Google Shape;12322;g3681a448973_2_573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323" name="Google Shape;12323;g3681a448973_2_5735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24" name="Google Shape;12324;g3681a448973_2_573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25" name="Google Shape;12325;g3681a448973_2_573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26" name="Google Shape;12326;g3681a448973_2_573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27" name="Google Shape;12327;g3681a448973_2_573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328" name="Google Shape;12328;g3681a448973_2_5735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9588898"/>
      </p:ext>
    </p:extLst>
  </p:cSld>
  <p:clrMapOvr>
    <a:masterClrMapping/>
  </p:clrMapOvr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ver">
  <p:cSld name="28_Cover">
    <p:spTree>
      <p:nvGrpSpPr>
        <p:cNvPr id="1" name="Shape 12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30" name="Google Shape;12330;g3681a448973_2_57370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31" name="Google Shape;12331;g3681a448973_2_5737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32" name="Google Shape;12332;g3681a448973_2_5737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333" name="Google Shape;12333;g3681a448973_2_573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334" name="Google Shape;12334;g3681a448973_2_5737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2335" name="Google Shape;12335;g3681a448973_2_573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36" name="Google Shape;12336;g3681a448973_2_5737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337" name="Google Shape;12337;g3681a448973_2_573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20291191"/>
      </p:ext>
    </p:extLst>
  </p:cSld>
  <p:clrMapOvr>
    <a:masterClrMapping/>
  </p:clrMapOvr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Divider">
  <p:cSld name="28_Divider">
    <p:bg>
      <p:bgPr>
        <a:solidFill>
          <a:schemeClr val="lt2"/>
        </a:solidFill>
        <a:effectLst/>
      </p:bgPr>
    </p:bg>
    <p:spTree>
      <p:nvGrpSpPr>
        <p:cNvPr id="1" name="Shape 12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39" name="Google Shape;12339;g3681a448973_2_5737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2340" name="Google Shape;12340;g3681a448973_2_573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41" name="Google Shape;12341;g3681a448973_2_573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42" name="Google Shape;12342;g3681a448973_2_573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343" name="Google Shape;12343;g3681a448973_2_573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344" name="Google Shape;12344;g3681a448973_2_5737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45" name="Google Shape;12345;g3681a448973_2_5737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6681779"/>
      </p:ext>
    </p:extLst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Photo Slide">
  <p:cSld name="28_Photo Slide">
    <p:spTree>
      <p:nvGrpSpPr>
        <p:cNvPr id="1" name="Shape 12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7" name="Google Shape;12347;g3681a448973_2_5738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348" name="Google Shape;12348;g3681a448973_2_5738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349" name="Google Shape;12349;g3681a448973_2_5738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2350" name="Google Shape;12350;g3681a448973_2_5738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51" name="Google Shape;12351;g3681a448973_2_5738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352" name="Google Shape;12352;g3681a448973_2_5738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353" name="Google Shape;12353;g3681a448973_2_573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9477922"/>
      </p:ext>
    </p:extLst>
  </p:cSld>
  <p:clrMapOvr>
    <a:masterClrMapping/>
  </p:clrMapOvr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2_Quotation">
  <p:cSld name="62_Quotation">
    <p:spTree>
      <p:nvGrpSpPr>
        <p:cNvPr id="1" name="Shape 12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55" name="Google Shape;12355;g3681a448973_2_5739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56" name="Google Shape;12356;g3681a448973_2_5739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57" name="Google Shape;12357;g3681a448973_2_5739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58" name="Google Shape;12358;g3681a448973_2_5739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59" name="Google Shape;12359;g3681a448973_2_573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60" name="Google Shape;12360;g3681a448973_2_573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361" name="Google Shape;12361;g3681a448973_2_5739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62" name="Google Shape;12362;g3681a448973_2_573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63" name="Google Shape;12363;g3681a448973_2_5739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64" name="Google Shape;12364;g3681a448973_2_573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65" name="Google Shape;12365;g3681a448973_2_573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366" name="Google Shape;12366;g3681a448973_2_5739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54121253"/>
      </p:ext>
    </p:extLst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3_Quotation">
  <p:cSld name="63_Quotation">
    <p:spTree>
      <p:nvGrpSpPr>
        <p:cNvPr id="1" name="Shape 12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68" name="Google Shape;12368;g3681a448973_2_5740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69" name="Google Shape;12369;g3681a448973_2_5740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70" name="Google Shape;12370;g3681a448973_2_574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71" name="Google Shape;12371;g3681a448973_2_5740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72" name="Google Shape;12372;g3681a448973_2_574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73" name="Google Shape;12373;g3681a448973_2_574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374" name="Google Shape;12374;g3681a448973_2_5740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75" name="Google Shape;12375;g3681a448973_2_574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76" name="Google Shape;12376;g3681a448973_2_5740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77" name="Google Shape;12377;g3681a448973_2_574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78" name="Google Shape;12378;g3681a448973_2_574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379" name="Google Shape;12379;g3681a448973_2_5740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3028722"/>
      </p:ext>
    </p:extLst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Title and Content">
  <p:cSld name="46_Title and Content">
    <p:spTree>
      <p:nvGrpSpPr>
        <p:cNvPr id="1" name="Shape 12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81" name="Google Shape;12381;g3681a448973_2_5742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82" name="Google Shape;12382;g3681a448973_2_574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83" name="Google Shape;12383;g3681a448973_2_574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84" name="Google Shape;12384;g3681a448973_2_574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85" name="Google Shape;12385;g3681a448973_2_574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386" name="Google Shape;12386;g3681a448973_2_574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87" name="Google Shape;12387;g3681a448973_2_574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88" name="Google Shape;12388;g3681a448973_2_5742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89" name="Google Shape;12389;g3681a448973_2_574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90" name="Google Shape;12390;g3681a448973_2_57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651726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omparison">
  <p:cSld name="15_Comparison">
    <p:spTree>
      <p:nvGrpSpPr>
        <p:cNvPr id="1" name="Shape 1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6" name="Google Shape;1336;g374da0147aa_0_543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337" name="Google Shape;1337;g374da0147aa_0_54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8" name="Google Shape;1338;g374da0147aa_0_543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339" name="Google Shape;1339;g374da0147aa_0_54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0" name="Google Shape;1340;g374da0147aa_0_54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41" name="Google Shape;1341;g374da0147aa_0_543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2" name="Google Shape;1342;g374da0147aa_0_543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43" name="Google Shape;1343;g374da0147aa_0_543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4" name="Google Shape;1344;g374da0147aa_0_543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345" name="Google Shape;1345;g374da0147aa_0_543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6" name="Google Shape;1346;g374da0147aa_0_543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47" name="Google Shape;1347;g374da0147aa_0_54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8" name="Google Shape;1348;g374da0147aa_0_54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wo Content">
  <p:cSld name="28_Two Content">
    <p:spTree>
      <p:nvGrpSpPr>
        <p:cNvPr id="1" name="Shape 12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2" name="Google Shape;12392;g3681a448973_2_574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93" name="Google Shape;12393;g3681a448973_2_57432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394" name="Google Shape;12394;g3681a448973_2_5743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395" name="Google Shape;12395;g3681a448973_2_574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96" name="Google Shape;12396;g3681a448973_2_5743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397" name="Google Shape;12397;g3681a448973_2_574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98" name="Google Shape;12398;g3681a448973_2_574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399" name="Google Shape;12399;g3681a448973_2_57432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00" name="Google Shape;12400;g3681a448973_2_57432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401" name="Google Shape;12401;g3681a448973_2_574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02" name="Google Shape;12402;g3681a448973_2_574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3046599"/>
      </p:ext>
    </p:extLst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mparison">
  <p:cSld name="28_Comparison">
    <p:spTree>
      <p:nvGrpSpPr>
        <p:cNvPr id="1" name="Shape 12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04" name="Google Shape;12404;g3681a448973_2_5744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405" name="Google Shape;12405;g3681a448973_2_574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06" name="Google Shape;12406;g3681a448973_2_574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407" name="Google Shape;12407;g3681a448973_2_574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08" name="Google Shape;12408;g3681a448973_2_574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409" name="Google Shape;12409;g3681a448973_2_574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10" name="Google Shape;12410;g3681a448973_2_57444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411" name="Google Shape;12411;g3681a448973_2_57444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12" name="Google Shape;12412;g3681a448973_2_5744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413" name="Google Shape;12413;g3681a448973_2_5744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14" name="Google Shape;12414;g3681a448973_2_574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415" name="Google Shape;12415;g3681a448973_2_574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16" name="Google Shape;12416;g3681a448973_2_574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03767119"/>
      </p:ext>
    </p:extLst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Only">
  <p:cSld name="28_Title Only">
    <p:spTree>
      <p:nvGrpSpPr>
        <p:cNvPr id="1" name="Shape 12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18" name="Google Shape;12418;g3681a448973_2_5745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419" name="Google Shape;12419;g3681a448973_2_574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20" name="Google Shape;12420;g3681a448973_2_574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421" name="Google Shape;12421;g3681a448973_2_574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22" name="Google Shape;12422;g3681a448973_2_574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423" name="Google Shape;12423;g3681a448973_2_574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24" name="Google Shape;12424;g3681a448973_2_5745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425" name="Google Shape;12425;g3681a448973_2_574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26" name="Google Shape;12426;g3681a448973_2_574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5645039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End">
  <p:cSld name="28_End">
    <p:spTree>
      <p:nvGrpSpPr>
        <p:cNvPr id="1" name="Shape 12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28" name="Google Shape;12428;g3681a448973_2_574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429" name="Google Shape;12429;g3681a448973_2_574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30" name="Google Shape;12430;g3681a448973_2_574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431" name="Google Shape;12431;g3681a448973_2_57468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32" name="Google Shape;12432;g3681a448973_2_57468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33" name="Google Shape;12433;g3681a448973_2_574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434" name="Google Shape;12434;g3681a448973_2_574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435" name="Google Shape;12435;g3681a448973_2_574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343793265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Blank">
  <p:cSld name="28_Blank">
    <p:spTree>
      <p:nvGrpSpPr>
        <p:cNvPr id="1" name="Shape 12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7" name="Google Shape;12437;g3681a448973_2_5747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438" name="Google Shape;12438;g3681a448973_2_574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39" name="Google Shape;12439;g3681a448973_2_574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440" name="Google Shape;12440;g3681a448973_2_5747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2441" name="Google Shape;12441;g3681a448973_2_574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42" name="Google Shape;12442;g3681a448973_2_5747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443" name="Google Shape;12443;g3681a448973_2_574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44" name="Google Shape;12444;g3681a448973_2_574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4973822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2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46" name="Google Shape;12446;g3681a448973_2_574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47" name="Google Shape;12447;g3681a448973_2_5748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2448" name="Google Shape;12448;g3681a448973_2_57486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49" name="Google Shape;12449;g3681a448973_2_5748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48763451"/>
      </p:ext>
    </p:extLst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mage Left">
  <p:cSld name="1_Image Left">
    <p:spTree>
      <p:nvGrpSpPr>
        <p:cNvPr id="1" name="Shape 12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51" name="Google Shape;12451;g3681a448973_2_574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0" cy="6856285"/>
          </a:xfrm>
          <a:prstGeom prst="rect">
            <a:avLst/>
          </a:prstGeom>
          <a:noFill/>
          <a:ln>
            <a:noFill/>
          </a:ln>
        </p:spPr>
      </p:pic>
      <p:sp>
        <p:nvSpPr>
          <p:cNvPr id="12452" name="Google Shape;12452;g3681a448973_2_57491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53" name="Google Shape;12453;g3681a448973_2_574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454" name="Google Shape;12454;g3681a448973_2_57491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21848060"/>
      </p:ext>
    </p:extLst>
  </p:cSld>
  <p:clrMapOvr>
    <a:masterClrMapping/>
  </p:clrMapOvr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reaker-4">
  <p:cSld name="3_Breaker-4">
    <p:spTree>
      <p:nvGrpSpPr>
        <p:cNvPr id="1" name="Shape 12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56" name="Google Shape;12456;g3681a448973_2_574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57" name="Google Shape;12457;g3681a448973_2_5749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2458" name="Google Shape;12458;g3681a448973_2_57496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59" name="Google Shape;12459;g3681a448973_2_5749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80862001"/>
      </p:ext>
    </p:extLst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Title and Content">
  <p:cSld name="47_Title and Content">
    <p:spTree>
      <p:nvGrpSpPr>
        <p:cNvPr id="1" name="Shape 12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61" name="Google Shape;12461;g3681a448973_2_57501"/>
          <p:cNvPicPr preferRelativeResize="0"/>
          <p:nvPr/>
        </p:nvPicPr>
        <p:blipFill rotWithShape="1">
          <a:blip r:embed="rId2">
            <a:alphaModFix/>
          </a:blip>
          <a:srcRect t="12180" r="12171"/>
          <a:stretch/>
        </p:blipFill>
        <p:spPr>
          <a:xfrm>
            <a:off x="1524" y="0"/>
            <a:ext cx="1219047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462" name="Google Shape;12462;g3681a448973_2_575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63" name="Google Shape;12463;g3681a448973_2_575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464" name="Google Shape;12464;g3681a448973_2_5750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15661900"/>
      </p:ext>
    </p:extLst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Graphic Right">
  <p:cSld name="1_Blue Graphic Right">
    <p:spTree>
      <p:nvGrpSpPr>
        <p:cNvPr id="1" name="Shape 12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66" name="Google Shape;12466;g3681a448973_2_575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467" name="Google Shape;12467;g3681a448973_2_5750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68" name="Google Shape;12468;g3681a448973_2_5750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69" name="Google Shape;12469;g3681a448973_2_57506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80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5901288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Only">
  <p:cSld name="15_Title Only">
    <p:spTree>
      <p:nvGrpSpPr>
        <p:cNvPr id="1" name="Shape 1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0" name="Google Shape;1350;g374da0147aa_0_545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351" name="Google Shape;1351;g374da0147aa_0_54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52" name="Google Shape;1352;g374da0147aa_0_545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353" name="Google Shape;1353;g374da0147aa_0_54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4" name="Google Shape;1354;g374da0147aa_0_54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55" name="Google Shape;1355;g374da0147aa_0_54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6" name="Google Shape;1356;g374da0147aa_0_545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57" name="Google Shape;1357;g374da0147aa_0_54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58" name="Google Shape;1358;g374da0147aa_0_54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3-Closing Slide">
  <p:cSld name="1_3-Closing Slide">
    <p:spTree>
      <p:nvGrpSpPr>
        <p:cNvPr id="1" name="Shape 12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71" name="Google Shape;12471;g3681a448973_2_575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72" name="Google Shape;12472;g3681a448973_2_57511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0505836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2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74" name="Google Shape;12474;g3681a448973_2_575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75" name="Google Shape;12475;g3681a448973_2_575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2476" name="Google Shape;12476;g3681a448973_2_57514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77" name="Google Shape;12477;g3681a448973_2_57514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10151813"/>
      </p:ext>
    </p:extLst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EVERYDAY - CONTENT ONLY">
  <p:cSld name="4_EVERYDAY - CONTENT ONLY">
    <p:spTree>
      <p:nvGrpSpPr>
        <p:cNvPr id="1" name="Shape 12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9" name="Google Shape;12479;g3681a448973_2_57519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0" name="Google Shape;12480;g3681a448973_2_57519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481" name="Google Shape;12481;g3681a448973_2_57519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82" name="Google Shape;12482;g3681a448973_2_57519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483" name="Google Shape;12483;g3681a448973_2_57519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84" name="Google Shape;12484;g3681a448973_2_57519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485" name="Google Shape;12485;g3681a448973_2_57519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86" name="Google Shape;12486;g3681a448973_2_57519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487" name="Google Shape;12487;g3681a448973_2_575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61907017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EVERYDAY - CONTENT ONLY">
  <p:cSld name="5_EVERYDAY - CONTENT ONLY">
    <p:spTree>
      <p:nvGrpSpPr>
        <p:cNvPr id="1" name="Shape 12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89" name="Google Shape;12489;g3681a448973_2_57529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90" name="Google Shape;12490;g3681a448973_2_57529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491" name="Google Shape;12491;g3681a448973_2_57529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92" name="Google Shape;12492;g3681a448973_2_57529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493" name="Google Shape;12493;g3681a448973_2_57529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4" name="Google Shape;12494;g3681a448973_2_57529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495" name="Google Shape;12495;g3681a448973_2_57529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96" name="Google Shape;12496;g3681a448973_2_57529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497" name="Google Shape;12497;g3681a448973_2_575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13253097"/>
      </p:ext>
    </p:extLst>
  </p:cSld>
  <p:clrMapOvr>
    <a:masterClrMapping/>
  </p:clrMapOvr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4_Quotation">
  <p:cSld name="64_Quotation">
    <p:spTree>
      <p:nvGrpSpPr>
        <p:cNvPr id="1" name="Shape 12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9" name="Google Shape;12499;g3681a448973_2_57539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00" name="Google Shape;12500;g3681a448973_2_5753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01" name="Google Shape;12501;g3681a448973_2_5753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02" name="Google Shape;12502;g3681a448973_2_575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03" name="Google Shape;12503;g3681a448973_2_575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04" name="Google Shape;12504;g3681a448973_2_575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05" name="Google Shape;12505;g3681a448973_2_5753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06" name="Google Shape;12506;g3681a448973_2_575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07" name="Google Shape;12507;g3681a448973_2_5753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08" name="Google Shape;12508;g3681a448973_2_575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09" name="Google Shape;12509;g3681a448973_2_575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10" name="Google Shape;12510;g3681a448973_2_5753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357278"/>
      </p:ext>
    </p:extLst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5_Quotation">
  <p:cSld name="65_Quotation">
    <p:spTree>
      <p:nvGrpSpPr>
        <p:cNvPr id="1" name="Shape 12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2" name="Google Shape;12512;g3681a448973_2_5755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13" name="Google Shape;12513;g3681a448973_2_5755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14" name="Google Shape;12514;g3681a448973_2_5755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15" name="Google Shape;12515;g3681a448973_2_575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16" name="Google Shape;12516;g3681a448973_2_575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17" name="Google Shape;12517;g3681a448973_2_575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18" name="Google Shape;12518;g3681a448973_2_5755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19" name="Google Shape;12519;g3681a448973_2_575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20" name="Google Shape;12520;g3681a448973_2_5755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21" name="Google Shape;12521;g3681a448973_2_575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22" name="Google Shape;12522;g3681a448973_2_575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23" name="Google Shape;12523;g3681a448973_2_5755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9451414"/>
      </p:ext>
    </p:extLst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ver">
  <p:cSld name="29_Cover">
    <p:spTree>
      <p:nvGrpSpPr>
        <p:cNvPr id="1" name="Shape 12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25" name="Google Shape;12525;g3681a448973_2_57565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26" name="Google Shape;12526;g3681a448973_2_5756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27" name="Google Shape;12527;g3681a448973_2_5756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528" name="Google Shape;12528;g3681a448973_2_5756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529" name="Google Shape;12529;g3681a448973_2_5756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2530" name="Google Shape;12530;g3681a448973_2_5756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31" name="Google Shape;12531;g3681a448973_2_5756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532" name="Google Shape;12532;g3681a448973_2_575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767622703"/>
      </p:ext>
    </p:extLst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Divider">
  <p:cSld name="29_Divider">
    <p:bg>
      <p:bgPr>
        <a:solidFill>
          <a:schemeClr val="lt2"/>
        </a:solidFill>
        <a:effectLst/>
      </p:bgPr>
    </p:bg>
    <p:spTree>
      <p:nvGrpSpPr>
        <p:cNvPr id="1" name="Shape 12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34" name="Google Shape;12534;g3681a448973_2_5757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2535" name="Google Shape;12535;g3681a448973_2_5757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36" name="Google Shape;12536;g3681a448973_2_575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37" name="Google Shape;12537;g3681a448973_2_5757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538" name="Google Shape;12538;g3681a448973_2_575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539" name="Google Shape;12539;g3681a448973_2_5757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40" name="Google Shape;12540;g3681a448973_2_5757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14331322"/>
      </p:ext>
    </p:extLst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Photo Slide">
  <p:cSld name="29_Photo Slide">
    <p:spTree>
      <p:nvGrpSpPr>
        <p:cNvPr id="1" name="Shape 12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2" name="Google Shape;12542;g3681a448973_2_575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543" name="Google Shape;12543;g3681a448973_2_5758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544" name="Google Shape;12544;g3681a448973_2_575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2545" name="Google Shape;12545;g3681a448973_2_575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46" name="Google Shape;12546;g3681a448973_2_575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547" name="Google Shape;12547;g3681a448973_2_575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548" name="Google Shape;12548;g3681a448973_2_575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8525254"/>
      </p:ext>
    </p:extLst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6_Quotation">
  <p:cSld name="66_Quotation">
    <p:spTree>
      <p:nvGrpSpPr>
        <p:cNvPr id="1" name="Shape 12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50" name="Google Shape;12550;g3681a448973_2_5759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51" name="Google Shape;12551;g3681a448973_2_575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52" name="Google Shape;12552;g3681a448973_2_575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53" name="Google Shape;12553;g3681a448973_2_575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54" name="Google Shape;12554;g3681a448973_2_575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55" name="Google Shape;12555;g3681a448973_2_575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56" name="Google Shape;12556;g3681a448973_2_5759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57" name="Google Shape;12557;g3681a448973_2_575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58" name="Google Shape;12558;g3681a448973_2_575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59" name="Google Shape;12559;g3681a448973_2_575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60" name="Google Shape;12560;g3681a448973_2_575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61" name="Google Shape;12561;g3681a448973_2_575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209011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End">
  <p:cSld name="15_End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60" name="Google Shape;1360;g374da0147aa_0_54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361" name="Google Shape;1361;g374da0147aa_0_54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2" name="Google Shape;1362;g374da0147aa_0_54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63" name="Google Shape;1363;g374da0147aa_0_5460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4" name="Google Shape;1364;g374da0147aa_0_546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5" name="Google Shape;1365;g374da0147aa_0_54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66" name="Google Shape;1366;g374da0147aa_0_54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367" name="Google Shape;1367;g374da0147aa_0_54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7_Quotation">
  <p:cSld name="67_Quotation">
    <p:spTree>
      <p:nvGrpSpPr>
        <p:cNvPr id="1" name="Shape 12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63" name="Google Shape;12563;g3681a448973_2_5760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64" name="Google Shape;12564;g3681a448973_2_576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65" name="Google Shape;12565;g3681a448973_2_576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66" name="Google Shape;12566;g3681a448973_2_576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67" name="Google Shape;12567;g3681a448973_2_576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68" name="Google Shape;12568;g3681a448973_2_576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69" name="Google Shape;12569;g3681a448973_2_5760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70" name="Google Shape;12570;g3681a448973_2_576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71" name="Google Shape;12571;g3681a448973_2_576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72" name="Google Shape;12572;g3681a448973_2_576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73" name="Google Shape;12573;g3681a448973_2_576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74" name="Google Shape;12574;g3681a448973_2_5760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0956293"/>
      </p:ext>
    </p:extLst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Title and Content">
  <p:cSld name="48_Title and Content">
    <p:spTree>
      <p:nvGrpSpPr>
        <p:cNvPr id="1" name="Shape 12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76" name="Google Shape;12576;g3681a448973_2_5761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77" name="Google Shape;12577;g3681a448973_2_576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78" name="Google Shape;12578;g3681a448973_2_576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79" name="Google Shape;12579;g3681a448973_2_576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80" name="Google Shape;12580;g3681a448973_2_576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581" name="Google Shape;12581;g3681a448973_2_576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82" name="Google Shape;12582;g3681a448973_2_576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83" name="Google Shape;12583;g3681a448973_2_576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84" name="Google Shape;12584;g3681a448973_2_576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85" name="Google Shape;12585;g3681a448973_2_576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80158500"/>
      </p:ext>
    </p:extLst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wo Content">
  <p:cSld name="29_Two Content">
    <p:spTree>
      <p:nvGrpSpPr>
        <p:cNvPr id="1" name="Shape 12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87" name="Google Shape;12587;g3681a448973_2_576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88" name="Google Shape;12588;g3681a448973_2_5762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589" name="Google Shape;12589;g3681a448973_2_5762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590" name="Google Shape;12590;g3681a448973_2_576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91" name="Google Shape;12591;g3681a448973_2_5762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592" name="Google Shape;12592;g3681a448973_2_576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93" name="Google Shape;12593;g3681a448973_2_576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594" name="Google Shape;12594;g3681a448973_2_5762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95" name="Google Shape;12595;g3681a448973_2_5762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96" name="Google Shape;12596;g3681a448973_2_576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97" name="Google Shape;12597;g3681a448973_2_576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6358072"/>
      </p:ext>
    </p:extLst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mparison">
  <p:cSld name="29_Comparison">
    <p:spTree>
      <p:nvGrpSpPr>
        <p:cNvPr id="1" name="Shape 12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99" name="Google Shape;12599;g3681a448973_2_5763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600" name="Google Shape;12600;g3681a448973_2_576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601" name="Google Shape;12601;g3681a448973_2_5763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602" name="Google Shape;12602;g3681a448973_2_576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03" name="Google Shape;12603;g3681a448973_2_576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604" name="Google Shape;12604;g3681a448973_2_576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05" name="Google Shape;12605;g3681a448973_2_5763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606" name="Google Shape;12606;g3681a448973_2_5763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07" name="Google Shape;12607;g3681a448973_2_5763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608" name="Google Shape;12608;g3681a448973_2_5763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09" name="Google Shape;12609;g3681a448973_2_576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610" name="Google Shape;12610;g3681a448973_2_576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11" name="Google Shape;12611;g3681a448973_2_576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7841266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Only">
  <p:cSld name="29_Title Only">
    <p:spTree>
      <p:nvGrpSpPr>
        <p:cNvPr id="1" name="Shape 12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13" name="Google Shape;12613;g3681a448973_2_5765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614" name="Google Shape;12614;g3681a448973_2_576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615" name="Google Shape;12615;g3681a448973_2_5765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616" name="Google Shape;12616;g3681a448973_2_576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17" name="Google Shape;12617;g3681a448973_2_576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618" name="Google Shape;12618;g3681a448973_2_576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19" name="Google Shape;12619;g3681a448973_2_576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620" name="Google Shape;12620;g3681a448973_2_576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21" name="Google Shape;12621;g3681a448973_2_576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01463984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End">
  <p:cSld name="29_End">
    <p:spTree>
      <p:nvGrpSpPr>
        <p:cNvPr id="1" name="Shape 12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23" name="Google Shape;12623;g3681a448973_2_5766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624" name="Google Shape;12624;g3681a448973_2_5766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25" name="Google Shape;12625;g3681a448973_2_5766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626" name="Google Shape;12626;g3681a448973_2_57663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27" name="Google Shape;12627;g3681a448973_2_5766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28" name="Google Shape;12628;g3681a448973_2_5766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629" name="Google Shape;12629;g3681a448973_2_576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630" name="Google Shape;12630;g3681a448973_2_5766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062835568"/>
      </p:ext>
    </p:extLst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Blank">
  <p:cSld name="29_Blank">
    <p:spTree>
      <p:nvGrpSpPr>
        <p:cNvPr id="1" name="Shape 12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2" name="Google Shape;12632;g3681a448973_2_576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633" name="Google Shape;12633;g3681a448973_2_576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34" name="Google Shape;12634;g3681a448973_2_576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635" name="Google Shape;12635;g3681a448973_2_576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636" name="Google Shape;12636;g3681a448973_2_576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637" name="Google Shape;12637;g3681a448973_2_576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638" name="Google Shape;12638;g3681a448973_2_576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39" name="Google Shape;12639;g3681a448973_2_576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6572357"/>
      </p:ext>
    </p:extLst>
  </p:cSld>
  <p:clrMapOvr>
    <a:masterClrMapping/>
  </p:clrMapOvr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30_Two Content">
    <p:spTree>
      <p:nvGrpSpPr>
        <p:cNvPr id="1" name="Shape 12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41" name="Google Shape;12641;g3681a448973_2_576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42" name="Google Shape;12642;g3681a448973_2_576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643" name="Google Shape;12643;g3681a448973_2_5768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2644" name="Google Shape;12644;g3681a448973_2_576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645" name="Google Shape;12645;g3681a448973_2_5768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2646" name="Google Shape;12646;g3681a448973_2_576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47" name="Google Shape;12647;g3681a448973_2_576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648" name="Google Shape;12648;g3681a448973_2_576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49" name="Google Shape;12649;g3681a448973_2_576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650" name="Google Shape;12650;g3681a448973_2_576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51" name="Google Shape;12651;g3681a448973_2_576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41603430"/>
      </p:ext>
    </p:extLst>
  </p:cSld>
  <p:clrMapOvr>
    <a:masterClrMapping/>
  </p:clrMapOvr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1-Line Title (Blank, Logo Top)">
  <p:cSld name="1_1-Line Title (Blank, Logo Top)">
    <p:spTree>
      <p:nvGrpSpPr>
        <p:cNvPr id="1" name="Shape 12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653" name="Google Shape;12653;g3681a448973_2_57693"/>
          <p:cNvCxnSpPr/>
          <p:nvPr/>
        </p:nvCxnSpPr>
        <p:spPr>
          <a:xfrm>
            <a:off x="2" y="1129976"/>
            <a:ext cx="10289400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12654" name="Google Shape;12654;g3681a448973_2_57693"/>
          <p:cNvSpPr txBox="1">
            <a:spLocks noGrp="1"/>
          </p:cNvSpPr>
          <p:nvPr>
            <p:ph type="body" idx="1"/>
          </p:nvPr>
        </p:nvSpPr>
        <p:spPr>
          <a:xfrm>
            <a:off x="700620" y="533969"/>
            <a:ext cx="8867700" cy="4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55" name="Google Shape;12655;g3681a448973_2_57693"/>
          <p:cNvSpPr/>
          <p:nvPr/>
        </p:nvSpPr>
        <p:spPr>
          <a:xfrm>
            <a:off x="9815334" y="5955178"/>
            <a:ext cx="2376600" cy="9027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56" name="Google Shape;12656;g3681a448973_2_57693"/>
          <p:cNvSpPr/>
          <p:nvPr/>
        </p:nvSpPr>
        <p:spPr>
          <a:xfrm>
            <a:off x="9815334" y="77979"/>
            <a:ext cx="2376600" cy="94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57" name="Google Shape;12657;g3681a448973_2_57693" descr="LM_LUMC_3C_V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997747" y="317115"/>
            <a:ext cx="1653863" cy="5740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7948777"/>
      </p:ext>
    </p:extLst>
  </p:cSld>
  <p:clrMapOvr>
    <a:masterClrMapping/>
  </p:clrMapOvr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Line Title (Logo UR)">
  <p:cSld name="1 Line Title (Logo UR)">
    <p:spTree>
      <p:nvGrpSpPr>
        <p:cNvPr id="1" name="Shape 12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659" name="Google Shape;12659;g3681a448973_2_57699"/>
          <p:cNvCxnSpPr/>
          <p:nvPr/>
        </p:nvCxnSpPr>
        <p:spPr>
          <a:xfrm>
            <a:off x="1" y="1129976"/>
            <a:ext cx="10289400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12660" name="Google Shape;12660;g3681a448973_2_57699"/>
          <p:cNvSpPr txBox="1">
            <a:spLocks noGrp="1"/>
          </p:cNvSpPr>
          <p:nvPr>
            <p:ph type="body" idx="1"/>
          </p:nvPr>
        </p:nvSpPr>
        <p:spPr>
          <a:xfrm>
            <a:off x="700619" y="533967"/>
            <a:ext cx="8867700" cy="4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61" name="Google Shape;12661;g3681a448973_2_57699"/>
          <p:cNvSpPr/>
          <p:nvPr/>
        </p:nvSpPr>
        <p:spPr>
          <a:xfrm>
            <a:off x="9815333" y="5694745"/>
            <a:ext cx="2376600" cy="1163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2" name="Google Shape;12662;g3681a448973_2_57699"/>
          <p:cNvSpPr txBox="1">
            <a:spLocks noGrp="1"/>
          </p:cNvSpPr>
          <p:nvPr>
            <p:ph type="body" idx="2"/>
          </p:nvPr>
        </p:nvSpPr>
        <p:spPr>
          <a:xfrm>
            <a:off x="700619" y="1359436"/>
            <a:ext cx="10768800" cy="49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567543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Blank">
  <p:cSld name="14_Blank">
    <p:spTree>
      <p:nvGrpSpPr>
        <p:cNvPr id="1" name="Shape 1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9" name="Google Shape;1369;g374da0147aa_0_546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70" name="Google Shape;1370;g374da0147aa_0_54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1" name="Google Shape;1371;g374da0147aa_0_54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72" name="Google Shape;1372;g374da0147aa_0_546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373" name="Google Shape;1373;g374da0147aa_0_54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4" name="Google Shape;1374;g374da0147aa_0_546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375" name="Google Shape;1375;g374da0147aa_0_54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6" name="Google Shape;1376;g374da0147aa_0_54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2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74" name="Google Shape;12674;g3681a448973_2_25727"/>
          <p:cNvSpPr txBox="1">
            <a:spLocks noGrp="1"/>
          </p:cNvSpPr>
          <p:nvPr>
            <p:ph type="title"/>
          </p:nvPr>
        </p:nvSpPr>
        <p:spPr>
          <a:xfrm>
            <a:off x="420624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Open Sans Light"/>
              <a:buNone/>
              <a:defRPr sz="5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5" name="Google Shape;12675;g3681a448973_2_25727"/>
          <p:cNvSpPr txBox="1">
            <a:spLocks noGrp="1"/>
          </p:cNvSpPr>
          <p:nvPr>
            <p:ph type="body" idx="1"/>
          </p:nvPr>
        </p:nvSpPr>
        <p:spPr>
          <a:xfrm>
            <a:off x="420624" y="1825625"/>
            <a:ext cx="10515600" cy="420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⬩"/>
              <a:defRPr sz="2400"/>
            </a:lvl1pPr>
            <a:lvl2pPr marL="914400" lvl="1" indent="-3683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200"/>
              <a:buChar char="⬩"/>
              <a:defRPr sz="2200"/>
            </a:lvl2pPr>
            <a:lvl3pPr marL="1371600" lvl="2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4pPr>
            <a:lvl5pPr marL="2286000" lvl="4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76" name="Google Shape;12676;g3681a448973_2_25727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7" name="Google Shape;12677;g3681a448973_2_25727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8" name="Google Shape;12678;g3681a448973_2_25727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5338205"/>
      </p:ext>
    </p:extLst>
  </p:cSld>
  <p:clrMapOvr>
    <a:masterClrMapping/>
  </p:clrMapOvr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2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0" name="Google Shape;12680;g3681a448973_2_25733"/>
          <p:cNvSpPr txBox="1">
            <a:spLocks noGrp="1"/>
          </p:cNvSpPr>
          <p:nvPr>
            <p:ph type="ctrTitle"/>
          </p:nvPr>
        </p:nvSpPr>
        <p:spPr>
          <a:xfrm>
            <a:off x="1490472" y="1463557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Open Sans Light"/>
              <a:buNone/>
              <a:defRPr sz="5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81" name="Google Shape;12681;g3681a448973_2_25733"/>
          <p:cNvSpPr txBox="1">
            <a:spLocks noGrp="1"/>
          </p:cNvSpPr>
          <p:nvPr>
            <p:ph type="subTitle" idx="1"/>
          </p:nvPr>
        </p:nvSpPr>
        <p:spPr>
          <a:xfrm>
            <a:off x="1490472" y="3943232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682" name="Google Shape;12682;g3681a448973_2_25733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83" name="Google Shape;12683;g3681a448973_2_25733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84" name="Google Shape;12684;g3681a448973_2_25733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84778757"/>
      </p:ext>
    </p:extLst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26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6" name="Google Shape;12686;g3681a448973_2_25739"/>
          <p:cNvSpPr txBox="1">
            <a:spLocks noGrp="1"/>
          </p:cNvSpPr>
          <p:nvPr>
            <p:ph type="title"/>
          </p:nvPr>
        </p:nvSpPr>
        <p:spPr>
          <a:xfrm>
            <a:off x="420624" y="1081941"/>
            <a:ext cx="10515600" cy="28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400"/>
              <a:buFont typeface="Open Sans Light"/>
              <a:buNone/>
              <a:defRPr sz="4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87" name="Google Shape;12687;g3681a448973_2_25739"/>
          <p:cNvSpPr txBox="1">
            <a:spLocks noGrp="1"/>
          </p:cNvSpPr>
          <p:nvPr>
            <p:ph type="body" idx="1"/>
          </p:nvPr>
        </p:nvSpPr>
        <p:spPr>
          <a:xfrm>
            <a:off x="420624" y="3961666"/>
            <a:ext cx="105156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200"/>
              <a:buNone/>
              <a:defRPr sz="22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2688" name="Google Shape;12688;g3681a448973_2_25739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89" name="Google Shape;12689;g3681a448973_2_25739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90" name="Google Shape;12690;g3681a448973_2_25739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0830437"/>
      </p:ext>
    </p:extLst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12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2" name="Google Shape;12692;g3681a448973_2_25745"/>
          <p:cNvSpPr/>
          <p:nvPr/>
        </p:nvSpPr>
        <p:spPr>
          <a:xfrm>
            <a:off x="0" y="685800"/>
            <a:ext cx="11493900" cy="5486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693" name="Google Shape;12693;g3681a448973_2_25745"/>
          <p:cNvSpPr txBox="1">
            <a:spLocks noGrp="1"/>
          </p:cNvSpPr>
          <p:nvPr>
            <p:ph type="title"/>
          </p:nvPr>
        </p:nvSpPr>
        <p:spPr>
          <a:xfrm>
            <a:off x="420624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Open Sans Light"/>
              <a:buNone/>
              <a:defRPr sz="5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94" name="Google Shape;12694;g3681a448973_2_25745"/>
          <p:cNvSpPr txBox="1">
            <a:spLocks noGrp="1"/>
          </p:cNvSpPr>
          <p:nvPr>
            <p:ph type="body" idx="1"/>
          </p:nvPr>
        </p:nvSpPr>
        <p:spPr>
          <a:xfrm>
            <a:off x="420624" y="1825625"/>
            <a:ext cx="5181600" cy="420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⬩"/>
              <a:defRPr/>
            </a:lvl1pPr>
            <a:lvl2pPr marL="914400" lvl="1" indent="-3302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Char char="⬩"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400"/>
              <a:buChar char="⬩"/>
              <a:defRPr/>
            </a:lvl3pPr>
            <a:lvl4pPr marL="1828800" lvl="3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200"/>
              <a:buChar char="⬩"/>
              <a:defRPr/>
            </a:lvl4pPr>
            <a:lvl5pPr marL="2286000" lvl="4" indent="-29845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100"/>
              <a:buChar char="⬩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95" name="Google Shape;12695;g3681a448973_2_25745"/>
          <p:cNvSpPr txBox="1">
            <a:spLocks noGrp="1"/>
          </p:cNvSpPr>
          <p:nvPr>
            <p:ph type="body" idx="2"/>
          </p:nvPr>
        </p:nvSpPr>
        <p:spPr>
          <a:xfrm>
            <a:off x="5756178" y="1825625"/>
            <a:ext cx="5180100" cy="420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Font typeface="Noto Sans Symbols"/>
              <a:buChar char="⬩"/>
              <a:defRPr/>
            </a:lvl1pPr>
            <a:lvl2pPr marL="914400" lvl="1" indent="-3302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Font typeface="Noto Sans Symbols"/>
              <a:buChar char="⬩"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400"/>
              <a:buFont typeface="Noto Sans Symbols"/>
              <a:buChar char="⬩"/>
              <a:defRPr/>
            </a:lvl3pPr>
            <a:lvl4pPr marL="1828800" lvl="3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200"/>
              <a:buFont typeface="Noto Sans Symbols"/>
              <a:buChar char="⬩"/>
              <a:defRPr/>
            </a:lvl4pPr>
            <a:lvl5pPr marL="2286000" lvl="4" indent="-29845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100"/>
              <a:buFont typeface="Noto Sans Symbols"/>
              <a:buChar char="⬩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96" name="Google Shape;12696;g3681a448973_2_25745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97" name="Google Shape;12697;g3681a448973_2_25745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98" name="Google Shape;12698;g3681a448973_2_25745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2226239"/>
      </p:ext>
    </p:extLst>
  </p:cSld>
  <p:clrMapOvr>
    <a:masterClrMapping/>
  </p:clrMapOvr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12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0" name="Google Shape;12700;g3681a448973_2_25753"/>
          <p:cNvSpPr/>
          <p:nvPr/>
        </p:nvSpPr>
        <p:spPr>
          <a:xfrm>
            <a:off x="0" y="685800"/>
            <a:ext cx="11493900" cy="5486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701" name="Google Shape;12701;g3681a448973_2_25753"/>
          <p:cNvSpPr txBox="1">
            <a:spLocks noGrp="1"/>
          </p:cNvSpPr>
          <p:nvPr>
            <p:ph type="title"/>
          </p:nvPr>
        </p:nvSpPr>
        <p:spPr>
          <a:xfrm>
            <a:off x="422178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Open Sans Light"/>
              <a:buNone/>
              <a:defRPr sz="5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02" name="Google Shape;12702;g3681a448973_2_25753"/>
          <p:cNvSpPr txBox="1">
            <a:spLocks noGrp="1"/>
          </p:cNvSpPr>
          <p:nvPr>
            <p:ph type="body" idx="1"/>
          </p:nvPr>
        </p:nvSpPr>
        <p:spPr>
          <a:xfrm>
            <a:off x="422178" y="1681163"/>
            <a:ext cx="51579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/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703" name="Google Shape;12703;g3681a448973_2_25753"/>
          <p:cNvSpPr txBox="1">
            <a:spLocks noGrp="1"/>
          </p:cNvSpPr>
          <p:nvPr>
            <p:ph type="body" idx="2"/>
          </p:nvPr>
        </p:nvSpPr>
        <p:spPr>
          <a:xfrm>
            <a:off x="422178" y="2505075"/>
            <a:ext cx="5157900" cy="35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⬩"/>
              <a:defRPr sz="2400"/>
            </a:lvl1pPr>
            <a:lvl2pPr marL="914400" lvl="1" indent="-3683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200"/>
              <a:buChar char="⬩"/>
              <a:defRPr sz="2200"/>
            </a:lvl2pPr>
            <a:lvl3pPr marL="1371600" lvl="2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4pPr>
            <a:lvl5pPr marL="2286000" lvl="4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04" name="Google Shape;12704;g3681a448973_2_25753"/>
          <p:cNvSpPr txBox="1">
            <a:spLocks noGrp="1"/>
          </p:cNvSpPr>
          <p:nvPr>
            <p:ph type="body" idx="3"/>
          </p:nvPr>
        </p:nvSpPr>
        <p:spPr>
          <a:xfrm>
            <a:off x="5754590" y="1681163"/>
            <a:ext cx="51831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/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705" name="Google Shape;12705;g3681a448973_2_25753"/>
          <p:cNvSpPr txBox="1">
            <a:spLocks noGrp="1"/>
          </p:cNvSpPr>
          <p:nvPr>
            <p:ph type="body" idx="4"/>
          </p:nvPr>
        </p:nvSpPr>
        <p:spPr>
          <a:xfrm>
            <a:off x="5754590" y="2505075"/>
            <a:ext cx="5183100" cy="35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⬩"/>
              <a:defRPr sz="2400"/>
            </a:lvl1pPr>
            <a:lvl2pPr marL="914400" lvl="1" indent="-3683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200"/>
              <a:buChar char="⬩"/>
              <a:defRPr sz="2200"/>
            </a:lvl2pPr>
            <a:lvl3pPr marL="1371600" lvl="2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4pPr>
            <a:lvl5pPr marL="2286000" lvl="4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06" name="Google Shape;12706;g3681a448973_2_25753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07" name="Google Shape;12707;g3681a448973_2_25753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08" name="Google Shape;12708;g3681a448973_2_25753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55650678"/>
      </p:ext>
    </p:extLst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12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0" name="Google Shape;12710;g3681a448973_2_25763"/>
          <p:cNvSpPr txBox="1">
            <a:spLocks noGrp="1"/>
          </p:cNvSpPr>
          <p:nvPr>
            <p:ph type="title"/>
          </p:nvPr>
        </p:nvSpPr>
        <p:spPr>
          <a:xfrm>
            <a:off x="420624" y="938306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Open Sans Light"/>
              <a:buNone/>
              <a:defRPr sz="5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11" name="Google Shape;12711;g3681a448973_2_25763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12" name="Google Shape;12712;g3681a448973_2_25763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13" name="Google Shape;12713;g3681a448973_2_25763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7714000"/>
      </p:ext>
    </p:extLst>
  </p:cSld>
  <p:clrMapOvr>
    <a:masterClrMapping/>
  </p:clrMapOvr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2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5" name="Google Shape;12715;g3681a448973_2_25768"/>
          <p:cNvSpPr/>
          <p:nvPr/>
        </p:nvSpPr>
        <p:spPr>
          <a:xfrm>
            <a:off x="0" y="0"/>
            <a:ext cx="12189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716" name="Google Shape;12716;g3681a448973_2_25768"/>
          <p:cNvSpPr/>
          <p:nvPr/>
        </p:nvSpPr>
        <p:spPr>
          <a:xfrm>
            <a:off x="0" y="0"/>
            <a:ext cx="12189000" cy="6858000"/>
          </a:xfrm>
          <a:prstGeom prst="rect">
            <a:avLst/>
          </a:prstGeom>
          <a:solidFill>
            <a:schemeClr val="lt2">
              <a:alpha val="4431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717" name="Google Shape;12717;g3681a448973_2_25768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18" name="Google Shape;12718;g3681a448973_2_25768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19" name="Google Shape;12719;g3681a448973_2_25768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5418466"/>
      </p:ext>
    </p:extLst>
  </p:cSld>
  <p:clrMapOvr>
    <a:masterClrMapping/>
  </p:clrMapOvr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12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1" name="Google Shape;12721;g3681a448973_2_25774"/>
          <p:cNvSpPr txBox="1">
            <a:spLocks noGrp="1"/>
          </p:cNvSpPr>
          <p:nvPr>
            <p:ph type="title"/>
          </p:nvPr>
        </p:nvSpPr>
        <p:spPr>
          <a:xfrm>
            <a:off x="420624" y="457200"/>
            <a:ext cx="105123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Arial"/>
              <a:buNone/>
              <a:defRPr sz="52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22" name="Google Shape;12722;g3681a448973_2_25774"/>
          <p:cNvSpPr txBox="1">
            <a:spLocks noGrp="1"/>
          </p:cNvSpPr>
          <p:nvPr>
            <p:ph type="body" idx="1"/>
          </p:nvPr>
        </p:nvSpPr>
        <p:spPr>
          <a:xfrm>
            <a:off x="4782830" y="2199340"/>
            <a:ext cx="6172200" cy="366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⬩"/>
              <a:defRPr sz="2400"/>
            </a:lvl1pPr>
            <a:lvl2pPr marL="914400" lvl="1" indent="-3683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200"/>
              <a:buChar char="⬩"/>
              <a:defRPr sz="2200"/>
            </a:lvl2pPr>
            <a:lvl3pPr marL="1371600" lvl="2" indent="-355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000"/>
              <a:buChar char="⬩"/>
              <a:defRPr sz="2000"/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 sz="1800"/>
            </a:lvl4pPr>
            <a:lvl5pPr marL="2286000" lvl="4" indent="-3302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Char char="⬩"/>
              <a:defRPr sz="16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2723" name="Google Shape;12723;g3681a448973_2_25774"/>
          <p:cNvSpPr txBox="1">
            <a:spLocks noGrp="1"/>
          </p:cNvSpPr>
          <p:nvPr>
            <p:ph type="body" idx="2"/>
          </p:nvPr>
        </p:nvSpPr>
        <p:spPr>
          <a:xfrm>
            <a:off x="420624" y="2199340"/>
            <a:ext cx="3932100" cy="36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200"/>
              <a:buNone/>
              <a:defRPr sz="2200"/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 sz="1400"/>
            </a:lvl2pPr>
            <a:lvl3pPr marL="1371600" lvl="2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2724" name="Google Shape;12724;g3681a448973_2_25774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25" name="Google Shape;12725;g3681a448973_2_25774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26" name="Google Shape;12726;g3681a448973_2_25774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4813594"/>
      </p:ext>
    </p:extLst>
  </p:cSld>
  <p:clrMapOvr>
    <a:masterClrMapping/>
  </p:clrMapOvr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12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8" name="Google Shape;12728;g3681a448973_2_25781"/>
          <p:cNvSpPr txBox="1">
            <a:spLocks noGrp="1"/>
          </p:cNvSpPr>
          <p:nvPr>
            <p:ph type="title"/>
          </p:nvPr>
        </p:nvSpPr>
        <p:spPr>
          <a:xfrm>
            <a:off x="420624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400"/>
              <a:buFont typeface="Open Sans Light"/>
              <a:buNone/>
              <a:defRPr sz="4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29" name="Google Shape;12729;g3681a448973_2_25781"/>
          <p:cNvSpPr>
            <a:spLocks noGrp="1"/>
          </p:cNvSpPr>
          <p:nvPr>
            <p:ph type="pic" idx="2"/>
          </p:nvPr>
        </p:nvSpPr>
        <p:spPr>
          <a:xfrm>
            <a:off x="4781276" y="987425"/>
            <a:ext cx="6172200" cy="4873500"/>
          </a:xfrm>
          <a:prstGeom prst="rect">
            <a:avLst/>
          </a:prstGeom>
          <a:noFill/>
          <a:ln>
            <a:noFill/>
          </a:ln>
        </p:spPr>
      </p:sp>
      <p:sp>
        <p:nvSpPr>
          <p:cNvPr id="12730" name="Google Shape;12730;g3681a448973_2_25781"/>
          <p:cNvSpPr txBox="1">
            <a:spLocks noGrp="1"/>
          </p:cNvSpPr>
          <p:nvPr>
            <p:ph type="body" idx="1"/>
          </p:nvPr>
        </p:nvSpPr>
        <p:spPr>
          <a:xfrm>
            <a:off x="420624" y="2199340"/>
            <a:ext cx="3932100" cy="36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200"/>
              <a:buNone/>
              <a:defRPr sz="2200"/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 sz="1400"/>
            </a:lvl2pPr>
            <a:lvl3pPr marL="1371600" lvl="2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2731" name="Google Shape;12731;g3681a448973_2_25781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32" name="Google Shape;12732;g3681a448973_2_25781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33" name="Google Shape;12733;g3681a448973_2_25781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7484417"/>
      </p:ext>
    </p:extLst>
  </p:cSld>
  <p:clrMapOvr>
    <a:masterClrMapping/>
  </p:clrMapOvr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12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35" name="Google Shape;12735;g3681a448973_2_25788"/>
          <p:cNvSpPr txBox="1">
            <a:spLocks noGrp="1"/>
          </p:cNvSpPr>
          <p:nvPr>
            <p:ph type="title"/>
          </p:nvPr>
        </p:nvSpPr>
        <p:spPr>
          <a:xfrm>
            <a:off x="420624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Open Sans Light"/>
              <a:buNone/>
              <a:defRPr sz="5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36" name="Google Shape;12736;g3681a448973_2_25788"/>
          <p:cNvSpPr txBox="1">
            <a:spLocks noGrp="1"/>
          </p:cNvSpPr>
          <p:nvPr>
            <p:ph type="body" idx="1"/>
          </p:nvPr>
        </p:nvSpPr>
        <p:spPr>
          <a:xfrm rot="5400000">
            <a:off x="3502824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⬩"/>
              <a:defRPr/>
            </a:lvl1pPr>
            <a:lvl2pPr marL="914400" lvl="1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2pPr>
            <a:lvl3pPr marL="1371600" lvl="2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4pPr>
            <a:lvl5pPr marL="2286000" lvl="4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37" name="Google Shape;12737;g3681a448973_2_25788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38" name="Google Shape;12738;g3681a448973_2_25788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39" name="Google Shape;12739;g3681a448973_2_25788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455229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ver">
  <p:cSld name="17_Cover">
    <p:spTree>
      <p:nvGrpSpPr>
        <p:cNvPr id="1" name="Shape 1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8" name="Google Shape;1378;g374da0147aa_0_5478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9" name="Google Shape;1379;g374da0147aa_0_5478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0" name="Google Shape;1380;g374da0147aa_0_5478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81" name="Google Shape;1381;g374da0147aa_0_54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82" name="Google Shape;1382;g374da0147aa_0_5478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383" name="Google Shape;1383;g374da0147aa_0_54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4" name="Google Shape;1384;g374da0147aa_0_54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85" name="Google Shape;1385;g374da0147aa_0_54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12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41" name="Google Shape;12741;g3681a448973_2_25794"/>
          <p:cNvSpPr txBox="1">
            <a:spLocks noGrp="1"/>
          </p:cNvSpPr>
          <p:nvPr>
            <p:ph type="title"/>
          </p:nvPr>
        </p:nvSpPr>
        <p:spPr>
          <a:xfrm rot="5400000">
            <a:off x="6734630" y="1956625"/>
            <a:ext cx="5811900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2" name="Google Shape;12742;g3681a448973_2_25794"/>
          <p:cNvSpPr txBox="1">
            <a:spLocks noGrp="1"/>
          </p:cNvSpPr>
          <p:nvPr>
            <p:ph type="body" idx="1"/>
          </p:nvPr>
        </p:nvSpPr>
        <p:spPr>
          <a:xfrm rot="5400000">
            <a:off x="1400630" y="-596075"/>
            <a:ext cx="5811900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⬩"/>
              <a:defRPr/>
            </a:lvl1pPr>
            <a:lvl2pPr marL="914400" lvl="1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2pPr>
            <a:lvl3pPr marL="1371600" lvl="2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4pPr>
            <a:lvl5pPr marL="2286000" lvl="4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⬩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43" name="Google Shape;12743;g3681a448973_2_25794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4" name="Google Shape;12744;g3681a448973_2_25794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5" name="Google Shape;12745;g3681a448973_2_25794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506507"/>
      </p:ext>
    </p:extLst>
  </p:cSld>
  <p:clrMapOvr>
    <a:masterClrMapping/>
  </p:clrMapOvr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674377"/>
      </p:ext>
    </p:extLst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590306"/>
      </p:ext>
    </p:extLst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054314"/>
      </p:ext>
    </p:extLst>
  </p:cSld>
  <p:clrMapOvr>
    <a:masterClrMapping/>
  </p:clrMapOvr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541417"/>
      </p:ext>
    </p:extLst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156120"/>
      </p:ext>
    </p:extLst>
  </p:cSld>
  <p:clrMapOvr>
    <a:masterClrMapping/>
  </p:clrMapOvr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376122"/>
      </p:ext>
    </p:extLst>
  </p:cSld>
  <p:clrMapOvr>
    <a:masterClrMapping/>
  </p:clrMapOvr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243399"/>
      </p:ext>
    </p:extLst>
  </p:cSld>
  <p:clrMapOvr>
    <a:masterClrMapping/>
  </p:clrMapOvr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688801"/>
      </p:ext>
    </p:extLst>
  </p:cSld>
  <p:clrMapOvr>
    <a:masterClrMapping/>
  </p:clrMapOvr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34978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Divider">
  <p:cSld name="17_Divider">
    <p:bg>
      <p:bgPr>
        <a:solidFill>
          <a:schemeClr val="lt2"/>
        </a:solidFill>
        <a:effectLst/>
      </p:bgPr>
    </p:bg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87" name="Google Shape;1387;g374da0147aa_0_5487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388" name="Google Shape;1388;g374da0147aa_0_54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9" name="Google Shape;1389;g374da0147aa_0_54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0" name="Google Shape;1390;g374da0147aa_0_54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91" name="Google Shape;1391;g374da0147aa_0_54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92" name="Google Shape;1392;g374da0147aa_0_5487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3" name="Google Shape;1393;g374da0147aa_0_5487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307687"/>
      </p:ext>
    </p:extLst>
  </p:cSld>
  <p:clrMapOvr>
    <a:masterClrMapping/>
  </p:clrMapOvr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82779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Photo Slide">
  <p:cSld name="17_Photo Slide">
    <p:spTree>
      <p:nvGrpSpPr>
        <p:cNvPr id="1" name="Shape 1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5" name="Google Shape;1395;g374da0147aa_0_5495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96" name="Google Shape;1396;g374da0147aa_0_549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97" name="Google Shape;1397;g374da0147aa_0_5495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398" name="Google Shape;1398;g374da0147aa_0_549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9" name="Google Shape;1399;g374da0147aa_0_549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00" name="Google Shape;1400;g374da0147aa_0_549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401" name="Google Shape;1401;g374da0147aa_0_54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and Content">
  <p:cSld name="18_Title and Content">
    <p:spTree>
      <p:nvGrpSpPr>
        <p:cNvPr id="1" name="Shape 1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3" name="Google Shape;1403;g374da0147aa_0_550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404" name="Google Shape;1404;g374da0147aa_0_55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5" name="Google Shape;1405;g374da0147aa_0_55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406" name="Google Shape;1406;g374da0147aa_0_55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7" name="Google Shape;1407;g374da0147aa_0_55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08" name="Google Shape;1408;g374da0147aa_0_55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9" name="Google Shape;1409;g374da0147aa_0_55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0" name="Google Shape;1410;g374da0147aa_0_550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1" name="Google Shape;1411;g374da0147aa_0_55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2" name="Google Shape;1412;g374da0147aa_0_55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wo Content">
  <p:cSld name="17_Two Content">
    <p:spTree>
      <p:nvGrpSpPr>
        <p:cNvPr id="1" name="Shape 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4" name="Google Shape;1414;g374da0147aa_0_55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5" name="Google Shape;1415;g374da0147aa_0_551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16" name="Google Shape;1416;g374da0147aa_0_551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417" name="Google Shape;1417;g374da0147aa_0_55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8" name="Google Shape;1418;g374da0147aa_0_55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419" name="Google Shape;1419;g374da0147aa_0_55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0" name="Google Shape;1420;g374da0147aa_0_55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21" name="Google Shape;1421;g374da0147aa_0_5514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2" name="Google Shape;1422;g374da0147aa_0_5514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3" name="Google Shape;1423;g374da0147aa_0_55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4" name="Google Shape;1424;g374da0147aa_0_55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374da0147aa_0_4220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1;g374da0147aa_0_422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g374da0147aa_0_422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3" name="Google Shape;123;g374da0147aa_0_422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24" name="Google Shape;124;g374da0147aa_0_422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25" name="Google Shape;125;g374da0147aa_0_42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126;g374da0147aa_0_422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7" name="Google Shape;127;g374da0147aa_0_4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omparison">
  <p:cSld name="17_Comparison">
    <p:spTree>
      <p:nvGrpSpPr>
        <p:cNvPr id="1" name="Shape 1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6" name="Google Shape;1426;g374da0147aa_0_552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427" name="Google Shape;1427;g374da0147aa_0_55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8" name="Google Shape;1428;g374da0147aa_0_55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429" name="Google Shape;1429;g374da0147aa_0_55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0" name="Google Shape;1430;g374da0147aa_0_55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31" name="Google Shape;1431;g374da0147aa_0_552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2" name="Google Shape;1432;g374da0147aa_0_552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33" name="Google Shape;1433;g374da0147aa_0_552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4" name="Google Shape;1434;g374da0147aa_0_552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35" name="Google Shape;1435;g374da0147aa_0_552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6" name="Google Shape;1436;g374da0147aa_0_552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7" name="Google Shape;1437;g374da0147aa_0_55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8" name="Google Shape;1438;g374da0147aa_0_55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Only">
  <p:cSld name="17_Title Only">
    <p:spTree>
      <p:nvGrpSpPr>
        <p:cNvPr id="1" name="Shape 1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0" name="Google Shape;1440;g374da0147aa_0_554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441" name="Google Shape;1441;g374da0147aa_0_55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42" name="Google Shape;1442;g374da0147aa_0_55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443" name="Google Shape;1443;g374da0147aa_0_55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4" name="Google Shape;1444;g374da0147aa_0_55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45" name="Google Shape;1445;g374da0147aa_0_55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6" name="Google Shape;1446;g374da0147aa_0_554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47" name="Google Shape;1447;g374da0147aa_0_55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48" name="Google Shape;1448;g374da0147aa_0_55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End">
  <p:cSld name="17_End">
    <p:spTree>
      <p:nvGrpSpPr>
        <p:cNvPr id="1" name="Shape 1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0" name="Google Shape;1450;g374da0147aa_0_55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51" name="Google Shape;1451;g374da0147aa_0_55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2" name="Google Shape;1452;g374da0147aa_0_55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53" name="Google Shape;1453;g374da0147aa_0_5550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4" name="Google Shape;1454;g374da0147aa_0_555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5" name="Google Shape;1455;g374da0147aa_0_55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56" name="Google Shape;1456;g374da0147aa_0_55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57" name="Google Shape;1457;g374da0147aa_0_55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Blank">
  <p:cSld name="16_Blank">
    <p:spTree>
      <p:nvGrpSpPr>
        <p:cNvPr id="1" name="Shape 1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9" name="Google Shape;1459;g374da0147aa_0_555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0" name="Google Shape;1460;g374da0147aa_0_55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1" name="Google Shape;1461;g374da0147aa_0_55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62" name="Google Shape;1462;g374da0147aa_0_555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463" name="Google Shape;1463;g374da0147aa_0_55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64" name="Google Shape;1464;g374da0147aa_0_55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465" name="Google Shape;1465;g374da0147aa_0_55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6" name="Google Shape;1466;g374da0147aa_0_55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type="title">
  <p:cSld name="TITLE">
    <p:spTree>
      <p:nvGrpSpPr>
        <p:cNvPr id="1" name="Shape 1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8" name="Google Shape;1468;g374da0147aa_0_556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9" name="Google Shape;1469;g374da0147aa_0_556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70" name="Google Shape;1470;g374da0147aa_0_556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71" name="Google Shape;1471;g374da0147aa_0_55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2" name="Google Shape;1472;g374da0147aa_0_55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" name="Google Shape;1474;g374da0147aa_0_5574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5" name="Google Shape;1475;g374da0147aa_0_5574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6" name="Google Shape;1476;g374da0147aa_0_55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77" name="Google Shape;1477;g374da0147aa_0_55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8" name="Google Shape;1478;g374da0147aa_0_55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79" name="Google Shape;1479;g374da0147aa_0_5574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0" name="Google Shape;1480;g374da0147aa_0_5574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1" name="Google Shape;1481;g374da0147aa_0_5574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82" name="Google Shape;1482;g374da0147aa_0_55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Yale Blue">
  <p:cSld name="4_Title Slide_Yale Blue">
    <p:spTree>
      <p:nvGrpSpPr>
        <p:cNvPr id="1" name="Shape 1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" name="Google Shape;1484;g374da0147aa_0_5584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5" name="Google Shape;1485;g374da0147aa_0_5584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6" name="Google Shape;1486;g374da0147aa_0_558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87" name="Google Shape;1487;g374da0147aa_0_55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8" name="Google Shape;1488;g374da0147aa_0_55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89" name="Google Shape;1489;g374da0147aa_0_5584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0" name="Google Shape;1490;g374da0147aa_0_5584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1" name="Google Shape;1491;g374da0147aa_0_5584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92" name="Google Shape;1492;g374da0147aa_0_55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4" name="Google Shape;1494;g374da0147aa_0_5594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5" name="Google Shape;1495;g374da0147aa_0_559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6" name="Google Shape;1496;g374da0147aa_0_559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7" name="Google Shape;1497;g374da0147aa_0_5594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98" name="Google Shape;1498;g374da0147aa_0_559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and Content">
  <p:cSld name="19_Title and Content">
    <p:spTree>
      <p:nvGrpSpPr>
        <p:cNvPr id="1" name="Shape 1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0" name="Google Shape;1500;g374da0147aa_0_560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01" name="Google Shape;1501;g374da0147aa_0_560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502" name="Google Shape;1502;g374da0147aa_0_560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03" name="Google Shape;1503;g374da0147aa_0_5600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4" name="Google Shape;1504;g374da0147aa_0_5600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6" name="Google Shape;1506;g374da0147aa_0_560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07" name="Google Shape;1507;g374da0147aa_0_560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08" name="Google Shape;1508;g374da0147aa_0_5606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9" name="Google Shape;1509;g374da0147aa_0_5606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0" name="Google Shape;1510;g374da0147aa_0_5606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11" name="Google Shape;1511;g374da0147aa_0_560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vider">
  <p:cSld name="1_Divider">
    <p:bg>
      <p:bgPr>
        <a:solidFill>
          <a:schemeClr val="lt2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oogle Shape;129;g374da0147aa_0_422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30" name="Google Shape;130;g374da0147aa_0_42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131;g374da0147aa_0_42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32;g374da0147aa_0_42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3" name="Google Shape;133;g374da0147aa_0_42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4" name="Google Shape;134;g374da0147aa_0_422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g374da0147aa_0_422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Yale Blue">
  <p:cSld name="5_Title Slide_Yale Blue">
    <p:spTree>
      <p:nvGrpSpPr>
        <p:cNvPr id="1" name="Shape 1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3" name="Google Shape;1513;g374da0147aa_0_5613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4" name="Google Shape;1514;g374da0147aa_0_5613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5" name="Google Shape;1515;g374da0147aa_0_561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16" name="Google Shape;1516;g374da0147aa_0_56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7" name="Google Shape;1517;g374da0147aa_0_56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18" name="Google Shape;1518;g374da0147aa_0_5613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9" name="Google Shape;1519;g374da0147aa_0_5613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0" name="Google Shape;1520;g374da0147aa_0_5613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21" name="Google Shape;1521;g374da0147aa_0_56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Bullets Layout">
  <p:cSld name="1_Title and Bullets Layout">
    <p:spTree>
      <p:nvGrpSpPr>
        <p:cNvPr id="1" name="Shape 1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3" name="Google Shape;1523;g374da0147aa_0_5623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4" name="Google Shape;1524;g374da0147aa_0_5623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5" name="Google Shape;1525;g374da0147aa_0_5623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6" name="Google Shape;1526;g374da0147aa_0_5623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27" name="Google Shape;1527;g374da0147aa_0_5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Section | Picture and Copy Layout">
  <p:cSld name="1_Two Section | Picture and Copy Layout">
    <p:spTree>
      <p:nvGrpSpPr>
        <p:cNvPr id="1" name="Shape 15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9" name="Google Shape;1529;g374da0147aa_0_5629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30" name="Google Shape;1530;g374da0147aa_0_5629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31" name="Google Shape;1531;g374da0147aa_0_5629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2" name="Google Shape;1532;g374da0147aa_0_5629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3" name="Google Shape;1533;g374da0147aa_0_5629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34" name="Google Shape;1534;g374da0147aa_0_56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Yale Blue">
  <p:cSld name="6_Title Slide_Yale Blue">
    <p:spTree>
      <p:nvGrpSpPr>
        <p:cNvPr id="1" name="Shape 1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" name="Google Shape;1536;g374da0147aa_0_5636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7" name="Google Shape;1537;g374da0147aa_0_5636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8" name="Google Shape;1538;g374da0147aa_0_56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39" name="Google Shape;1539;g374da0147aa_0_56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0" name="Google Shape;1540;g374da0147aa_0_56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41" name="Google Shape;1541;g374da0147aa_0_5636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2" name="Google Shape;1542;g374da0147aa_0_5636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3" name="Google Shape;1543;g374da0147aa_0_5636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44" name="Google Shape;1544;g374da0147aa_0_56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Yale Blue">
  <p:cSld name="7_Title Slide_Yale Blue">
    <p:spTree>
      <p:nvGrpSpPr>
        <p:cNvPr id="1" name="Shape 15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" name="Google Shape;1546;g374da0147aa_0_5646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7" name="Google Shape;1547;g374da0147aa_0_5646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8" name="Google Shape;1548;g374da0147aa_0_564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49" name="Google Shape;1549;g374da0147aa_0_56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0" name="Google Shape;1550;g374da0147aa_0_56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51" name="Google Shape;1551;g374da0147aa_0_5646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2" name="Google Shape;1552;g374da0147aa_0_5646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3" name="Google Shape;1553;g374da0147aa_0_5646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54" name="Google Shape;1554;g374da0147aa_0_56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_Yale Blue">
  <p:cSld name="8_Title Slide_Yale Blue">
    <p:spTree>
      <p:nvGrpSpPr>
        <p:cNvPr id="1" name="Shape 1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" name="Google Shape;1556;g374da0147aa_0_5656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7" name="Google Shape;1557;g374da0147aa_0_5656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8" name="Google Shape;1558;g374da0147aa_0_56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59" name="Google Shape;1559;g374da0147aa_0_56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0" name="Google Shape;1560;g374da0147aa_0_56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61" name="Google Shape;1561;g374da0147aa_0_5656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62" name="Google Shape;1562;g374da0147aa_0_5656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63" name="Google Shape;1563;g374da0147aa_0_5656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64" name="Google Shape;1564;g374da0147aa_0_56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 Layout">
  <p:cSld name="2_Title and Bullets Layout">
    <p:spTree>
      <p:nvGrpSpPr>
        <p:cNvPr id="1" name="Shape 1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" name="Google Shape;1566;g374da0147aa_0_5666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7" name="Google Shape;1567;g374da0147aa_0_566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68" name="Google Shape;1568;g374da0147aa_0_566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69" name="Google Shape;1569;g374da0147aa_0_5666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70" name="Google Shape;1570;g374da0147aa_0_5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and Content">
  <p:cSld name="21_Title and Content">
    <p:spTree>
      <p:nvGrpSpPr>
        <p:cNvPr id="1" name="Shape 1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g374da0147aa_0_567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73" name="Google Shape;1573;g374da0147aa_0_56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574" name="Google Shape;1574;g374da0147aa_0_567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5" name="Google Shape;1575;g374da0147aa_0_5672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6" name="Google Shape;1576;g374da0147aa_0_5672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Section | Picture and Copy Layout">
  <p:cSld name="2_Two Section | Picture and Copy Layout"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8" name="Google Shape;1578;g374da0147aa_0_567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9" name="Google Shape;1579;g374da0147aa_0_567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80" name="Google Shape;1580;g374da0147aa_0_5678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1" name="Google Shape;1581;g374da0147aa_0_5678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2" name="Google Shape;1582;g374da0147aa_0_5678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83" name="Google Shape;1583;g374da0147aa_0_56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_Yale Blue">
  <p:cSld name="9_Title Slide_Yale Blue">
    <p:spTree>
      <p:nvGrpSpPr>
        <p:cNvPr id="1" name="Shape 15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5" name="Google Shape;1585;g374da0147aa_0_5685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6" name="Google Shape;1586;g374da0147aa_0_5685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7" name="Google Shape;1587;g374da0147aa_0_568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88" name="Google Shape;1588;g374da0147aa_0_56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9" name="Google Shape;1589;g374da0147aa_0_56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90" name="Google Shape;1590;g374da0147aa_0_5685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1" name="Google Shape;1591;g374da0147aa_0_5685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2" name="Google Shape;1592;g374da0147aa_0_5685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93" name="Google Shape;1593;g374da0147aa_0_56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Photo Slide">
  <p:cSld name="1_Photo Slide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374da0147aa_0_423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8" name="Google Shape;138;g374da0147aa_0_423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9" name="Google Shape;139;g374da0147aa_0_423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40" name="Google Shape;140;g374da0147aa_0_42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g374da0147aa_0_42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" name="Google Shape;142;g374da0147aa_0_42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43" name="Google Shape;143;g374da0147aa_0_4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Bullets Layout">
  <p:cSld name="3_Title and Bullets Layout">
    <p:spTree>
      <p:nvGrpSpPr>
        <p:cNvPr id="1" name="Shape 15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5" name="Google Shape;1595;g374da0147aa_0_5695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6" name="Google Shape;1596;g374da0147aa_0_569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7" name="Google Shape;1597;g374da0147aa_0_569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8" name="Google Shape;1598;g374da0147aa_0_5695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99" name="Google Shape;1599;g374da0147aa_0_56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and Content">
  <p:cSld name="22_Title and Content">
    <p:spTree>
      <p:nvGrpSpPr>
        <p:cNvPr id="1" name="Shape 1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1" name="Google Shape;1601;g374da0147aa_0_5701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02" name="Google Shape;1602;g374da0147aa_0_57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03" name="Google Shape;1603;g374da0147aa_0_5701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4" name="Google Shape;1604;g374da0147aa_0_5701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5" name="Google Shape;1605;g374da0147aa_0_5701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Section | Picture and Copy Layout">
  <p:cSld name="3_Two Section | Picture and Copy Layout">
    <p:spTree>
      <p:nvGrpSpPr>
        <p:cNvPr id="1" name="Shape 1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" name="Google Shape;1607;g374da0147aa_0_5707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8" name="Google Shape;1608;g374da0147aa_0_5707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9" name="Google Shape;1609;g374da0147aa_0_5707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0" name="Google Shape;1610;g374da0147aa_0_5707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1" name="Google Shape;1611;g374da0147aa_0_5707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12" name="Google Shape;1612;g374da0147aa_0_57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Slide_Yale Blue">
  <p:cSld name="11_Title Slide_Yale Blue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g374da0147aa_0_5714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5" name="Google Shape;1615;g374da0147aa_0_5714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6" name="Google Shape;1616;g374da0147aa_0_571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17" name="Google Shape;1617;g374da0147aa_0_57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8" name="Google Shape;1618;g374da0147aa_0_57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19" name="Google Shape;1619;g374da0147aa_0_5714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0" name="Google Shape;1620;g374da0147aa_0_5714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1" name="Google Shape;1621;g374da0147aa_0_5714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22" name="Google Shape;1622;g374da0147aa_0_57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Bullets Layout">
  <p:cSld name="4_Title and Bullets Layout">
    <p:spTree>
      <p:nvGrpSpPr>
        <p:cNvPr id="1" name="Shape 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4" name="Google Shape;1624;g374da0147aa_0_5724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5" name="Google Shape;1625;g374da0147aa_0_5724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6" name="Google Shape;1626;g374da0147aa_0_5724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7" name="Google Shape;1627;g374da0147aa_0_5724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28" name="Google Shape;1628;g374da0147aa_0_57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and Content">
  <p:cSld name="23_Title and Content">
    <p:spTree>
      <p:nvGrpSpPr>
        <p:cNvPr id="1" name="Shape 1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0" name="Google Shape;1630;g374da0147aa_0_5730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31" name="Google Shape;1631;g374da0147aa_0_57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32" name="Google Shape;1632;g374da0147aa_0_5730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3" name="Google Shape;1633;g374da0147aa_0_5730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4" name="Google Shape;1634;g374da0147aa_0_5730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Section | Picture and Copy Layout">
  <p:cSld name="4_Two Section | Picture and Copy Layout">
    <p:spTree>
      <p:nvGrpSpPr>
        <p:cNvPr id="1" name="Shape 1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6" name="Google Shape;1636;g374da0147aa_0_5736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" name="Google Shape;1637;g374da0147aa_0_5736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g374da0147aa_0_5736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9" name="Google Shape;1639;g374da0147aa_0_5736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0" name="Google Shape;1640;g374da0147aa_0_5736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41" name="Google Shape;1641;g374da0147aa_0_57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Slide_Yale Blue">
  <p:cSld name="12_Title Slide_Yale Blue">
    <p:spTree>
      <p:nvGrpSpPr>
        <p:cNvPr id="1" name="Shape 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3" name="Google Shape;1643;g374da0147aa_0_5743"/>
          <p:cNvSpPr txBox="1">
            <a:spLocks noGrp="1"/>
          </p:cNvSpPr>
          <p:nvPr>
            <p:ph type="body" idx="1"/>
          </p:nvPr>
        </p:nvSpPr>
        <p:spPr>
          <a:xfrm>
            <a:off x="2826556" y="5400857"/>
            <a:ext cx="8178600" cy="37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4" name="Google Shape;1644;g374da0147aa_0_5743"/>
          <p:cNvSpPr txBox="1">
            <a:spLocks noGrp="1"/>
          </p:cNvSpPr>
          <p:nvPr>
            <p:ph type="ctrTitle"/>
          </p:nvPr>
        </p:nvSpPr>
        <p:spPr>
          <a:xfrm>
            <a:off x="2826556" y="1807152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4"/>
              <a:buFont typeface="Verdana"/>
              <a:buNone/>
              <a:defRPr sz="5334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5" name="Google Shape;1645;g374da0147aa_0_574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6" name="Google Shape;1646;g374da0147aa_0_57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7" name="Google Shape;1647;g374da0147aa_0_57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48" name="Google Shape;1648;g374da0147aa_0_5743"/>
          <p:cNvSpPr/>
          <p:nvPr/>
        </p:nvSpPr>
        <p:spPr>
          <a:xfrm rot="10800000">
            <a:off x="5756" y="1999991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9" name="Google Shape;1649;g374da0147aa_0_5743"/>
          <p:cNvSpPr/>
          <p:nvPr/>
        </p:nvSpPr>
        <p:spPr>
          <a:xfrm>
            <a:off x="0" y="6115052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0" name="Google Shape;1650;g374da0147aa_0_5743"/>
          <p:cNvSpPr txBox="1">
            <a:spLocks noGrp="1"/>
          </p:cNvSpPr>
          <p:nvPr>
            <p:ph type="body" idx="2"/>
          </p:nvPr>
        </p:nvSpPr>
        <p:spPr>
          <a:xfrm>
            <a:off x="2826556" y="3447400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51" name="Google Shape;1651;g374da0147aa_0_57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Bullets Layout">
  <p:cSld name="5_Title and Bullets Layout">
    <p:spTree>
      <p:nvGrpSpPr>
        <p:cNvPr id="1" name="Shape 1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3" name="Google Shape;1653;g374da0147aa_0_5753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4" name="Google Shape;1654;g374da0147aa_0_5753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5" name="Google Shape;1655;g374da0147aa_0_5753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6" name="Google Shape;1656;g374da0147aa_0_5753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57" name="Google Shape;1657;g374da0147aa_0_57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and Content">
  <p:cSld name="24_Title and Content">
    <p:spTree>
      <p:nvGrpSpPr>
        <p:cNvPr id="1" name="Shape 1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9" name="Google Shape;1659;g374da0147aa_0_5759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60" name="Google Shape;1660;g374da0147aa_0_57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61" name="Google Shape;1661;g374da0147aa_0_5759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2" name="Google Shape;1662;g374da0147aa_0_5759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3" name="Google Shape;1663;g374da0147aa_0_5759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g374da0147aa_0_424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" name="Google Shape;146;g374da0147aa_0_424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g374da0147aa_0_42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g374da0147aa_0_424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" name="Google Shape;149;g374da0147aa_0_42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0" name="Google Shape;150;g374da0147aa_0_42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" name="Google Shape;151;g374da0147aa_0_424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52" name="Google Shape;152;g374da0147aa_0_42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" name="Google Shape;153;g374da0147aa_0_42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54" name="Google Shape;154;g374da0147aa_0_42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g374da0147aa_0_42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6" name="Google Shape;156;g374da0147aa_0_424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Section | Picture and Copy Layout">
  <p:cSld name="5_Two Section | Picture and Copy Layout">
    <p:spTree>
      <p:nvGrpSpPr>
        <p:cNvPr id="1" name="Shape 16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5" name="Google Shape;1665;g374da0147aa_0_576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6" name="Google Shape;1666;g374da0147aa_0_576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7" name="Google Shape;1667;g374da0147aa_0_5765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8" name="Google Shape;1668;g374da0147aa_0_5765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9" name="Google Shape;1669;g374da0147aa_0_5765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70" name="Google Shape;1670;g374da0147aa_0_57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Bullets Layout">
  <p:cSld name="7_Title and Bullets Layout">
    <p:spTree>
      <p:nvGrpSpPr>
        <p:cNvPr id="1" name="Shape 1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2" name="Google Shape;1672;g374da0147aa_0_5772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3" name="Google Shape;1673;g374da0147aa_0_5772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4" name="Google Shape;1674;g374da0147aa_0_5772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5" name="Google Shape;1675;g374da0147aa_0_5772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76" name="Google Shape;1676;g374da0147aa_0_57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Section | Picture and Copy Layout">
  <p:cSld name="7_Two Section | Picture and Copy Layout"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8" name="Google Shape;1678;g374da0147aa_0_5778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9" name="Google Shape;1679;g374da0147aa_0_5778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0" name="Google Shape;1680;g374da0147aa_0_5778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1" name="Google Shape;1681;g374da0147aa_0_5778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2" name="Google Shape;1682;g374da0147aa_0_5778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83" name="Google Shape;1683;g374da0147aa_0_57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and Content">
  <p:cSld name="26_Title and Content">
    <p:spTree>
      <p:nvGrpSpPr>
        <p:cNvPr id="1" name="Shape 1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5" name="Google Shape;1685;g374da0147aa_0_578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86" name="Google Shape;1686;g374da0147aa_0_57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87" name="Google Shape;1687;g374da0147aa_0_578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8" name="Google Shape;1688;g374da0147aa_0_5785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9" name="Google Shape;1689;g374da0147aa_0_5785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ver">
  <p:cSld name="18_Cover">
    <p:spTree>
      <p:nvGrpSpPr>
        <p:cNvPr id="1" name="Shape 1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1" name="Google Shape;1691;g374da0147aa_0_5791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2" name="Google Shape;1692;g374da0147aa_0_5791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3" name="Google Shape;1693;g374da0147aa_0_5791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94" name="Google Shape;1694;g374da0147aa_0_57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95" name="Google Shape;1695;g374da0147aa_0_5791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696" name="Google Shape;1696;g374da0147aa_0_57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7" name="Google Shape;1697;g374da0147aa_0_579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8" name="Google Shape;1698;g374da0147aa_0_57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Divider">
  <p:cSld name="18_Divider">
    <p:bg>
      <p:bgPr>
        <a:solidFill>
          <a:schemeClr val="lt2"/>
        </a:solidFill>
        <a:effectLst/>
      </p:bgPr>
    </p:bg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0" name="Google Shape;1700;g374da0147aa_0_5800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701" name="Google Shape;1701;g374da0147aa_0_580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2" name="Google Shape;1702;g374da0147aa_0_58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3" name="Google Shape;1703;g374da0147aa_0_580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04" name="Google Shape;1704;g374da0147aa_0_58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05" name="Google Shape;1705;g374da0147aa_0_5800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6" name="Google Shape;1706;g374da0147aa_0_5800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Photo Slide">
  <p:cSld name="18_Photo Slide">
    <p:spTree>
      <p:nvGrpSpPr>
        <p:cNvPr id="1" name="Shape 1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8" name="Google Shape;1708;g374da0147aa_0_580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9" name="Google Shape;1709;g374da0147aa_0_580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10" name="Google Shape;1710;g374da0147aa_0_580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711" name="Google Shape;1711;g374da0147aa_0_580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2" name="Google Shape;1712;g374da0147aa_0_580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13" name="Google Shape;1713;g374da0147aa_0_580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714" name="Google Shape;1714;g374da0147aa_0_58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Quotation">
  <p:cSld name="45_Quotation">
    <p:spTree>
      <p:nvGrpSpPr>
        <p:cNvPr id="1" name="Shape 1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6" name="Google Shape;1716;g374da0147aa_0_581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7" name="Google Shape;1717;g374da0147aa_0_581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8" name="Google Shape;1718;g374da0147aa_0_58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9" name="Google Shape;1719;g374da0147aa_0_581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0" name="Google Shape;1720;g374da0147aa_0_58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1" name="Google Shape;1721;g374da0147aa_0_58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22" name="Google Shape;1722;g374da0147aa_0_581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23" name="Google Shape;1723;g374da0147aa_0_58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24" name="Google Shape;1724;g374da0147aa_0_58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25" name="Google Shape;1725;g374da0147aa_0_58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6" name="Google Shape;1726;g374da0147aa_0_58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27" name="Google Shape;1727;g374da0147aa_0_581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and Content">
  <p:cSld name="28_Title and Content">
    <p:spTree>
      <p:nvGrpSpPr>
        <p:cNvPr id="1" name="Shape 1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9" name="Google Shape;1729;g374da0147aa_0_582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30" name="Google Shape;1730;g374da0147aa_0_58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1" name="Google Shape;1731;g374da0147aa_0_582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32" name="Google Shape;1732;g374da0147aa_0_58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3" name="Google Shape;1733;g374da0147aa_0_58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34" name="Google Shape;1734;g374da0147aa_0_58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g374da0147aa_0_58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6" name="Google Shape;1736;g374da0147aa_0_582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7" name="Google Shape;1737;g374da0147aa_0_58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8" name="Google Shape;1738;g374da0147aa_0_58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wo Content">
  <p:cSld name="18_Two Content"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" name="Google Shape;1740;g374da0147aa_0_58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1" name="Google Shape;1741;g374da0147aa_0_584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42" name="Google Shape;1742;g374da0147aa_0_584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43" name="Google Shape;1743;g374da0147aa_0_58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4" name="Google Shape;1744;g374da0147aa_0_58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45" name="Google Shape;1745;g374da0147aa_0_58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6" name="Google Shape;1746;g374da0147aa_0_58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47" name="Google Shape;1747;g374da0147aa_0_584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8" name="Google Shape;1748;g374da0147aa_0_584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9" name="Google Shape;1749;g374da0147aa_0_58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0" name="Google Shape;1750;g374da0147aa_0_58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oogle Shape;158;g374da0147aa_0_425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59" name="Google Shape;159;g374da0147aa_0_42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" name="Google Shape;160;g374da0147aa_0_425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61" name="Google Shape;161;g374da0147aa_0_42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g374da0147aa_0_42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" name="Google Shape;163;g374da0147aa_0_42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g374da0147aa_0_42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g374da0147aa_0_425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" name="Google Shape;166;g374da0147aa_0_42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" name="Google Shape;167;g374da0147aa_0_42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omparison">
  <p:cSld name="18_Comparison">
    <p:spTree>
      <p:nvGrpSpPr>
        <p:cNvPr id="1" name="Shape 1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52" name="Google Shape;1752;g374da0147aa_0_585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53" name="Google Shape;1753;g374da0147aa_0_58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4" name="Google Shape;1754;g374da0147aa_0_585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55" name="Google Shape;1755;g374da0147aa_0_58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6" name="Google Shape;1756;g374da0147aa_0_58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57" name="Google Shape;1757;g374da0147aa_0_585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8" name="Google Shape;1758;g374da0147aa_0_585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9" name="Google Shape;1759;g374da0147aa_0_585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0" name="Google Shape;1760;g374da0147aa_0_585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61" name="Google Shape;1761;g374da0147aa_0_585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2" name="Google Shape;1762;g374da0147aa_0_585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3" name="Google Shape;1763;g374da0147aa_0_58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4" name="Google Shape;1764;g374da0147aa_0_58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Only">
  <p:cSld name="18_Title Only">
    <p:spTree>
      <p:nvGrpSpPr>
        <p:cNvPr id="1" name="Shape 1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6" name="Google Shape;1766;g374da0147aa_0_58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67" name="Google Shape;1767;g374da0147aa_0_58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8" name="Google Shape;1768;g374da0147aa_0_58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69" name="Google Shape;1769;g374da0147aa_0_58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0" name="Google Shape;1770;g374da0147aa_0_58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1" name="Google Shape;1771;g374da0147aa_0_58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2" name="Google Shape;1772;g374da0147aa_0_58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3" name="Google Shape;1773;g374da0147aa_0_58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4" name="Google Shape;1774;g374da0147aa_0_58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End">
  <p:cSld name="18_End">
    <p:spTree>
      <p:nvGrpSpPr>
        <p:cNvPr id="1" name="Shape 17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6" name="Google Shape;1776;g374da0147aa_0_587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77" name="Google Shape;1777;g374da0147aa_0_587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8" name="Google Shape;1778;g374da0147aa_0_587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79" name="Google Shape;1779;g374da0147aa_0_587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80" name="Google Shape;1780;g374da0147aa_0_587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1" name="Google Shape;1781;g374da0147aa_0_587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2" name="Google Shape;1782;g374da0147aa_0_58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83" name="Google Shape;1783;g374da0147aa_0_58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Blank">
  <p:cSld name="17_Blank">
    <p:spTree>
      <p:nvGrpSpPr>
        <p:cNvPr id="1" name="Shape 17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5" name="Google Shape;1785;g374da0147aa_0_588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6" name="Google Shape;1786;g374da0147aa_0_58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7" name="Google Shape;1787;g374da0147aa_0_58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88" name="Google Shape;1788;g374da0147aa_0_588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89" name="Google Shape;1789;g374da0147aa_0_58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0" name="Google Shape;1790;g374da0147aa_0_588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91" name="Google Shape;1791;g374da0147aa_0_58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2" name="Google Shape;1792;g374da0147aa_0_58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3_Title Slide">
    <p:spTree>
      <p:nvGrpSpPr>
        <p:cNvPr id="1" name="Shape 17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4" name="Google Shape;1794;g374da0147aa_0_5894"/>
          <p:cNvSpPr/>
          <p:nvPr/>
        </p:nvSpPr>
        <p:spPr>
          <a:xfrm>
            <a:off x="-21166" y="6629400"/>
            <a:ext cx="12213300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95" name="Google Shape;1795;g374da0147aa_0_589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9"/>
            <a:ext cx="3706283" cy="18139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96" name="Google Shape;1796;g374da0147aa_0_5894"/>
          <p:cNvGrpSpPr/>
          <p:nvPr/>
        </p:nvGrpSpPr>
        <p:grpSpPr>
          <a:xfrm>
            <a:off x="1" y="0"/>
            <a:ext cx="1862644" cy="6629629"/>
            <a:chOff x="-15876" y="0"/>
            <a:chExt cx="1927803" cy="6858001"/>
          </a:xfrm>
        </p:grpSpPr>
        <p:sp>
          <p:nvSpPr>
            <p:cNvPr id="1797" name="Google Shape;1797;g374da0147aa_0_5894"/>
            <p:cNvSpPr/>
            <p:nvPr/>
          </p:nvSpPr>
          <p:spPr>
            <a:xfrm>
              <a:off x="-15876" y="0"/>
              <a:ext cx="1844700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98" name="Google Shape;1798;g374da0147aa_0_5894"/>
            <p:cNvPicPr preferRelativeResize="0"/>
            <p:nvPr/>
          </p:nvPicPr>
          <p:blipFill rotWithShape="1">
            <a:blip r:embed="rId3">
              <a:alphaModFix/>
            </a:blip>
            <a:srcRect l="7217" t="16937" r="72250" b="20586"/>
            <a:stretch/>
          </p:blipFill>
          <p:spPr>
            <a:xfrm>
              <a:off x="-15876" y="0"/>
              <a:ext cx="1927803" cy="685800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799" name="Google Shape;1799;g374da0147aa_0_589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0" name="Google Shape;1800;g374da0147aa_0_5894"/>
          <p:cNvSpPr txBox="1">
            <a:spLocks noGrp="1"/>
          </p:cNvSpPr>
          <p:nvPr>
            <p:ph type="ctrTitle"/>
          </p:nvPr>
        </p:nvSpPr>
        <p:spPr>
          <a:xfrm>
            <a:off x="1621873" y="1806430"/>
            <a:ext cx="10189800" cy="22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4"/>
              <a:buFont typeface="Calibri"/>
              <a:buNone/>
              <a:defRPr sz="5334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1" name="Google Shape;1801;g374da0147aa_0_589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2" name="Google Shape;1802;g374da0147aa_0_589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4" name="Google Shape;1804;g374da0147aa_0_5904"/>
          <p:cNvSpPr/>
          <p:nvPr/>
        </p:nvSpPr>
        <p:spPr>
          <a:xfrm>
            <a:off x="-10584" y="6620934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5" name="Google Shape;1805;g374da0147aa_0_5904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6" name="Google Shape;1806;g374da0147aa_0_5904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7" name="Google Shape;1807;g374da0147aa_0_5904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8" name="Google Shape;1808;g374da0147aa_0_59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809" name="Google Shape;1809;g374da0147aa_0_590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ver">
  <p:cSld name="6_Cover">
    <p:spTree>
      <p:nvGrpSpPr>
        <p:cNvPr id="1" name="Shape 1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1" name="Google Shape;1811;g374da0147aa_0_5911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2" name="Google Shape;1812;g374da0147aa_0_591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3" name="Google Shape;1813;g374da0147aa_0_591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14" name="Google Shape;1814;g374da0147aa_0_591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15" name="Google Shape;1815;g374da0147aa_0_591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16" name="Google Shape;1816;g374da0147aa_0_591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7" name="Google Shape;1817;g374da0147aa_0_591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18" name="Google Shape;1818;g374da0147aa_0_59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Quotation">
  <p:cSld name="9_Quotation">
    <p:spTree>
      <p:nvGrpSpPr>
        <p:cNvPr id="1" name="Shape 1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0" name="Google Shape;1820;g374da0147aa_0_592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1" name="Google Shape;1821;g374da0147aa_0_59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2" name="Google Shape;1822;g374da0147aa_0_59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3" name="Google Shape;1823;g374da0147aa_0_59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24" name="Google Shape;1824;g374da0147aa_0_59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5" name="Google Shape;1825;g374da0147aa_0_59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26" name="Google Shape;1826;g374da0147aa_0_592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827" name="Google Shape;1827;g374da0147aa_0_59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8" name="Google Shape;1828;g374da0147aa_0_592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829" name="Google Shape;1829;g374da0147aa_0_59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0" name="Google Shape;1830;g374da0147aa_0_59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31" name="Google Shape;1831;g374da0147aa_0_59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lt2"/>
        </a:solidFill>
        <a:effectLst/>
      </p:bgPr>
    </p:bg>
    <p:spTree>
      <p:nvGrpSpPr>
        <p:cNvPr id="1" name="Shape 1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3" name="Google Shape;1833;g374da0147aa_0_59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4" name="Google Shape;1834;g374da0147aa_0_59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5" name="Google Shape;1835;g374da0147aa_0_59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6" name="Google Shape;1836;g374da0147aa_0_59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7" name="Google Shape;1837;g374da0147aa_0_59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38" name="Google Shape;1838;g374da0147aa_0_59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9" name="Google Shape;1839;g374da0147aa_0_59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1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1" name="Google Shape;1841;g374da0147aa_0_594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842" name="Google Shape;1842;g374da0147aa_0_59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43" name="Google Shape;1843;g374da0147aa_0_59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844" name="Google Shape;1844;g374da0147aa_0_59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5" name="Google Shape;1845;g374da0147aa_0_59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46" name="Google Shape;1846;g374da0147aa_0_59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7" name="Google Shape;1847;g374da0147aa_0_594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8" name="Google Shape;1848;g374da0147aa_0_59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49" name="Google Shape;1849;g374da0147aa_0_59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0" name="Google Shape;1850;g374da0147aa_0_59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g374da0147aa_0_426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g374da0147aa_0_426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g374da0147aa_0_426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g374da0147aa_0_426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" name="Google Shape;173;g374da0147aa_0_42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" name="Google Shape;174;g374da0147aa_0_42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5" name="Google Shape;175;g374da0147aa_0_426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76" name="Google Shape;176;g374da0147aa_0_42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7" name="Google Shape;177;g374da0147aa_0_426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78" name="Google Shape;178;g374da0147aa_0_42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179;g374da0147aa_0_42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0" name="Google Shape;180;g374da0147aa_0_426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>
  <p:cSld name="4_Two Content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g374da0147aa_0_59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3" name="Google Shape;1853;g374da0147aa_0_59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54" name="Google Shape;1854;g374da0147aa_0_595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855" name="Google Shape;1855;g374da0147aa_0_59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56" name="Google Shape;1856;g374da0147aa_0_595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857" name="Google Shape;1857;g374da0147aa_0_59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8" name="Google Shape;1858;g374da0147aa_0_59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59" name="Google Shape;1859;g374da0147aa_0_595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0" name="Google Shape;1860;g374da0147aa_0_595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1" name="Google Shape;1861;g374da0147aa_0_59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62" name="Google Shape;1862;g374da0147aa_0_59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mparison">
  <p:cSld name="4_Comparison">
    <p:spTree>
      <p:nvGrpSpPr>
        <p:cNvPr id="1" name="Shape 1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4" name="Google Shape;1864;g374da0147aa_0_596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865" name="Google Shape;1865;g374da0147aa_0_59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6" name="Google Shape;1866;g374da0147aa_0_59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867" name="Google Shape;1867;g374da0147aa_0_59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8" name="Google Shape;1868;g374da0147aa_0_59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69" name="Google Shape;1869;g374da0147aa_0_59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0" name="Google Shape;1870;g374da0147aa_0_596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871" name="Google Shape;1871;g374da0147aa_0_596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72" name="Google Shape;1872;g374da0147aa_0_596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873" name="Google Shape;1873;g374da0147aa_0_596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74" name="Google Shape;1874;g374da0147aa_0_59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75" name="Google Shape;1875;g374da0147aa_0_59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6" name="Google Shape;1876;g374da0147aa_0_59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ver">
  <p:cSld name="11_Cover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8" name="Google Shape;1878;g374da0147aa_0_5978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9" name="Google Shape;1879;g374da0147aa_0_59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0" name="Google Shape;1880;g374da0147aa_0_59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81" name="Google Shape;1881;g374da0147aa_0_59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82" name="Google Shape;1882;g374da0147aa_0_59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83" name="Google Shape;1883;g374da0147aa_0_59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4" name="Google Shape;1884;g374da0147aa_0_59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85" name="Google Shape;1885;g374da0147aa_0_59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Divider">
  <p:cSld name="11_Divider">
    <p:bg>
      <p:bgPr>
        <a:solidFill>
          <a:schemeClr val="lt2"/>
        </a:solidFill>
        <a:effectLst/>
      </p:bgPr>
    </p:bg>
    <p:spTree>
      <p:nvGrpSpPr>
        <p:cNvPr id="1" name="Shape 1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87" name="Google Shape;1887;g374da0147aa_0_59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88" name="Google Shape;1888;g374da0147aa_0_59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9" name="Google Shape;1889;g374da0147aa_0_59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0" name="Google Shape;1890;g374da0147aa_0_59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91" name="Google Shape;1891;g374da0147aa_0_59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92" name="Google Shape;1892;g374da0147aa_0_59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3" name="Google Shape;1893;g374da0147aa_0_59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Photo Slide">
  <p:cSld name="4_Photo Slide">
    <p:spTree>
      <p:nvGrpSpPr>
        <p:cNvPr id="1" name="Shape 1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5" name="Google Shape;1895;g374da0147aa_0_599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96" name="Google Shape;1896;g374da0147aa_0_599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97" name="Google Shape;1897;g374da0147aa_0_599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8" name="Google Shape;1898;g374da0147aa_0_599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9" name="Google Shape;1899;g374da0147aa_0_599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00" name="Google Shape;1900;g374da0147aa_0_599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901" name="Google Shape;1901;g374da0147aa_0_59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Quotation">
  <p:cSld name="18_Quotation">
    <p:spTree>
      <p:nvGrpSpPr>
        <p:cNvPr id="1" name="Shape 1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3" name="Google Shape;1903;g374da0147aa_0_600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4" name="Google Shape;1904;g374da0147aa_0_60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5" name="Google Shape;1905;g374da0147aa_0_60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6" name="Google Shape;1906;g374da0147aa_0_60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07" name="Google Shape;1907;g374da0147aa_0_60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08" name="Google Shape;1908;g374da0147aa_0_60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09" name="Google Shape;1909;g374da0147aa_0_600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910" name="Google Shape;1910;g374da0147aa_0_60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1" name="Google Shape;1911;g374da0147aa_0_60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12" name="Google Shape;1912;g374da0147aa_0_60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3" name="Google Shape;1913;g374da0147aa_0_60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14" name="Google Shape;1914;g374da0147aa_0_600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spTree>
      <p:nvGrpSpPr>
        <p:cNvPr id="1" name="Shape 19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6" name="Google Shape;1916;g374da0147aa_0_601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917" name="Google Shape;1917;g374da0147aa_0_60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8" name="Google Shape;1918;g374da0147aa_0_60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19" name="Google Shape;1919;g374da0147aa_0_60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0" name="Google Shape;1920;g374da0147aa_0_60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1" name="Google Shape;1921;g374da0147aa_0_60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2" name="Google Shape;1922;g374da0147aa_0_60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3" name="Google Shape;1923;g374da0147aa_0_60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4" name="Google Shape;1924;g374da0147aa_0_60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5" name="Google Shape;1925;g374da0147aa_0_60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Quotation">
  <p:cSld name="21_Quotation">
    <p:spTree>
      <p:nvGrpSpPr>
        <p:cNvPr id="1" name="Shape 1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7" name="Google Shape;1927;g374da0147aa_0_6027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8" name="Google Shape;1928;g374da0147aa_0_60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9" name="Google Shape;1929;g374da0147aa_0_60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0" name="Google Shape;1930;g374da0147aa_0_60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1" name="Google Shape;1931;g374da0147aa_0_60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2" name="Google Shape;1932;g374da0147aa_0_60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3" name="Google Shape;1933;g374da0147aa_0_602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934" name="Google Shape;1934;g374da0147aa_0_60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5" name="Google Shape;1935;g374da0147aa_0_602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36" name="Google Shape;1936;g374da0147aa_0_60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7" name="Google Shape;1937;g374da0147aa_0_60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38" name="Google Shape;1938;g374da0147aa_0_60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Photo Slide">
  <p:cSld name="11_Photo Slide">
    <p:spTree>
      <p:nvGrpSpPr>
        <p:cNvPr id="1" name="Shape 1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0" name="Google Shape;1940;g374da0147aa_0_60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941" name="Google Shape;1941;g374da0147aa_0_604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942" name="Google Shape;1942;g374da0147aa_0_60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943" name="Google Shape;1943;g374da0147aa_0_60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4" name="Google Shape;1944;g374da0147aa_0_60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45" name="Google Shape;1945;g374da0147aa_0_60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946" name="Google Shape;1946;g374da0147aa_0_60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End">
  <p:cSld name="10_End">
    <p:spTree>
      <p:nvGrpSpPr>
        <p:cNvPr id="1" name="Shape 1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8" name="Google Shape;1948;g374da0147aa_0_604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49" name="Google Shape;1949;g374da0147aa_0_604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0" name="Google Shape;1950;g374da0147aa_0_604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51" name="Google Shape;1951;g374da0147aa_0_6048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2" name="Google Shape;1952;g374da0147aa_0_604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3" name="Google Shape;1953;g374da0147aa_0_604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54" name="Google Shape;1954;g374da0147aa_0_60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55" name="Google Shape;1955;g374da0147aa_0_60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8"/>
          <p:cNvSpPr txBox="1">
            <a:spLocks noGrp="1"/>
          </p:cNvSpPr>
          <p:nvPr>
            <p:ph type="ctrTitle"/>
          </p:nvPr>
        </p:nvSpPr>
        <p:spPr>
          <a:xfrm>
            <a:off x="978852" y="1867788"/>
            <a:ext cx="8634095" cy="1128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8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38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38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38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1pPr>
            <a:lvl2pPr lvl="1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2pPr>
            <a:lvl3pPr lvl="2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3pPr>
            <a:lvl4pPr lvl="3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4pPr>
            <a:lvl5pPr lvl="4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5pPr>
            <a:lvl6pPr lvl="5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6pPr>
            <a:lvl7pPr lvl="6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7pPr>
            <a:lvl8pPr lvl="7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8pPr>
            <a:lvl9pPr lvl="8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g374da0147aa_0_4282"/>
          <p:cNvSpPr txBox="1">
            <a:spLocks noGrp="1"/>
          </p:cNvSpPr>
          <p:nvPr>
            <p:ph type="ctrTitle"/>
          </p:nvPr>
        </p:nvSpPr>
        <p:spPr>
          <a:xfrm>
            <a:off x="513349" y="2633534"/>
            <a:ext cx="51945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g374da0147aa_0_4282"/>
          <p:cNvSpPr txBox="1">
            <a:spLocks noGrp="1"/>
          </p:cNvSpPr>
          <p:nvPr>
            <p:ph type="subTitle" idx="1"/>
          </p:nvPr>
        </p:nvSpPr>
        <p:spPr>
          <a:xfrm>
            <a:off x="513349" y="5400326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4" name="Google Shape;184;g374da0147aa_0_4282"/>
          <p:cNvGrpSpPr/>
          <p:nvPr/>
        </p:nvGrpSpPr>
        <p:grpSpPr>
          <a:xfrm flipH="1">
            <a:off x="224" y="2"/>
            <a:ext cx="6418638" cy="1509802"/>
            <a:chOff x="7522541" y="1"/>
            <a:chExt cx="4669459" cy="1098357"/>
          </a:xfrm>
        </p:grpSpPr>
        <p:sp>
          <p:nvSpPr>
            <p:cNvPr id="185" name="Google Shape;185;g374da0147aa_0_4282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g374da0147aa_0_4282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7" name="Google Shape;187;g374da0147aa_0_42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6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Blank">
  <p:cSld name="9_Blank">
    <p:spTree>
      <p:nvGrpSpPr>
        <p:cNvPr id="1" name="Shape 19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7" name="Google Shape;1957;g374da0147aa_0_60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8" name="Google Shape;1958;g374da0147aa_0_60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59" name="Google Shape;1959;g374da0147aa_0_60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0" name="Google Shape;1960;g374da0147aa_0_605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961" name="Google Shape;1961;g374da0147aa_0_60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2" name="Google Shape;1962;g374da0147aa_0_605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63" name="Google Shape;1963;g374da0147aa_0_60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4" name="Google Shape;1964;g374da0147aa_0_60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19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66" name="Google Shape;1966;g374da0147aa_0_606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1967" name="Google Shape;1967;g374da0147aa_0_60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8" name="Google Shape;1968;g374da0147aa_0_60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969" name="Google Shape;1969;g374da0147aa_0_60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0" name="Google Shape;1970;g374da0147aa_0_60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71" name="Google Shape;1971;g374da0147aa_0_60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2" name="Google Shape;1972;g374da0147aa_0_60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73" name="Google Shape;1973;g374da0147aa_0_60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74" name="Google Shape;1974;g374da0147aa_0_60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 B">
  <p:cSld name="1_Cover B">
    <p:spTree>
      <p:nvGrpSpPr>
        <p:cNvPr id="1" name="Shape 19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" name="Google Shape;1976;g374da0147aa_0_6076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5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7" name="Google Shape;1977;g374da0147aa_0_6076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978" name="Google Shape;1978;g374da0147aa_0_6076"/>
          <p:cNvGrpSpPr/>
          <p:nvPr/>
        </p:nvGrpSpPr>
        <p:grpSpPr>
          <a:xfrm flipH="1">
            <a:off x="224" y="1"/>
            <a:ext cx="6418638" cy="1509802"/>
            <a:chOff x="7522541" y="1"/>
            <a:chExt cx="4669459" cy="1098357"/>
          </a:xfrm>
        </p:grpSpPr>
        <p:sp>
          <p:nvSpPr>
            <p:cNvPr id="1979" name="Google Shape;1979;g374da0147aa_0_6076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0" name="Google Shape;1980;g374da0147aa_0_6076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981" name="Google Shape;1981;g374da0147aa_0_607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Divider">
  <p:cSld name="12_Divider">
    <p:bg>
      <p:bgPr>
        <a:solidFill>
          <a:schemeClr val="lt2"/>
        </a:solidFill>
        <a:effectLst/>
      </p:bgPr>
    </p:bg>
    <p:spTree>
      <p:nvGrpSpPr>
        <p:cNvPr id="1" name="Shape 1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3" name="Google Shape;1983;g374da0147aa_0_608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984" name="Google Shape;1984;g374da0147aa_0_608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5" name="Google Shape;1985;g374da0147aa_0_60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6" name="Google Shape;1986;g374da0147aa_0_608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87" name="Google Shape;1987;g374da0147aa_0_60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988" name="Google Shape;1988;g374da0147aa_0_608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9" name="Google Shape;1989;g374da0147aa_0_608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Photo Slide">
  <p:cSld name="12_Photo Slide">
    <p:spTree>
      <p:nvGrpSpPr>
        <p:cNvPr id="1" name="Shape 19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1" name="Google Shape;1991;g374da0147aa_0_60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992" name="Google Shape;1992;g374da0147aa_0_609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993" name="Google Shape;1993;g374da0147aa_0_60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994" name="Google Shape;1994;g374da0147aa_0_60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5" name="Google Shape;1995;g374da0147aa_0_60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96" name="Google Shape;1996;g374da0147aa_0_60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1997" name="Google Shape;1997;g374da0147aa_0_60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Quotation">
  <p:cSld name="22_Quotation">
    <p:spTree>
      <p:nvGrpSpPr>
        <p:cNvPr id="1" name="Shape 1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9" name="Google Shape;1999;g374da0147aa_0_6099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0" name="Google Shape;2000;g374da0147aa_0_60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1" name="Google Shape;2001;g374da0147aa_0_60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2" name="Google Shape;2002;g374da0147aa_0_60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03" name="Google Shape;2003;g374da0147aa_0_60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04" name="Google Shape;2004;g374da0147aa_0_60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05" name="Google Shape;2005;g374da0147aa_0_609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06" name="Google Shape;2006;g374da0147aa_0_60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7" name="Google Shape;2007;g374da0147aa_0_609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08" name="Google Shape;2008;g374da0147aa_0_60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9" name="Google Shape;2009;g374da0147aa_0_60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10" name="Google Shape;2010;g374da0147aa_0_609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Content">
  <p:cSld name="12_Title and Content">
    <p:spTree>
      <p:nvGrpSpPr>
        <p:cNvPr id="1" name="Shape 2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12" name="Google Shape;2012;g374da0147aa_0_611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13" name="Google Shape;2013;g374da0147aa_0_6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14" name="Google Shape;2014;g374da0147aa_0_61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15" name="Google Shape;2015;g374da0147aa_0_6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6" name="Google Shape;2016;g374da0147aa_0_6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17" name="Google Shape;2017;g374da0147aa_0_6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8" name="Google Shape;2018;g374da0147aa_0_6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19" name="Google Shape;2019;g374da0147aa_0_61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20" name="Google Shape;2020;g374da0147aa_0_6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21" name="Google Shape;2021;g374da0147aa_0_6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Content">
  <p:cSld name="11_Two Content">
    <p:spTree>
      <p:nvGrpSpPr>
        <p:cNvPr id="1" name="Shape 20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3" name="Google Shape;2023;g374da0147aa_0_61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4" name="Google Shape;2024;g374da0147aa_0_61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025" name="Google Shape;2025;g374da0147aa_0_612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26" name="Google Shape;2026;g374da0147aa_0_6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7" name="Google Shape;2027;g374da0147aa_0_612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28" name="Google Shape;2028;g374da0147aa_0_6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9" name="Google Shape;2029;g374da0147aa_0_6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30" name="Google Shape;2030;g374da0147aa_0_612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31" name="Google Shape;2031;g374da0147aa_0_612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32" name="Google Shape;2032;g374da0147aa_0_6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33" name="Google Shape;2033;g374da0147aa_0_6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mparison">
  <p:cSld name="11_Comparison">
    <p:spTree>
      <p:nvGrpSpPr>
        <p:cNvPr id="1" name="Shape 20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35" name="Google Shape;2035;g374da0147aa_0_613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36" name="Google Shape;2036;g374da0147aa_0_6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37" name="Google Shape;2037;g374da0147aa_0_61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38" name="Google Shape;2038;g374da0147aa_0_6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9" name="Google Shape;2039;g374da0147aa_0_6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40" name="Google Shape;2040;g374da0147aa_0_61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1" name="Google Shape;2041;g374da0147aa_0_613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042" name="Google Shape;2042;g374da0147aa_0_613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3" name="Google Shape;2043;g374da0147aa_0_613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044" name="Google Shape;2044;g374da0147aa_0_613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5" name="Google Shape;2045;g374da0147aa_0_6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46" name="Google Shape;2046;g374da0147aa_0_6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47" name="Google Shape;2047;g374da0147aa_0_6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Only">
  <p:cSld name="11_Title Only">
    <p:spTree>
      <p:nvGrpSpPr>
        <p:cNvPr id="1" name="Shape 2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9" name="Google Shape;2049;g374da0147aa_0_614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50" name="Google Shape;2050;g374da0147aa_0_61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51" name="Google Shape;2051;g374da0147aa_0_614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52" name="Google Shape;2052;g374da0147aa_0_6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g374da0147aa_0_6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g374da0147aa_0_61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5" name="Google Shape;2055;g374da0147aa_0_6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56" name="Google Shape;2056;g374da0147aa_0_6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57" name="Google Shape;2057;g374da0147aa_0_6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ver">
  <p:cSld name="2_Cover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g374da0147aa_0_4289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" name="Google Shape;190;g374da0147aa_0_4289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g374da0147aa_0_4289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92" name="Google Shape;192;g374da0147aa_0_42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3" name="Google Shape;193;g374da0147aa_0_4289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194" name="Google Shape;194;g374da0147aa_0_42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g374da0147aa_0_428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6" name="Google Shape;196;g374da0147aa_0_42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End">
  <p:cSld name="11_End"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9" name="Google Shape;2059;g374da0147aa_0_615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060" name="Google Shape;2060;g374da0147aa_0_615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1" name="Google Shape;2061;g374da0147aa_0_615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062" name="Google Shape;2062;g374da0147aa_0_6159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3" name="Google Shape;2063;g374da0147aa_0_615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64" name="Google Shape;2064;g374da0147aa_0_615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65" name="Google Shape;2065;g374da0147aa_0_6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066" name="Google Shape;2066;g374da0147aa_0_61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Blank">
  <p:cSld name="10_Blank">
    <p:spTree>
      <p:nvGrpSpPr>
        <p:cNvPr id="1" name="Shape 2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" name="Google Shape;2068;g374da0147aa_0_6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69" name="Google Shape;2069;g374da0147aa_0_61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70" name="Google Shape;2070;g374da0147aa_0_61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71" name="Google Shape;2071;g374da0147aa_0_616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072" name="Google Shape;2072;g374da0147aa_0_61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73" name="Google Shape;2073;g374da0147aa_0_616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074" name="Google Shape;2074;g374da0147aa_0_61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5" name="Google Shape;2075;g374da0147aa_0_61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ver">
  <p:cSld name="12_Cover">
    <p:spTree>
      <p:nvGrpSpPr>
        <p:cNvPr id="1" name="Shape 2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7" name="Google Shape;2077;g374da0147aa_0_6177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8" name="Google Shape;2078;g374da0147aa_0_617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9" name="Google Shape;2079;g374da0147aa_0_617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080" name="Google Shape;2080;g374da0147aa_0_61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081" name="Google Shape;2081;g374da0147aa_0_617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82" name="Google Shape;2082;g374da0147aa_0_61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3" name="Google Shape;2083;g374da0147aa_0_617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84" name="Google Shape;2084;g374da0147aa_0_61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">
  <p:cSld name="13_Divider">
    <p:bg>
      <p:bgPr>
        <a:solidFill>
          <a:schemeClr val="lt2"/>
        </a:solidFill>
        <a:effectLst/>
      </p:bgPr>
    </p:bg>
    <p:spTree>
      <p:nvGrpSpPr>
        <p:cNvPr id="1" name="Shape 2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6" name="Google Shape;2086;g374da0147aa_0_618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087" name="Google Shape;2087;g374da0147aa_0_618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8" name="Google Shape;2088;g374da0147aa_0_6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g374da0147aa_0_618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90" name="Google Shape;2090;g374da0147aa_0_61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91" name="Google Shape;2091;g374da0147aa_0_618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2" name="Google Shape;2092;g374da0147aa_0_618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Quotation">
  <p:cSld name="24_Quotation">
    <p:spTree>
      <p:nvGrpSpPr>
        <p:cNvPr id="1" name="Shape 2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4" name="Google Shape;2094;g374da0147aa_0_6194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5" name="Google Shape;2095;g374da0147aa_0_61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6" name="Google Shape;2096;g374da0147aa_0_61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97" name="Google Shape;2097;g374da0147aa_0_6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98" name="Google Shape;2098;g374da0147aa_0_6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99" name="Google Shape;2099;g374da0147aa_0_6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00" name="Google Shape;2100;g374da0147aa_0_619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01" name="Google Shape;2101;g374da0147aa_0_6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02" name="Google Shape;2102;g374da0147aa_0_619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03" name="Google Shape;2103;g374da0147aa_0_6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4" name="Google Shape;2104;g374da0147aa_0_6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05" name="Google Shape;2105;g374da0147aa_0_619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spTree>
      <p:nvGrpSpPr>
        <p:cNvPr id="1" name="Shape 2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07" name="Google Shape;2107;g374da0147aa_0_620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08" name="Google Shape;2108;g374da0147aa_0_62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09" name="Google Shape;2109;g374da0147aa_0_62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10" name="Google Shape;2110;g374da0147aa_0_62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1" name="Google Shape;2111;g374da0147aa_0_62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12" name="Google Shape;2112;g374da0147aa_0_62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3" name="Google Shape;2113;g374da0147aa_0_620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14" name="Google Shape;2114;g374da0147aa_0_6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15" name="Google Shape;2115;g374da0147aa_0_62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16" name="Google Shape;2116;g374da0147aa_0_62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Content">
  <p:cSld name="12_Two Content">
    <p:spTree>
      <p:nvGrpSpPr>
        <p:cNvPr id="1" name="Shape 2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8" name="Google Shape;2118;g374da0147aa_0_62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9" name="Google Shape;2119;g374da0147aa_0_62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120" name="Google Shape;2120;g374da0147aa_0_621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21" name="Google Shape;2121;g374da0147aa_0_62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22" name="Google Shape;2122;g374da0147aa_0_621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23" name="Google Shape;2123;g374da0147aa_0_6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4" name="Google Shape;2124;g374da0147aa_0_6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5" name="Google Shape;2125;g374da0147aa_0_621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26" name="Google Shape;2126;g374da0147aa_0_621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27" name="Google Shape;2127;g374da0147aa_0_6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28" name="Google Shape;2128;g374da0147aa_0_6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omparison">
  <p:cSld name="12_Comparison">
    <p:spTree>
      <p:nvGrpSpPr>
        <p:cNvPr id="1" name="Shape 2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30" name="Google Shape;2130;g374da0147aa_0_623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31" name="Google Shape;2131;g374da0147aa_0_62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32" name="Google Shape;2132;g374da0147aa_0_623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33" name="Google Shape;2133;g374da0147aa_0_62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4" name="Google Shape;2134;g374da0147aa_0_62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35" name="Google Shape;2135;g374da0147aa_0_62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6" name="Google Shape;2136;g374da0147aa_0_623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7" name="Google Shape;2137;g374da0147aa_0_623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8" name="Google Shape;2138;g374da0147aa_0_623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9" name="Google Shape;2139;g374da0147aa_0_623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0" name="Google Shape;2140;g374da0147aa_0_6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41" name="Google Shape;2141;g374da0147aa_0_62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42" name="Google Shape;2142;g374da0147aa_0_6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Photo Slide">
  <p:cSld name="13_Photo Slide">
    <p:spTree>
      <p:nvGrpSpPr>
        <p:cNvPr id="1" name="Shape 2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4" name="Google Shape;2144;g374da0147aa_0_624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145" name="Google Shape;2145;g374da0147aa_0_624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46" name="Google Shape;2146;g374da0147aa_0_624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147" name="Google Shape;2147;g374da0147aa_0_624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8" name="Google Shape;2148;g374da0147aa_0_624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49" name="Google Shape;2149;g374da0147aa_0_624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150" name="Google Shape;2150;g374da0147aa_0_62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End">
  <p:cSld name="12_End">
    <p:spTree>
      <p:nvGrpSpPr>
        <p:cNvPr id="1" name="Shape 2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2" name="Google Shape;2152;g374da0147aa_0_62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153" name="Google Shape;2153;g374da0147aa_0_62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4" name="Google Shape;2154;g374da0147aa_0_62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55" name="Google Shape;2155;g374da0147aa_0_625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6" name="Google Shape;2156;g374da0147aa_0_62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7" name="Google Shape;2157;g374da0147aa_0_62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58" name="Google Shape;2158;g374da0147aa_0_6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9" name="Google Shape;2159;g374da0147aa_0_62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Divider">
  <p:cSld name="2_Divider">
    <p:bg>
      <p:bgPr>
        <a:solidFill>
          <a:schemeClr val="lt2"/>
        </a:solidFill>
        <a:effectLst/>
      </p:bgPr>
    </p:bg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oogle Shape;198;g374da0147aa_0_4298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199" name="Google Shape;199;g374da0147aa_0_42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g374da0147aa_0_42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g374da0147aa_0_42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2" name="Google Shape;202;g374da0147aa_0_42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3" name="Google Shape;203;g374da0147aa_0_4298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g374da0147aa_0_4298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Blank">
  <p:cSld name="13_Blank">
    <p:spTree>
      <p:nvGrpSpPr>
        <p:cNvPr id="1" name="Shape 2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1" name="Google Shape;2161;g374da0147aa_0_62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62" name="Google Shape;2162;g374da0147aa_0_62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3" name="Google Shape;2163;g374da0147aa_0_62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64" name="Google Shape;2164;g374da0147aa_0_626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65" name="Google Shape;2165;g374da0147aa_0_62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66" name="Google Shape;2166;g374da0147aa_0_626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67" name="Google Shape;2167;g374da0147aa_0_62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8" name="Google Shape;2168;g374da0147aa_0_62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Only">
  <p:cSld name="12_Title Only">
    <p:spTree>
      <p:nvGrpSpPr>
        <p:cNvPr id="1" name="Shape 2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70" name="Google Shape;2170;g374da0147aa_0_627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171" name="Google Shape;2171;g374da0147aa_0_6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72" name="Google Shape;2172;g374da0147aa_0_62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173" name="Google Shape;2173;g374da0147aa_0_62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4" name="Google Shape;2174;g374da0147aa_0_62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75" name="Google Shape;2175;g374da0147aa_0_62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6" name="Google Shape;2176;g374da0147aa_0_62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77" name="Google Shape;2177;g374da0147aa_0_62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78" name="Google Shape;2178;g374da0147aa_0_62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ver">
  <p:cSld name="13_Cover">
    <p:spTree>
      <p:nvGrpSpPr>
        <p:cNvPr id="1" name="Shape 2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0" name="Google Shape;2180;g374da0147aa_0_6280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81" name="Google Shape;2181;g374da0147aa_0_628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2" name="Google Shape;2182;g374da0147aa_0_628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183" name="Google Shape;2183;g374da0147aa_0_628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184" name="Google Shape;2184;g374da0147aa_0_628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185" name="Google Shape;2185;g374da0147aa_0_628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6" name="Google Shape;2186;g374da0147aa_0_628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87" name="Google Shape;2187;g374da0147aa_0_62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Divider">
  <p:cSld name="16_Divider">
    <p:bg>
      <p:bgPr>
        <a:solidFill>
          <a:schemeClr val="lt2"/>
        </a:solidFill>
        <a:effectLst/>
      </p:bgPr>
    </p:bg>
    <p:spTree>
      <p:nvGrpSpPr>
        <p:cNvPr id="1" name="Shape 2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89" name="Google Shape;2189;g374da0147aa_0_628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190" name="Google Shape;2190;g374da0147aa_0_628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1" name="Google Shape;2191;g374da0147aa_0_62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2" name="Google Shape;2192;g374da0147aa_0_628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93" name="Google Shape;2193;g374da0147aa_0_62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94" name="Google Shape;2194;g374da0147aa_0_628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5" name="Google Shape;2195;g374da0147aa_0_628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Quotation">
  <p:cSld name="25_Quotation">
    <p:spTree>
      <p:nvGrpSpPr>
        <p:cNvPr id="1" name="Shape 2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7" name="Google Shape;2197;g374da0147aa_0_6297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98" name="Google Shape;2198;g374da0147aa_0_62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9" name="Google Shape;2199;g374da0147aa_0_62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00" name="Google Shape;2200;g374da0147aa_0_62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01" name="Google Shape;2201;g374da0147aa_0_62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02" name="Google Shape;2202;g374da0147aa_0_62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3" name="Google Shape;2203;g374da0147aa_0_629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04" name="Google Shape;2204;g374da0147aa_0_62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05" name="Google Shape;2205;g374da0147aa_0_629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06" name="Google Shape;2206;g374da0147aa_0_62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7" name="Google Shape;2207;g374da0147aa_0_62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208" name="Google Shape;2208;g374da0147aa_0_629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>
  <p:cSld name="14_Title and Content">
    <p:spTree>
      <p:nvGrpSpPr>
        <p:cNvPr id="1" name="Shape 2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10" name="Google Shape;2210;g374da0147aa_0_631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11" name="Google Shape;2211;g374da0147aa_0_63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12" name="Google Shape;2212;g374da0147aa_0_63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13" name="Google Shape;2213;g374da0147aa_0_63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14" name="Google Shape;2214;g374da0147aa_0_63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15" name="Google Shape;2215;g374da0147aa_0_63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6" name="Google Shape;2216;g374da0147aa_0_631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17" name="Google Shape;2217;g374da0147aa_0_63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18" name="Google Shape;2218;g374da0147aa_0_63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19" name="Google Shape;2219;g374da0147aa_0_63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Content">
  <p:cSld name="13_Two Content">
    <p:spTree>
      <p:nvGrpSpPr>
        <p:cNvPr id="1" name="Shape 2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1" name="Google Shape;2221;g374da0147aa_0_63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2" name="Google Shape;2222;g374da0147aa_0_63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23" name="Google Shape;2223;g374da0147aa_0_632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24" name="Google Shape;2224;g374da0147aa_0_6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5" name="Google Shape;2225;g374da0147aa_0_63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26" name="Google Shape;2226;g374da0147aa_0_6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7" name="Google Shape;2227;g374da0147aa_0_6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28" name="Google Shape;2228;g374da0147aa_0_632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9" name="Google Shape;2229;g374da0147aa_0_632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30" name="Google Shape;2230;g374da0147aa_0_6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31" name="Google Shape;2231;g374da0147aa_0_6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omparison">
  <p:cSld name="13_Comparison">
    <p:spTree>
      <p:nvGrpSpPr>
        <p:cNvPr id="1" name="Shape 2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33" name="Google Shape;2233;g374da0147aa_0_633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34" name="Google Shape;2234;g374da0147aa_0_63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35" name="Google Shape;2235;g374da0147aa_0_633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36" name="Google Shape;2236;g374da0147aa_0_63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7" name="Google Shape;2237;g374da0147aa_0_63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38" name="Google Shape;2238;g374da0147aa_0_63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39" name="Google Shape;2239;g374da0147aa_0_633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40" name="Google Shape;2240;g374da0147aa_0_633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41" name="Google Shape;2241;g374da0147aa_0_633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42" name="Google Shape;2242;g374da0147aa_0_633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43" name="Google Shape;2243;g374da0147aa_0_63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44" name="Google Shape;2244;g374da0147aa_0_63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5" name="Google Shape;2245;g374da0147aa_0_63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Photo Slide">
  <p:cSld name="16_Photo Slide">
    <p:spTree>
      <p:nvGrpSpPr>
        <p:cNvPr id="1" name="Shape 2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7" name="Google Shape;2247;g374da0147aa_0_634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248" name="Google Shape;2248;g374da0147aa_0_634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249" name="Google Shape;2249;g374da0147aa_0_634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50" name="Google Shape;2250;g374da0147aa_0_634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1" name="Google Shape;2251;g374da0147aa_0_634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52" name="Google Shape;2252;g374da0147aa_0_634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253" name="Google Shape;2253;g374da0147aa_0_63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End">
  <p:cSld name="14_End">
    <p:spTree>
      <p:nvGrpSpPr>
        <p:cNvPr id="1" name="Shape 2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5" name="Google Shape;2255;g374da0147aa_0_635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256" name="Google Shape;2256;g374da0147aa_0_635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7" name="Google Shape;2257;g374da0147aa_0_635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58" name="Google Shape;2258;g374da0147aa_0_6355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59" name="Google Shape;2259;g374da0147aa_0_635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0" name="Google Shape;2260;g374da0147aa_0_635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261" name="Google Shape;2261;g374da0147aa_0_63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262" name="Google Shape;2262;g374da0147aa_0_635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hoto Slide">
  <p:cSld name="2_Photo Slide"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g374da0147aa_0_430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07" name="Google Shape;207;g374da0147aa_0_430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08" name="Google Shape;208;g374da0147aa_0_430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09" name="Google Shape;209;g374da0147aa_0_43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g374da0147aa_0_43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1" name="Google Shape;211;g374da0147aa_0_43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12" name="Google Shape;212;g374da0147aa_0_43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Blank">
  <p:cSld name="15_Blank">
    <p:spTree>
      <p:nvGrpSpPr>
        <p:cNvPr id="1" name="Shape 2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4" name="Google Shape;2264;g374da0147aa_0_63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65" name="Google Shape;2265;g374da0147aa_0_63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66" name="Google Shape;2266;g374da0147aa_0_63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67" name="Google Shape;2267;g374da0147aa_0_636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68" name="Google Shape;2268;g374da0147aa_0_63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69" name="Google Shape;2269;g374da0147aa_0_63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70" name="Google Shape;2270;g374da0147aa_0_63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1" name="Google Shape;2271;g374da0147aa_0_63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Only">
  <p:cSld name="13_Title Only">
    <p:spTree>
      <p:nvGrpSpPr>
        <p:cNvPr id="1" name="Shape 2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73" name="Google Shape;2273;g374da0147aa_0_637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74" name="Google Shape;2274;g374da0147aa_0_63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75" name="Google Shape;2275;g374da0147aa_0_63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76" name="Google Shape;2276;g374da0147aa_0_63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7" name="Google Shape;2277;g374da0147aa_0_63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78" name="Google Shape;2278;g374da0147aa_0_63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79" name="Google Shape;2279;g374da0147aa_0_63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80" name="Google Shape;2280;g374da0147aa_0_63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81" name="Google Shape;2281;g374da0147aa_0_63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Photo Slide">
  <p:cSld name="19_Photo Slide">
    <p:spTree>
      <p:nvGrpSpPr>
        <p:cNvPr id="1" name="Shape 2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" name="Google Shape;2283;g374da0147aa_0_638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284" name="Google Shape;2284;g374da0147aa_0_638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285" name="Google Shape;2285;g374da0147aa_0_638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86" name="Google Shape;2286;g374da0147aa_0_63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7" name="Google Shape;2287;g374da0147aa_0_63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88" name="Google Shape;2288;g374da0147aa_0_63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289" name="Google Shape;2289;g374da0147aa_0_63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Quotation">
  <p:cSld name="29_Quotation">
    <p:spTree>
      <p:nvGrpSpPr>
        <p:cNvPr id="1" name="Shape 2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1" name="Google Shape;2291;g374da0147aa_0_639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92" name="Google Shape;2292;g374da0147aa_0_63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93" name="Google Shape;2293;g374da0147aa_0_63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4" name="Google Shape;2294;g374da0147aa_0_63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95" name="Google Shape;2295;g374da0147aa_0_63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96" name="Google Shape;2296;g374da0147aa_0_63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97" name="Google Shape;2297;g374da0147aa_0_639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298" name="Google Shape;2298;g374da0147aa_0_63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99" name="Google Shape;2299;g374da0147aa_0_63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00" name="Google Shape;2300;g374da0147aa_0_63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1" name="Google Shape;2301;g374da0147aa_0_63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302" name="Google Shape;2302;g374da0147aa_0_63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and Content">
  <p:cSld name="17_Title and Content">
    <p:spTree>
      <p:nvGrpSpPr>
        <p:cNvPr id="1" name="Shape 2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4" name="Google Shape;2304;g374da0147aa_0_640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305" name="Google Shape;2305;g374da0147aa_0_64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06" name="Google Shape;2306;g374da0147aa_0_640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07" name="Google Shape;2307;g374da0147aa_0_64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8" name="Google Shape;2308;g374da0147aa_0_64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09" name="Google Shape;2309;g374da0147aa_0_64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0" name="Google Shape;2310;g374da0147aa_0_64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1" name="Google Shape;2311;g374da0147aa_0_64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12" name="Google Shape;2312;g374da0147aa_0_64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13" name="Google Shape;2313;g374da0147aa_0_64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wo Content">
  <p:cSld name="16_Two Content">
    <p:spTree>
      <p:nvGrpSpPr>
        <p:cNvPr id="1" name="Shape 2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5" name="Google Shape;2315;g374da0147aa_0_64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6" name="Google Shape;2316;g374da0147aa_0_64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317" name="Google Shape;2317;g374da0147aa_0_641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318" name="Google Shape;2318;g374da0147aa_0_6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19" name="Google Shape;2319;g374da0147aa_0_64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20" name="Google Shape;2320;g374da0147aa_0_64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1" name="Google Shape;2321;g374da0147aa_0_64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22" name="Google Shape;2322;g374da0147aa_0_641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23" name="Google Shape;2323;g374da0147aa_0_641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24" name="Google Shape;2324;g374da0147aa_0_64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25" name="Google Shape;2325;g374da0147aa_0_64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mparison">
  <p:cSld name="16_Comparison">
    <p:spTree>
      <p:nvGrpSpPr>
        <p:cNvPr id="1" name="Shape 2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27" name="Google Shape;2327;g374da0147aa_0_642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328" name="Google Shape;2328;g374da0147aa_0_64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29" name="Google Shape;2329;g374da0147aa_0_642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30" name="Google Shape;2330;g374da0147aa_0_64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1" name="Google Shape;2331;g374da0147aa_0_64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32" name="Google Shape;2332;g374da0147aa_0_64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3" name="Google Shape;2333;g374da0147aa_0_642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34" name="Google Shape;2334;g374da0147aa_0_642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5" name="Google Shape;2335;g374da0147aa_0_642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36" name="Google Shape;2336;g374da0147aa_0_642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7" name="Google Shape;2337;g374da0147aa_0_64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38" name="Google Shape;2338;g374da0147aa_0_64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39" name="Google Shape;2339;g374da0147aa_0_64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Only">
  <p:cSld name="16_Title Only">
    <p:spTree>
      <p:nvGrpSpPr>
        <p:cNvPr id="1" name="Shape 2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41" name="Google Shape;2341;g374da0147aa_0_644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342" name="Google Shape;2342;g374da0147aa_0_64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43" name="Google Shape;2343;g374da0147aa_0_64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44" name="Google Shape;2344;g374da0147aa_0_64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5" name="Google Shape;2345;g374da0147aa_0_64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46" name="Google Shape;2346;g374da0147aa_0_64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7" name="Google Shape;2347;g374da0147aa_0_64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48" name="Google Shape;2348;g374da0147aa_0_64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49" name="Google Shape;2349;g374da0147aa_0_64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End">
  <p:cSld name="16_End">
    <p:spTree>
      <p:nvGrpSpPr>
        <p:cNvPr id="1" name="Shape 2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1" name="Google Shape;2351;g374da0147aa_0_645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352" name="Google Shape;2352;g374da0147aa_0_645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3" name="Google Shape;2353;g374da0147aa_0_645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54" name="Google Shape;2354;g374da0147aa_0_6451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55" name="Google Shape;2355;g374da0147aa_0_645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56" name="Google Shape;2356;g374da0147aa_0_645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357" name="Google Shape;2357;g374da0147aa_0_64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358" name="Google Shape;2358;g374da0147aa_0_64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Blank">
  <p:cSld name="18_Blank">
    <p:spTree>
      <p:nvGrpSpPr>
        <p:cNvPr id="1" name="Shape 2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0" name="Google Shape;2360;g374da0147aa_0_64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61" name="Google Shape;2361;g374da0147aa_0_64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62" name="Google Shape;2362;g374da0147aa_0_64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363" name="Google Shape;2363;g374da0147aa_0_646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364" name="Google Shape;2364;g374da0147aa_0_64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65" name="Google Shape;2365;g374da0147aa_0_646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66" name="Google Shape;2366;g374da0147aa_0_64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7" name="Google Shape;2367;g374da0147aa_0_64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g374da0147aa_0_4314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" name="Google Shape;215;g374da0147aa_0_431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6" name="Google Shape;216;g374da0147aa_0_43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7" name="Google Shape;217;g374da0147aa_0_431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8" name="Google Shape;218;g374da0147aa_0_43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9" name="Google Shape;219;g374da0147aa_0_43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" name="Google Shape;220;g374da0147aa_0_431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21" name="Google Shape;221;g374da0147aa_0_43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g374da0147aa_0_43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23" name="Google Shape;223;g374da0147aa_0_43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g374da0147aa_0_43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25" name="Google Shape;225;g374da0147aa_0_43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over">
  <p:cSld name="16_Cover">
    <p:spTree>
      <p:nvGrpSpPr>
        <p:cNvPr id="1" name="Shape 2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9" name="Google Shape;2369;g374da0147aa_0_6469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70" name="Google Shape;2370;g374da0147aa_0_646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71" name="Google Shape;2371;g374da0147aa_0_646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372" name="Google Shape;2372;g374da0147aa_0_64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373" name="Google Shape;2373;g374da0147aa_0_646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374" name="Google Shape;2374;g374da0147aa_0_64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5" name="Google Shape;2375;g374da0147aa_0_646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376" name="Google Shape;2376;g374da0147aa_0_64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Divider">
  <p:cSld name="19_Divider">
    <p:bg>
      <p:bgPr>
        <a:solidFill>
          <a:schemeClr val="lt2"/>
        </a:solidFill>
        <a:effectLst/>
      </p:bgPr>
    </p:bg>
    <p:spTree>
      <p:nvGrpSpPr>
        <p:cNvPr id="1" name="Shape 2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78" name="Google Shape;2378;g374da0147aa_0_647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379" name="Google Shape;2379;g374da0147aa_0_647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0" name="Google Shape;2380;g374da0147aa_0_64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1" name="Google Shape;2381;g374da0147aa_0_647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382" name="Google Shape;2382;g374da0147aa_0_64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383" name="Google Shape;2383;g374da0147aa_0_647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4" name="Google Shape;2384;g374da0147aa_0_647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Photo Slide">
  <p:cSld name="20_Photo Slide">
    <p:spTree>
      <p:nvGrpSpPr>
        <p:cNvPr id="1" name="Shape 2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6" name="Google Shape;2386;g374da0147aa_0_648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87" name="Google Shape;2387;g374da0147aa_0_648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88" name="Google Shape;2388;g374da0147aa_0_648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89" name="Google Shape;2389;g374da0147aa_0_648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0" name="Google Shape;2390;g374da0147aa_0_648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91" name="Google Shape;2391;g374da0147aa_0_648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392" name="Google Shape;2392;g374da0147aa_0_64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Quotation">
  <p:cSld name="33_Quotation">
    <p:spTree>
      <p:nvGrpSpPr>
        <p:cNvPr id="1" name="Shape 2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4" name="Google Shape;2394;g374da0147aa_0_6494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5" name="Google Shape;2395;g374da0147aa_0_64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6" name="Google Shape;2396;g374da0147aa_0_64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97" name="Google Shape;2397;g374da0147aa_0_64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98" name="Google Shape;2398;g374da0147aa_0_64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99" name="Google Shape;2399;g374da0147aa_0_64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00" name="Google Shape;2400;g374da0147aa_0_649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01" name="Google Shape;2401;g374da0147aa_0_64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02" name="Google Shape;2402;g374da0147aa_0_649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03" name="Google Shape;2403;g374da0147aa_0_64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4" name="Google Shape;2404;g374da0147aa_0_64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405" name="Google Shape;2405;g374da0147aa_0_649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and Content">
  <p:cSld name="20_Title and Content">
    <p:spTree>
      <p:nvGrpSpPr>
        <p:cNvPr id="1" name="Shape 2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7" name="Google Shape;2407;g374da0147aa_0_650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08" name="Google Shape;2408;g374da0147aa_0_65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09" name="Google Shape;2409;g374da0147aa_0_65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10" name="Google Shape;2410;g374da0147aa_0_65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1" name="Google Shape;2411;g374da0147aa_0_65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12" name="Google Shape;2412;g374da0147aa_0_65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3" name="Google Shape;2413;g374da0147aa_0_650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14" name="Google Shape;2414;g374da0147aa_0_65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5" name="Google Shape;2415;g374da0147aa_0_65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16" name="Google Shape;2416;g374da0147aa_0_65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wo Content">
  <p:cSld name="19_Two Content">
    <p:spTree>
      <p:nvGrpSpPr>
        <p:cNvPr id="1" name="Shape 2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8" name="Google Shape;2418;g374da0147aa_0_65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9" name="Google Shape;2419;g374da0147aa_0_65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420" name="Google Shape;2420;g374da0147aa_0_651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21" name="Google Shape;2421;g374da0147aa_0_65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22" name="Google Shape;2422;g374da0147aa_0_651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23" name="Google Shape;2423;g374da0147aa_0_65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4" name="Google Shape;2424;g374da0147aa_0_65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25" name="Google Shape;2425;g374da0147aa_0_651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6" name="Google Shape;2426;g374da0147aa_0_651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27" name="Google Shape;2427;g374da0147aa_0_65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28" name="Google Shape;2428;g374da0147aa_0_65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mparison">
  <p:cSld name="19_Comparison">
    <p:spTree>
      <p:nvGrpSpPr>
        <p:cNvPr id="1" name="Shape 2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30" name="Google Shape;2430;g374da0147aa_0_653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31" name="Google Shape;2431;g374da0147aa_0_65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32" name="Google Shape;2432;g374da0147aa_0_653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33" name="Google Shape;2433;g374da0147aa_0_65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4" name="Google Shape;2434;g374da0147aa_0_65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35" name="Google Shape;2435;g374da0147aa_0_65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6" name="Google Shape;2436;g374da0147aa_0_653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437" name="Google Shape;2437;g374da0147aa_0_653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38" name="Google Shape;2438;g374da0147aa_0_653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439" name="Google Shape;2439;g374da0147aa_0_653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0" name="Google Shape;2440;g374da0147aa_0_65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41" name="Google Shape;2441;g374da0147aa_0_65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42" name="Google Shape;2442;g374da0147aa_0_65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Only">
  <p:cSld name="19_Title Only">
    <p:spTree>
      <p:nvGrpSpPr>
        <p:cNvPr id="1" name="Shape 2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4" name="Google Shape;2444;g374da0147aa_0_654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45" name="Google Shape;2445;g374da0147aa_0_65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46" name="Google Shape;2446;g374da0147aa_0_65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47" name="Google Shape;2447;g374da0147aa_0_65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8" name="Google Shape;2448;g374da0147aa_0_65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49" name="Google Shape;2449;g374da0147aa_0_65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0" name="Google Shape;2450;g374da0147aa_0_65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51" name="Google Shape;2451;g374da0147aa_0_65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52" name="Google Shape;2452;g374da0147aa_0_65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End">
  <p:cSld name="19_End">
    <p:spTree>
      <p:nvGrpSpPr>
        <p:cNvPr id="1" name="Shape 2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4" name="Google Shape;2454;g374da0147aa_0_655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455" name="Google Shape;2455;g374da0147aa_0_655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6" name="Google Shape;2456;g374da0147aa_0_655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57" name="Google Shape;2457;g374da0147aa_0_6554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58" name="Google Shape;2458;g374da0147aa_0_655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9" name="Google Shape;2459;g374da0147aa_0_655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460" name="Google Shape;2460;g374da0147aa_0_65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461" name="Google Shape;2461;g374da0147aa_0_65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Blank">
  <p:cSld name="19_Blank">
    <p:spTree>
      <p:nvGrpSpPr>
        <p:cNvPr id="1" name="Shape 2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3" name="Google Shape;2463;g374da0147aa_0_65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64" name="Google Shape;2464;g374da0147aa_0_65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65" name="Google Shape;2465;g374da0147aa_0_65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66" name="Google Shape;2466;g374da0147aa_0_656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67" name="Google Shape;2467;g374da0147aa_0_65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8" name="Google Shape;2468;g374da0147aa_0_65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69" name="Google Shape;2469;g374da0147aa_0_65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0" name="Google Shape;2470;g374da0147aa_0_65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"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7" name="Google Shape;227;g374da0147aa_0_432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28" name="Google Shape;228;g374da0147aa_0_4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9" name="Google Shape;229;g374da0147aa_0_432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30" name="Google Shape;230;g374da0147aa_0_43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g374da0147aa_0_43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2" name="Google Shape;232;g374da0147aa_0_43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" name="Google Shape;233;g374da0147aa_0_432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" name="Google Shape;234;g374da0147aa_0_432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5" name="Google Shape;235;g374da0147aa_0_43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6" name="Google Shape;236;g374da0147aa_0_43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Cover">
  <p:cSld name="19_Cover">
    <p:spTree>
      <p:nvGrpSpPr>
        <p:cNvPr id="1" name="Shape 2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2" name="Google Shape;2472;g374da0147aa_0_6572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73" name="Google Shape;2473;g374da0147aa_0_657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4" name="Google Shape;2474;g374da0147aa_0_657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75" name="Google Shape;2475;g374da0147aa_0_65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476" name="Google Shape;2476;g374da0147aa_0_657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477" name="Google Shape;2477;g374da0147aa_0_65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8" name="Google Shape;2478;g374da0147aa_0_65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479" name="Google Shape;2479;g374da0147aa_0_65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Divider">
  <p:cSld name="20_Divider">
    <p:bg>
      <p:bgPr>
        <a:solidFill>
          <a:schemeClr val="lt2"/>
        </a:solidFill>
        <a:effectLst/>
      </p:bgPr>
    </p:bg>
    <p:spTree>
      <p:nvGrpSpPr>
        <p:cNvPr id="1" name="Shape 2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81" name="Google Shape;2481;g374da0147aa_0_658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482" name="Google Shape;2482;g374da0147aa_0_658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3" name="Google Shape;2483;g374da0147aa_0_65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4" name="Google Shape;2484;g374da0147aa_0_658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485" name="Google Shape;2485;g374da0147aa_0_65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486" name="Google Shape;2486;g374da0147aa_0_658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87" name="Google Shape;2487;g374da0147aa_0_658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Quotation">
  <p:cSld name="39_Quotation">
    <p:spTree>
      <p:nvGrpSpPr>
        <p:cNvPr id="1" name="Shape 2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9" name="Google Shape;2489;g374da0147aa_0_6589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90" name="Google Shape;2490;g374da0147aa_0_65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91" name="Google Shape;2491;g374da0147aa_0_65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2" name="Google Shape;2492;g374da0147aa_0_65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93" name="Google Shape;2493;g374da0147aa_0_65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94" name="Google Shape;2494;g374da0147aa_0_65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95" name="Google Shape;2495;g374da0147aa_0_658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496" name="Google Shape;2496;g374da0147aa_0_65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97" name="Google Shape;2497;g374da0147aa_0_658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98" name="Google Shape;2498;g374da0147aa_0_65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9" name="Google Shape;2499;g374da0147aa_0_65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00" name="Google Shape;2500;g374da0147aa_0_65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Photo Slide">
  <p:cSld name="21_Photo Slide">
    <p:spTree>
      <p:nvGrpSpPr>
        <p:cNvPr id="1" name="Shape 2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2" name="Google Shape;2502;g374da0147aa_0_660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503" name="Google Shape;2503;g374da0147aa_0_660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04" name="Google Shape;2504;g374da0147aa_0_660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505" name="Google Shape;2505;g374da0147aa_0_660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6" name="Google Shape;2506;g374da0147aa_0_660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07" name="Google Shape;2507;g374da0147aa_0_660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508" name="Google Shape;2508;g374da0147aa_0_66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and Content">
  <p:cSld name="25_Title and Content">
    <p:spTree>
      <p:nvGrpSpPr>
        <p:cNvPr id="1" name="Shape 25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10" name="Google Shape;2510;g374da0147aa_0_661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511" name="Google Shape;2511;g374da0147aa_0_66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12" name="Google Shape;2512;g374da0147aa_0_66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513" name="Google Shape;2513;g374da0147aa_0_66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4" name="Google Shape;2514;g374da0147aa_0_66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515" name="Google Shape;2515;g374da0147aa_0_66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16" name="Google Shape;2516;g374da0147aa_0_661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17" name="Google Shape;2517;g374da0147aa_0_66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8" name="Google Shape;2518;g374da0147aa_0_66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19" name="Google Shape;2519;g374da0147aa_0_66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wo Content">
  <p:cSld name="20_Two Content">
    <p:spTree>
      <p:nvGrpSpPr>
        <p:cNvPr id="1" name="Shape 2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1" name="Google Shape;2521;g374da0147aa_0_66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2" name="Google Shape;2522;g374da0147aa_0_66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523" name="Google Shape;2523;g374da0147aa_0_662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524" name="Google Shape;2524;g374da0147aa_0_66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25" name="Google Shape;2525;g374da0147aa_0_66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526" name="Google Shape;2526;g374da0147aa_0_66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7" name="Google Shape;2527;g374da0147aa_0_66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528" name="Google Shape;2528;g374da0147aa_0_662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29" name="Google Shape;2529;g374da0147aa_0_662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30" name="Google Shape;2530;g374da0147aa_0_66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31" name="Google Shape;2531;g374da0147aa_0_66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mparison">
  <p:cSld name="20_Comparison">
    <p:spTree>
      <p:nvGrpSpPr>
        <p:cNvPr id="1" name="Shape 2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33" name="Google Shape;2533;g374da0147aa_0_663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534" name="Google Shape;2534;g374da0147aa_0_66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35" name="Google Shape;2535;g374da0147aa_0_663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536" name="Google Shape;2536;g374da0147aa_0_66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7" name="Google Shape;2537;g374da0147aa_0_66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538" name="Google Shape;2538;g374da0147aa_0_66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39" name="Google Shape;2539;g374da0147aa_0_663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540" name="Google Shape;2540;g374da0147aa_0_663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1" name="Google Shape;2541;g374da0147aa_0_663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542" name="Google Shape;2542;g374da0147aa_0_663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3" name="Google Shape;2543;g374da0147aa_0_66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4" name="Google Shape;2544;g374da0147aa_0_66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45" name="Google Shape;2545;g374da0147aa_0_66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Only">
  <p:cSld name="20_Title Only">
    <p:spTree>
      <p:nvGrpSpPr>
        <p:cNvPr id="1" name="Shape 25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7" name="Google Shape;2547;g374da0147aa_0_664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548" name="Google Shape;2548;g374da0147aa_0_66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49" name="Google Shape;2549;g374da0147aa_0_664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550" name="Google Shape;2550;g374da0147aa_0_66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1" name="Google Shape;2551;g374da0147aa_0_66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552" name="Google Shape;2552;g374da0147aa_0_66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3" name="Google Shape;2553;g374da0147aa_0_66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54" name="Google Shape;2554;g374da0147aa_0_66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55" name="Google Shape;2555;g374da0147aa_0_66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End">
  <p:cSld name="20_End">
    <p:spTree>
      <p:nvGrpSpPr>
        <p:cNvPr id="1" name="Shape 25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57" name="Google Shape;2557;g374da0147aa_0_665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58" name="Google Shape;2558;g374da0147aa_0_665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9" name="Google Shape;2559;g374da0147aa_0_665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60" name="Google Shape;2560;g374da0147aa_0_6657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61" name="Google Shape;2561;g374da0147aa_0_665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62" name="Google Shape;2562;g374da0147aa_0_665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563" name="Google Shape;2563;g374da0147aa_0_66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564" name="Google Shape;2564;g374da0147aa_0_66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Blank">
  <p:cSld name="20_Blank">
    <p:spTree>
      <p:nvGrpSpPr>
        <p:cNvPr id="1" name="Shape 2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6" name="Google Shape;2566;g374da0147aa_0_66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67" name="Google Shape;2567;g374da0147aa_0_66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68" name="Google Shape;2568;g374da0147aa_0_66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69" name="Google Shape;2569;g374da0147aa_0_666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570" name="Google Shape;2570;g374da0147aa_0_66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71" name="Google Shape;2571;g374da0147aa_0_66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572" name="Google Shape;2572;g374da0147aa_0_66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3" name="Google Shape;2573;g374da0147aa_0_66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">
  <p:cSld name="1_Two Content"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74da0147aa_0_43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" name="Google Shape;239;g374da0147aa_0_4338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40" name="Google Shape;240;g374da0147aa_0_433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41" name="Google Shape;241;g374da0147aa_0_43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2" name="Google Shape;242;g374da0147aa_0_433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43" name="Google Shape;243;g374da0147aa_0_43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g374da0147aa_0_43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5" name="Google Shape;245;g374da0147aa_0_4338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g374da0147aa_0_4338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g374da0147aa_0_43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g374da0147aa_0_43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Cover">
  <p:cSld name="20_Cover">
    <p:spTree>
      <p:nvGrpSpPr>
        <p:cNvPr id="1" name="Shape 2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5" name="Google Shape;2575;g374da0147aa_0_6675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6" name="Google Shape;2576;g374da0147aa_0_667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77" name="Google Shape;2577;g374da0147aa_0_667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578" name="Google Shape;2578;g374da0147aa_0_66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579" name="Google Shape;2579;g374da0147aa_0_667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580" name="Google Shape;2580;g374da0147aa_0_66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1" name="Google Shape;2581;g374da0147aa_0_667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82" name="Google Shape;2582;g374da0147aa_0_66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Bullets Layout">
  <p:cSld name="6_Title and Bullets Layout">
    <p:spTree>
      <p:nvGrpSpPr>
        <p:cNvPr id="1" name="Shape 2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4" name="Google Shape;2584;g374da0147aa_0_668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85" name="Google Shape;2585;g374da0147aa_0_668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6" name="Google Shape;2586;g374da0147aa_0_668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7" name="Google Shape;2587;g374da0147aa_0_668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588" name="Google Shape;2588;g374da0147aa_0_66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and Content">
  <p:cSld name="27_Title and Content">
    <p:spTree>
      <p:nvGrpSpPr>
        <p:cNvPr id="1" name="Shape 2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" name="Google Shape;2590;g374da0147aa_0_669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591" name="Google Shape;2591;g374da0147aa_0_66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592" name="Google Shape;2592;g374da0147aa_0_669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3" name="Google Shape;2593;g374da0147aa_0_669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4" name="Google Shape;2594;g374da0147aa_0_669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Section | Picture and Copy Layout">
  <p:cSld name="6_Two Section | Picture and Copy Layout">
    <p:spTree>
      <p:nvGrpSpPr>
        <p:cNvPr id="1" name="Shape 2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6" name="Google Shape;2596;g374da0147aa_0_669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7" name="Google Shape;2597;g374da0147aa_0_669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8" name="Google Shape;2598;g374da0147aa_0_669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9" name="Google Shape;2599;g374da0147aa_0_669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0" name="Google Shape;2600;g374da0147aa_0_669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01" name="Google Shape;2601;g374da0147aa_0_66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able of Content">
  <p:cSld name="1_Table of Content">
    <p:spTree>
      <p:nvGrpSpPr>
        <p:cNvPr id="1" name="Shape 2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3" name="Google Shape;2603;g374da0147aa_0_6703"/>
          <p:cNvSpPr/>
          <p:nvPr/>
        </p:nvSpPr>
        <p:spPr>
          <a:xfrm>
            <a:off x="-10584" y="6620933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04" name="Google Shape;2604;g374da0147aa_0_6703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05" name="Google Shape;2605;g374da0147aa_0_6703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6" name="Google Shape;2606;g374da0147aa_0_6703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7" name="Google Shape;2607;g374da0147aa_0_67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608" name="Google Shape;2608;g374da0147aa_0_6703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6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0" name="Google Shape;2610;g374da0147aa_0_6710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1" name="Google Shape;2611;g374da0147aa_0_6710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2612" name="Google Shape;2612;g374da0147aa_0_671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13" name="Google Shape;2613;g374da0147aa_0_67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4" name="Google Shape;2614;g374da0147aa_0_67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2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6" name="Google Shape;2616;g374da0147aa_0_6716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00" cy="11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7" name="Google Shape;2617;g374da0147aa_0_6716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700" cy="58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2618" name="Google Shape;2618;g374da0147aa_0_6716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00" cy="46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2619" name="Google Shape;2619;g374da0147aa_0_671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20" name="Google Shape;2620;g374da0147aa_0_67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21" name="Google Shape;2621;g374da0147aa_0_67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2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3" name="Google Shape;2623;g374da0147aa_0_6723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24" name="Google Shape;2624;g374da0147aa_0_6723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625" name="Google Shape;2625;g374da0147aa_0_672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26" name="Google Shape;2626;g374da0147aa_0_6723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627" name="Google Shape;2627;g374da0147aa_0_672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28" name="Google Shape;2628;g374da0147aa_0_672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629" name="Google Shape;2629;g374da0147aa_0_6723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30" name="Google Shape;2630;g374da0147aa_0_672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631" name="Google Shape;2631;g374da0147aa_0_67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9_Title and Content">
    <p:spTree>
      <p:nvGrpSpPr>
        <p:cNvPr id="1" name="Shape 2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33" name="Google Shape;2633;g374da0147aa_0_673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634" name="Google Shape;2634;g374da0147aa_0_67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35" name="Google Shape;2635;g374da0147aa_0_673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636" name="Google Shape;2636;g374da0147aa_0_67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7" name="Google Shape;2637;g374da0147aa_0_67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38" name="Google Shape;2638;g374da0147aa_0_67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9" name="Google Shape;2639;g374da0147aa_0_673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40" name="Google Shape;2640;g374da0147aa_0_67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1" name="Google Shape;2641;g374da0147aa_0_67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42" name="Google Shape;2642;g374da0147aa_0_67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">
    <p:spTree>
      <p:nvGrpSpPr>
        <p:cNvPr id="1" name="Shape 2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4" name="Google Shape;2644;g374da0147aa_0_674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645" name="Google Shape;2645;g374da0147aa_0_6744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646" name="Google Shape;2646;g374da0147aa_0_674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647" name="Google Shape;2647;g374da0147aa_0_674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8" name="Google Shape;2648;g374da0147aa_0_674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49" name="Google Shape;2649;g374da0147aa_0_674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650" name="Google Shape;2650;g374da0147aa_0_67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ison">
  <p:cSld name="1_Comparison"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0" name="Google Shape;250;g374da0147aa_0_435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51" name="Google Shape;251;g374da0147aa_0_4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2" name="Google Shape;252;g374da0147aa_0_435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53" name="Google Shape;253;g374da0147aa_0_4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4" name="Google Shape;254;g374da0147aa_0_4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55" name="Google Shape;255;g374da0147aa_0_4350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" name="Google Shape;256;g374da0147aa_0_4350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57" name="Google Shape;257;g374da0147aa_0_4350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8" name="Google Shape;258;g374da0147aa_0_43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59" name="Google Shape;259;g374da0147aa_0_43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" name="Google Shape;260;g374da0147aa_0_435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1" name="Google Shape;261;g374da0147aa_0_4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2" name="Google Shape;262;g374da0147aa_0_4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 2">
    <p:spTree>
      <p:nvGrpSpPr>
        <p:cNvPr id="1" name="Shape 2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" name="Google Shape;2652;g374da0147aa_0_675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653" name="Google Shape;2653;g374da0147aa_0_675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654" name="Google Shape;2654;g374da0147aa_0_675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655" name="Google Shape;2655;g374da0147aa_0_67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6" name="Google Shape;2656;g374da0147aa_0_67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57" name="Google Shape;2657;g374da0147aa_0_67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658" name="Google Shape;2658;g374da0147aa_0_67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ver">
  <p:cSld name="21_Cover">
    <p:spTree>
      <p:nvGrpSpPr>
        <p:cNvPr id="1" name="Shape 2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0" name="Google Shape;2660;g374da0147aa_0_6760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61" name="Google Shape;2661;g374da0147aa_0_67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2" name="Google Shape;2662;g374da0147aa_0_67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663" name="Google Shape;2663;g374da0147aa_0_67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664" name="Google Shape;2664;g374da0147aa_0_67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665" name="Google Shape;2665;g374da0147aa_0_67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6" name="Google Shape;2666;g374da0147aa_0_67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667" name="Google Shape;2667;g374da0147aa_0_67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Divider">
  <p:cSld name="21_Divider">
    <p:bg>
      <p:bgPr>
        <a:solidFill>
          <a:schemeClr val="lt2"/>
        </a:solidFill>
        <a:effectLst/>
      </p:bgPr>
    </p:bg>
    <p:spTree>
      <p:nvGrpSpPr>
        <p:cNvPr id="1" name="Shape 2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9" name="Google Shape;2669;g374da0147aa_0_676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70" name="Google Shape;2670;g374da0147aa_0_676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1" name="Google Shape;2671;g374da0147aa_0_67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2" name="Google Shape;2672;g374da0147aa_0_676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673" name="Google Shape;2673;g374da0147aa_0_67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674" name="Google Shape;2674;g374da0147aa_0_676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75" name="Google Shape;2675;g374da0147aa_0_676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Photo Slide">
  <p:cSld name="22_Photo Slide 3">
    <p:spTree>
      <p:nvGrpSpPr>
        <p:cNvPr id="1" name="Shape 2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7" name="Google Shape;2677;g374da0147aa_0_677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678" name="Google Shape;2678;g374da0147aa_0_677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679" name="Google Shape;2679;g374da0147aa_0_677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680" name="Google Shape;2680;g374da0147aa_0_677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1" name="Google Shape;2681;g374da0147aa_0_677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82" name="Google Shape;2682;g374da0147aa_0_677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683" name="Google Shape;2683;g374da0147aa_0_67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and Content">
  <p:cSld name="29_Title and Content 2">
    <p:spTree>
      <p:nvGrpSpPr>
        <p:cNvPr id="1" name="Shape 2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85" name="Google Shape;2685;g374da0147aa_0_678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686" name="Google Shape;2686;g374da0147aa_0_67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87" name="Google Shape;2687;g374da0147aa_0_678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688" name="Google Shape;2688;g374da0147aa_0_67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9" name="Google Shape;2689;g374da0147aa_0_67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90" name="Google Shape;2690;g374da0147aa_0_678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91" name="Google Shape;2691;g374da0147aa_0_678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92" name="Google Shape;2692;g374da0147aa_0_67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93" name="Google Shape;2693;g374da0147aa_0_67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94" name="Google Shape;2694;g374da0147aa_0_67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wo Content">
  <p:cSld name="21_Two Content">
    <p:spTree>
      <p:nvGrpSpPr>
        <p:cNvPr id="1" name="Shape 2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6" name="Google Shape;2696;g374da0147aa_0_67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97" name="Google Shape;2697;g374da0147aa_0_67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98" name="Google Shape;2698;g374da0147aa_0_679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699" name="Google Shape;2699;g374da0147aa_0_67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00" name="Google Shape;2700;g374da0147aa_0_67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01" name="Google Shape;2701;g374da0147aa_0_67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2" name="Google Shape;2702;g374da0147aa_0_67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03" name="Google Shape;2703;g374da0147aa_0_679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04" name="Google Shape;2704;g374da0147aa_0_679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05" name="Google Shape;2705;g374da0147aa_0_67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06" name="Google Shape;2706;g374da0147aa_0_67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Comparison">
  <p:cSld name="21_Comparison">
    <p:spTree>
      <p:nvGrpSpPr>
        <p:cNvPr id="1" name="Shape 2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08" name="Google Shape;2708;g374da0147aa_0_680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709" name="Google Shape;2709;g374da0147aa_0_68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10" name="Google Shape;2710;g374da0147aa_0_680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11" name="Google Shape;2711;g374da0147aa_0_68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2" name="Google Shape;2712;g374da0147aa_0_68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13" name="Google Shape;2713;g374da0147aa_0_68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4" name="Google Shape;2714;g374da0147aa_0_680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15" name="Google Shape;2715;g374da0147aa_0_680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16" name="Google Shape;2716;g374da0147aa_0_680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17" name="Google Shape;2717;g374da0147aa_0_680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18" name="Google Shape;2718;g374da0147aa_0_68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19" name="Google Shape;2719;g374da0147aa_0_68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20" name="Google Shape;2720;g374da0147aa_0_68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Title Only">
  <p:cSld name="21_Title Only">
    <p:spTree>
      <p:nvGrpSpPr>
        <p:cNvPr id="1" name="Shape 2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22" name="Google Shape;2722;g374da0147aa_0_682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723" name="Google Shape;2723;g374da0147aa_0_68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24" name="Google Shape;2724;g374da0147aa_0_682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25" name="Google Shape;2725;g374da0147aa_0_68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6" name="Google Shape;2726;g374da0147aa_0_68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27" name="Google Shape;2727;g374da0147aa_0_68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28" name="Google Shape;2728;g374da0147aa_0_68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29" name="Google Shape;2729;g374da0147aa_0_68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30" name="Google Shape;2730;g374da0147aa_0_68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End">
  <p:cSld name="21_End">
    <p:spTree>
      <p:nvGrpSpPr>
        <p:cNvPr id="1" name="Shape 27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32" name="Google Shape;2732;g374da0147aa_0_683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733" name="Google Shape;2733;g374da0147aa_0_683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4" name="Google Shape;2734;g374da0147aa_0_683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35" name="Google Shape;2735;g374da0147aa_0_683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6" name="Google Shape;2736;g374da0147aa_0_683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7" name="Google Shape;2737;g374da0147aa_0_683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738" name="Google Shape;2738;g374da0147aa_0_68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739" name="Google Shape;2739;g374da0147aa_0_68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Blank">
  <p:cSld name="21_Blank">
    <p:spTree>
      <p:nvGrpSpPr>
        <p:cNvPr id="1" name="Shape 2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1" name="Google Shape;2741;g374da0147aa_0_68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42" name="Google Shape;2742;g374da0147aa_0_68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43" name="Google Shape;2743;g374da0147aa_0_68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44" name="Google Shape;2744;g374da0147aa_0_684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745" name="Google Shape;2745;g374da0147aa_0_68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46" name="Google Shape;2746;g374da0147aa_0_68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47" name="Google Shape;2747;g374da0147aa_0_68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8" name="Google Shape;2748;g374da0147aa_0_68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4" name="Google Shape;264;g374da0147aa_0_436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65" name="Google Shape;265;g374da0147aa_0_43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6" name="Google Shape;266;g374da0147aa_0_43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67" name="Google Shape;267;g374da0147aa_0_43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268;g374da0147aa_0_43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9" name="Google Shape;269;g374da0147aa_0_43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g374da0147aa_0_436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1" name="Google Shape;271;g374da0147aa_0_43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2" name="Google Shape;272;g374da0147aa_0_43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ver">
  <p:cSld name="22_Cover">
    <p:spTree>
      <p:nvGrpSpPr>
        <p:cNvPr id="1" name="Shape 2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0" name="Google Shape;2750;g374da0147aa_0_6850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51" name="Google Shape;2751;g374da0147aa_0_685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52" name="Google Shape;2752;g374da0147aa_0_685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753" name="Google Shape;2753;g374da0147aa_0_68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754" name="Google Shape;2754;g374da0147aa_0_685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755" name="Google Shape;2755;g374da0147aa_0_68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6" name="Google Shape;2756;g374da0147aa_0_685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57" name="Google Shape;2757;g374da0147aa_0_68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Divider">
  <p:cSld name="22_Divider">
    <p:bg>
      <p:bgPr>
        <a:solidFill>
          <a:schemeClr val="lt2"/>
        </a:solidFill>
        <a:effectLst/>
      </p:bgPr>
    </p:bg>
    <p:spTree>
      <p:nvGrpSpPr>
        <p:cNvPr id="1" name="Shape 27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59" name="Google Shape;2759;g374da0147aa_0_685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760" name="Google Shape;2760;g374da0147aa_0_685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1" name="Google Shape;2761;g374da0147aa_0_68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2" name="Google Shape;2762;g374da0147aa_0_685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63" name="Google Shape;2763;g374da0147aa_0_68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764" name="Google Shape;2764;g374da0147aa_0_685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65" name="Google Shape;2765;g374da0147aa_0_685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Photo Slide">
  <p:cSld name="23_Photo Slide">
    <p:spTree>
      <p:nvGrpSpPr>
        <p:cNvPr id="1" name="Shape 2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7" name="Google Shape;2767;g374da0147aa_0_686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768" name="Google Shape;2768;g374da0147aa_0_686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769" name="Google Shape;2769;g374da0147aa_0_686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770" name="Google Shape;2770;g374da0147aa_0_686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1" name="Google Shape;2771;g374da0147aa_0_686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72" name="Google Shape;2772;g374da0147aa_0_686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2773" name="Google Shape;2773;g374da0147aa_0_68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Quotation">
  <p:cSld name="44_Quotation">
    <p:spTree>
      <p:nvGrpSpPr>
        <p:cNvPr id="1" name="Shape 2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5" name="Google Shape;2775;g374da0147aa_0_687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76" name="Google Shape;2776;g374da0147aa_0_68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77" name="Google Shape;2777;g374da0147aa_0_68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78" name="Google Shape;2778;g374da0147aa_0_68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79" name="Google Shape;2779;g374da0147aa_0_68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80" name="Google Shape;2780;g374da0147aa_0_68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81" name="Google Shape;2781;g374da0147aa_0_687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782" name="Google Shape;2782;g374da0147aa_0_68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83" name="Google Shape;2783;g374da0147aa_0_687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84" name="Google Shape;2784;g374da0147aa_0_68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5" name="Google Shape;2785;g374da0147aa_0_68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786" name="Google Shape;2786;g374da0147aa_0_687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Title and Content">
  <p:cSld name="30_Title and Content">
    <p:spTree>
      <p:nvGrpSpPr>
        <p:cNvPr id="1" name="Shape 2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88" name="Google Shape;2788;g374da0147aa_0_688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789" name="Google Shape;2789;g374da0147aa_0_68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90" name="Google Shape;2790;g374da0147aa_0_688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791" name="Google Shape;2791;g374da0147aa_0_68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2" name="Google Shape;2792;g374da0147aa_0_68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93" name="Google Shape;2793;g374da0147aa_0_68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94" name="Google Shape;2794;g374da0147aa_0_68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95" name="Google Shape;2795;g374da0147aa_0_68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96" name="Google Shape;2796;g374da0147aa_0_68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97" name="Google Shape;2797;g374da0147aa_0_68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wo Content">
  <p:cSld name="22_Two Content">
    <p:spTree>
      <p:nvGrpSpPr>
        <p:cNvPr id="1" name="Shape 27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9" name="Google Shape;2799;g374da0147aa_0_68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00" name="Google Shape;2800;g374da0147aa_0_68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801" name="Google Shape;2801;g374da0147aa_0_689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02" name="Google Shape;2802;g374da0147aa_0_68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3" name="Google Shape;2803;g374da0147aa_0_689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04" name="Google Shape;2804;g374da0147aa_0_68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5" name="Google Shape;2805;g374da0147aa_0_68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06" name="Google Shape;2806;g374da0147aa_0_689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07" name="Google Shape;2807;g374da0147aa_0_689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08" name="Google Shape;2808;g374da0147aa_0_68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09" name="Google Shape;2809;g374da0147aa_0_68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Comparison">
  <p:cSld name="22_Comparison">
    <p:spTree>
      <p:nvGrpSpPr>
        <p:cNvPr id="1" name="Shape 2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11" name="Google Shape;2811;g374da0147aa_0_691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12" name="Google Shape;2812;g374da0147aa_0_69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13" name="Google Shape;2813;g374da0147aa_0_691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14" name="Google Shape;2814;g374da0147aa_0_69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5" name="Google Shape;2815;g374da0147aa_0_69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16" name="Google Shape;2816;g374da0147aa_0_69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17" name="Google Shape;2817;g374da0147aa_0_691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18" name="Google Shape;2818;g374da0147aa_0_691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19" name="Google Shape;2819;g374da0147aa_0_691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20" name="Google Shape;2820;g374da0147aa_0_691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21" name="Google Shape;2821;g374da0147aa_0_69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22" name="Google Shape;2822;g374da0147aa_0_69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23" name="Google Shape;2823;g374da0147aa_0_69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Title Only">
  <p:cSld name="22_Title Only">
    <p:spTree>
      <p:nvGrpSpPr>
        <p:cNvPr id="1" name="Shape 2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25" name="Google Shape;2825;g374da0147aa_0_692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26" name="Google Shape;2826;g374da0147aa_0_69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27" name="Google Shape;2827;g374da0147aa_0_69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28" name="Google Shape;2828;g374da0147aa_0_69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9" name="Google Shape;2829;g374da0147aa_0_69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30" name="Google Shape;2830;g374da0147aa_0_69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1" name="Google Shape;2831;g374da0147aa_0_69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32" name="Google Shape;2832;g374da0147aa_0_69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33" name="Google Shape;2833;g374da0147aa_0_69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End">
  <p:cSld name="22_End">
    <p:spTree>
      <p:nvGrpSpPr>
        <p:cNvPr id="1" name="Shape 2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35" name="Google Shape;2835;g374da0147aa_0_693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836" name="Google Shape;2836;g374da0147aa_0_693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7" name="Google Shape;2837;g374da0147aa_0_693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38" name="Google Shape;2838;g374da0147aa_0_6935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39" name="Google Shape;2839;g374da0147aa_0_693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40" name="Google Shape;2840;g374da0147aa_0_693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841" name="Google Shape;2841;g374da0147aa_0_69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842" name="Google Shape;2842;g374da0147aa_0_69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_Blank">
  <p:cSld name="22_Blank">
    <p:spTree>
      <p:nvGrpSpPr>
        <p:cNvPr id="1" name="Shape 2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4" name="Google Shape;2844;g374da0147aa_0_69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45" name="Google Shape;2845;g374da0147aa_0_69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46" name="Google Shape;2846;g374da0147aa_0_69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47" name="Google Shape;2847;g374da0147aa_0_694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48" name="Google Shape;2848;g374da0147aa_0_69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49" name="Google Shape;2849;g374da0147aa_0_69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50" name="Google Shape;2850;g374da0147aa_0_69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1" name="Google Shape;2851;g374da0147aa_0_69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4" name="Google Shape;274;g374da0147aa_0_437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75" name="Google Shape;275;g374da0147aa_0_437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g374da0147aa_0_437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7" name="Google Shape;277;g374da0147aa_0_4374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8" name="Google Shape;278;g374da0147aa_0_4374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9" name="Google Shape;279;g374da0147aa_0_437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80" name="Google Shape;280;g374da0147aa_0_4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81" name="Google Shape;281;g374da0147aa_0_43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bg>
      <p:bgPr>
        <a:solidFill>
          <a:schemeClr val="lt1"/>
        </a:solidFill>
        <a:effectLst/>
      </p:bgPr>
    </p:bg>
    <p:spTree>
      <p:nvGrpSpPr>
        <p:cNvPr id="1" name="Shape 2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3" name="Google Shape;2853;g374da0147aa_0_6953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4" name="Google Shape;2854;g374da0147aa_0_6953"/>
          <p:cNvSpPr/>
          <p:nvPr/>
        </p:nvSpPr>
        <p:spPr>
          <a:xfrm>
            <a:off x="2" y="5100849"/>
            <a:ext cx="7111365" cy="1757679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855" name="Google Shape;2855;g374da0147aa_0_69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2856" name="Google Shape;2856;g374da0147aa_0_6953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857" name="Google Shape;2857;g374da0147aa_0_695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2858" name="Google Shape;2858;g374da0147aa_0_6953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9" name="Google Shape;2859;g374da0147aa_0_6953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500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60" name="Google Shape;2860;g374da0147aa_0_6953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61" name="Google Shape;2861;g374da0147aa_0_69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62" name="Google Shape;2862;g374da0147aa_0_695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63" name="Google Shape;2863;g374da0147aa_0_69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Quotation">
  <p:cSld name="46_Quotation">
    <p:spTree>
      <p:nvGrpSpPr>
        <p:cNvPr id="1" name="Shape 2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5" name="Google Shape;2865;g374da0147aa_0_696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6" name="Google Shape;2866;g374da0147aa_0_696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67" name="Google Shape;2867;g374da0147aa_0_69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68" name="Google Shape;2868;g374da0147aa_0_69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69" name="Google Shape;2869;g374da0147aa_0_69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70" name="Google Shape;2870;g374da0147aa_0_69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71" name="Google Shape;2871;g374da0147aa_0_696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72" name="Google Shape;2872;g374da0147aa_0_69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73" name="Google Shape;2873;g374da0147aa_0_696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74" name="Google Shape;2874;g374da0147aa_0_69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5" name="Google Shape;2875;g374da0147aa_0_69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76" name="Google Shape;2876;g374da0147aa_0_696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wo Content">
  <p:cSld name="23_Two Content">
    <p:spTree>
      <p:nvGrpSpPr>
        <p:cNvPr id="1" name="Shape 2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8" name="Google Shape;2878;g374da0147aa_0_69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9" name="Google Shape;2879;g374da0147aa_0_697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880" name="Google Shape;2880;g374da0147aa_0_697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81" name="Google Shape;2881;g374da0147aa_0_69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82" name="Google Shape;2882;g374da0147aa_0_69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83" name="Google Shape;2883;g374da0147aa_0_69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4" name="Google Shape;2884;g374da0147aa_0_69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85" name="Google Shape;2885;g374da0147aa_0_697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6" name="Google Shape;2886;g374da0147aa_0_697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87" name="Google Shape;2887;g374da0147aa_0_69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88" name="Google Shape;2888;g374da0147aa_0_69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mparison">
  <p:cSld name="23_Comparison">
    <p:spTree>
      <p:nvGrpSpPr>
        <p:cNvPr id="1" name="Shape 2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90" name="Google Shape;2890;g374da0147aa_0_699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891" name="Google Shape;2891;g374da0147aa_0_69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92" name="Google Shape;2892;g374da0147aa_0_69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93" name="Google Shape;2893;g374da0147aa_0_69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4" name="Google Shape;2894;g374da0147aa_0_69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95" name="Google Shape;2895;g374da0147aa_0_69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6" name="Google Shape;2896;g374da0147aa_0_699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97" name="Google Shape;2897;g374da0147aa_0_699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8" name="Google Shape;2898;g374da0147aa_0_699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99" name="Google Shape;2899;g374da0147aa_0_699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00" name="Google Shape;2900;g374da0147aa_0_69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1" name="Google Shape;2901;g374da0147aa_0_69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02" name="Google Shape;2902;g374da0147aa_0_69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Only">
  <p:cSld name="23_Title Only">
    <p:spTree>
      <p:nvGrpSpPr>
        <p:cNvPr id="1" name="Shape 2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04" name="Google Shape;2904;g374da0147aa_0_700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905" name="Google Shape;2905;g374da0147aa_0_70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06" name="Google Shape;2906;g374da0147aa_0_700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07" name="Google Shape;2907;g374da0147aa_0_70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8" name="Google Shape;2908;g374da0147aa_0_70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09" name="Google Shape;2909;g374da0147aa_0_70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10" name="Google Shape;2910;g374da0147aa_0_70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1" name="Google Shape;2911;g374da0147aa_0_70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2" name="Google Shape;2912;g374da0147aa_0_70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End">
  <p:cSld name="23_End">
    <p:spTree>
      <p:nvGrpSpPr>
        <p:cNvPr id="1" name="Shape 2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4" name="Google Shape;2914;g374da0147aa_0_701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915" name="Google Shape;2915;g374da0147aa_0_701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6" name="Google Shape;2916;g374da0147aa_0_701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17" name="Google Shape;2917;g374da0147aa_0_7014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8" name="Google Shape;2918;g374da0147aa_0_701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19" name="Google Shape;2919;g374da0147aa_0_701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920" name="Google Shape;2920;g374da0147aa_0_70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921" name="Google Shape;2921;g374da0147aa_0_70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Blank">
  <p:cSld name="23_Blank">
    <p:spTree>
      <p:nvGrpSpPr>
        <p:cNvPr id="1" name="Shape 2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3" name="Google Shape;2923;g374da0147aa_0_70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24" name="Google Shape;2924;g374da0147aa_0_70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25" name="Google Shape;2925;g374da0147aa_0_70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26" name="Google Shape;2926;g374da0147aa_0_702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927" name="Google Shape;2927;g374da0147aa_0_70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28" name="Google Shape;2928;g374da0147aa_0_702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29" name="Google Shape;2929;g374da0147aa_0_70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0" name="Google Shape;2930;g374da0147aa_0_70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Cover">
  <p:cSld name="23_Cover">
    <p:spTree>
      <p:nvGrpSpPr>
        <p:cNvPr id="1" name="Shape 2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2" name="Google Shape;2932;g374da0147aa_0_7032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3" name="Google Shape;2933;g374da0147aa_0_703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34" name="Google Shape;2934;g374da0147aa_0_703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35" name="Google Shape;2935;g374da0147aa_0_70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936" name="Google Shape;2936;g374da0147aa_0_703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37" name="Google Shape;2937;g374da0147aa_0_70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8" name="Google Shape;2938;g374da0147aa_0_703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39" name="Google Shape;2939;g374da0147aa_0_70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Divider">
  <p:cSld name="23_Divider">
    <p:bg>
      <p:bgPr>
        <a:solidFill>
          <a:schemeClr val="lt2"/>
        </a:solidFill>
        <a:effectLst/>
      </p:bgPr>
    </p:bg>
    <p:spTree>
      <p:nvGrpSpPr>
        <p:cNvPr id="1" name="Shape 29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1" name="Google Shape;2941;g374da0147aa_0_704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42" name="Google Shape;2942;g374da0147aa_0_704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3" name="Google Shape;2943;g374da0147aa_0_70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4" name="Google Shape;2944;g374da0147aa_0_704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45" name="Google Shape;2945;g374da0147aa_0_70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46" name="Google Shape;2946;g374da0147aa_0_704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7" name="Google Shape;2947;g374da0147aa_0_704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Quotation">
  <p:cSld name="47_Quotation">
    <p:spTree>
      <p:nvGrpSpPr>
        <p:cNvPr id="1" name="Shape 2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9" name="Google Shape;2949;g374da0147aa_0_7049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50" name="Google Shape;2950;g374da0147aa_0_704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1" name="Google Shape;2951;g374da0147aa_0_704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52" name="Google Shape;2952;g374da0147aa_0_70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53" name="Google Shape;2953;g374da0147aa_0_70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54" name="Google Shape;2954;g374da0147aa_0_70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55" name="Google Shape;2955;g374da0147aa_0_704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956" name="Google Shape;2956;g374da0147aa_0_70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57" name="Google Shape;2957;g374da0147aa_0_704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58" name="Google Shape;2958;g374da0147aa_0_70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9" name="Google Shape;2959;g374da0147aa_0_70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60" name="Google Shape;2960;g374da0147aa_0_704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39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39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39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1pPr>
            <a:lvl2pPr lvl="1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2pPr>
            <a:lvl3pPr lvl="2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3pPr>
            <a:lvl4pPr lvl="3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4pPr>
            <a:lvl5pPr lvl="4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5pPr>
            <a:lvl6pPr lvl="5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6pPr>
            <a:lvl7pPr lvl="6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7pPr>
            <a:lvl8pPr lvl="7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8pPr>
            <a:lvl9pPr lvl="8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g374da0147aa_0_438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4" name="Google Shape;284;g374da0147aa_0_43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5" name="Google Shape;285;g374da0147aa_0_4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6" name="Google Shape;286;g374da0147aa_0_438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287" name="Google Shape;287;g374da0147aa_0_4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8" name="Google Shape;288;g374da0147aa_0_438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89" name="Google Shape;289;g374da0147aa_0_43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290;g374da0147aa_0_43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Quotation">
  <p:cSld name="48_Quotation">
    <p:spTree>
      <p:nvGrpSpPr>
        <p:cNvPr id="1" name="Shape 2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2" name="Google Shape;2962;g374da0147aa_0_7062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63" name="Google Shape;2963;g374da0147aa_0_70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64" name="Google Shape;2964;g374da0147aa_0_70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65" name="Google Shape;2965;g374da0147aa_0_70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66" name="Google Shape;2966;g374da0147aa_0_70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67" name="Google Shape;2967;g374da0147aa_0_70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68" name="Google Shape;2968;g374da0147aa_0_706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969" name="Google Shape;2969;g374da0147aa_0_70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70" name="Google Shape;2970;g374da0147aa_0_706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71" name="Google Shape;2971;g374da0147aa_0_70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2" name="Google Shape;2972;g374da0147aa_0_70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73" name="Google Shape;2973;g374da0147aa_0_706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9_Quotation">
  <p:cSld name="49_Quotation">
    <p:spTree>
      <p:nvGrpSpPr>
        <p:cNvPr id="1" name="Shape 2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5" name="Google Shape;2975;g374da0147aa_0_707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76" name="Google Shape;2976;g374da0147aa_0_70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7" name="Google Shape;2977;g374da0147aa_0_70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78" name="Google Shape;2978;g374da0147aa_0_70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79" name="Google Shape;2979;g374da0147aa_0_70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80" name="Google Shape;2980;g374da0147aa_0_70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81" name="Google Shape;2981;g374da0147aa_0_707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2982" name="Google Shape;2982;g374da0147aa_0_70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83" name="Google Shape;2983;g374da0147aa_0_707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2984" name="Google Shape;2984;g374da0147aa_0_70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5" name="Google Shape;2985;g374da0147aa_0_70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86" name="Google Shape;2986;g374da0147aa_0_707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ver">
  <p:cSld name="24_Cover">
    <p:spTree>
      <p:nvGrpSpPr>
        <p:cNvPr id="1" name="Shape 29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8" name="Google Shape;2988;g374da0147aa_0_7088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89" name="Google Shape;2989;g374da0147aa_0_708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0" name="Google Shape;2990;g374da0147aa_0_708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91" name="Google Shape;2991;g374da0147aa_0_708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992" name="Google Shape;2992;g374da0147aa_0_708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93" name="Google Shape;2993;g374da0147aa_0_70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4" name="Google Shape;2994;g374da0147aa_0_708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95" name="Google Shape;2995;g374da0147aa_0_70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Divider">
  <p:cSld name="24_Divider">
    <p:bg>
      <p:bgPr>
        <a:solidFill>
          <a:schemeClr val="lt2"/>
        </a:solidFill>
        <a:effectLst/>
      </p:bgPr>
    </p:bg>
    <p:spTree>
      <p:nvGrpSpPr>
        <p:cNvPr id="1" name="Shape 2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97" name="Google Shape;2997;g374da0147aa_0_709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98" name="Google Shape;2998;g374da0147aa_0_709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9" name="Google Shape;2999;g374da0147aa_0_70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0" name="Google Shape;3000;g374da0147aa_0_709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01" name="Google Shape;3001;g374da0147aa_0_70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02" name="Google Shape;3002;g374da0147aa_0_709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3" name="Google Shape;3003;g374da0147aa_0_709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Photo Slide">
  <p:cSld name="24_Photo Slide">
    <p:spTree>
      <p:nvGrpSpPr>
        <p:cNvPr id="1" name="Shape 3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5" name="Google Shape;3005;g374da0147aa_0_710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06" name="Google Shape;3006;g374da0147aa_0_710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07" name="Google Shape;3007;g374da0147aa_0_710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08" name="Google Shape;3008;g374da0147aa_0_710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9" name="Google Shape;3009;g374da0147aa_0_710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10" name="Google Shape;3010;g374da0147aa_0_710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011" name="Google Shape;3011;g374da0147aa_0_7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0_Quotation">
  <p:cSld name="50_Quotation">
    <p:spTree>
      <p:nvGrpSpPr>
        <p:cNvPr id="1" name="Shape 3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3" name="Google Shape;3013;g374da0147aa_0_7113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14" name="Google Shape;3014;g374da0147aa_0_71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15" name="Google Shape;3015;g374da0147aa_0_71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16" name="Google Shape;3016;g374da0147aa_0_7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17" name="Google Shape;3017;g374da0147aa_0_7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8" name="Google Shape;3018;g374da0147aa_0_7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19" name="Google Shape;3019;g374da0147aa_0_711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20" name="Google Shape;3020;g374da0147aa_0_7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21" name="Google Shape;3021;g374da0147aa_0_71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22" name="Google Shape;3022;g374da0147aa_0_7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3" name="Google Shape;3023;g374da0147aa_0_7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24" name="Google Shape;3024;g374da0147aa_0_711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1_Title and Content">
  <p:cSld name="31_Title and Content">
    <p:spTree>
      <p:nvGrpSpPr>
        <p:cNvPr id="1" name="Shape 30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26" name="Google Shape;3026;g374da0147aa_0_712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27" name="Google Shape;3027;g374da0147aa_0_7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28" name="Google Shape;3028;g374da0147aa_0_71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29" name="Google Shape;3029;g374da0147aa_0_7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0" name="Google Shape;3030;g374da0147aa_0_7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31" name="Google Shape;3031;g374da0147aa_0_7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2" name="Google Shape;3032;g374da0147aa_0_71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33" name="Google Shape;3033;g374da0147aa_0_71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34" name="Google Shape;3034;g374da0147aa_0_7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35" name="Google Shape;3035;g374da0147aa_0_7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wo Content">
  <p:cSld name="24_Two Content">
    <p:spTree>
      <p:nvGrpSpPr>
        <p:cNvPr id="1" name="Shape 3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7" name="Google Shape;3037;g374da0147aa_0_71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8" name="Google Shape;3038;g374da0147aa_0_71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039" name="Google Shape;3039;g374da0147aa_0_713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40" name="Google Shape;3040;g374da0147aa_0_7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41" name="Google Shape;3041;g374da0147aa_0_713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42" name="Google Shape;3042;g374da0147aa_0_71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3" name="Google Shape;3043;g374da0147aa_0_71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44" name="Google Shape;3044;g374da0147aa_0_71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45" name="Google Shape;3045;g374da0147aa_0_71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46" name="Google Shape;3046;g374da0147aa_0_71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47" name="Google Shape;3047;g374da0147aa_0_71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Comparison">
  <p:cSld name="24_Comparison">
    <p:spTree>
      <p:nvGrpSpPr>
        <p:cNvPr id="1" name="Shape 3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49" name="Google Shape;3049;g374da0147aa_0_714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50" name="Google Shape;3050;g374da0147aa_0_71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51" name="Google Shape;3051;g374da0147aa_0_714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52" name="Google Shape;3052;g374da0147aa_0_7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3" name="Google Shape;3053;g374da0147aa_0_7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54" name="Google Shape;3054;g374da0147aa_0_71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55" name="Google Shape;3055;g374da0147aa_0_714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056" name="Google Shape;3056;g374da0147aa_0_714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57" name="Google Shape;3057;g374da0147aa_0_714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058" name="Google Shape;3058;g374da0147aa_0_714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59" name="Google Shape;3059;g374da0147aa_0_7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60" name="Google Shape;3060;g374da0147aa_0_7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61" name="Google Shape;3061;g374da0147aa_0_7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Only">
  <p:cSld name="24_Title Only">
    <p:spTree>
      <p:nvGrpSpPr>
        <p:cNvPr id="1" name="Shape 30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63" name="Google Shape;3063;g374da0147aa_0_7163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64" name="Google Shape;3064;g374da0147aa_0_71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65" name="Google Shape;3065;g374da0147aa_0_71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66" name="Google Shape;3066;g374da0147aa_0_7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7" name="Google Shape;3067;g374da0147aa_0_7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68" name="Google Shape;3068;g374da0147aa_0_71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9" name="Google Shape;3069;g374da0147aa_0_71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70" name="Google Shape;3070;g374da0147aa_0_7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71" name="Google Shape;3071;g374da0147aa_0_7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ver">
  <p:cSld name="3_Cover"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374da0147aa_0_4392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" name="Google Shape;293;g374da0147aa_0_4392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" name="Google Shape;294;g374da0147aa_0_4392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5" name="Google Shape;295;g374da0147aa_0_439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96" name="Google Shape;296;g374da0147aa_0_4392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97" name="Google Shape;297;g374da0147aa_0_439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98;g374da0147aa_0_439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9" name="Google Shape;299;g374da0147aa_0_43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End">
  <p:cSld name="24_End">
    <p:spTree>
      <p:nvGrpSpPr>
        <p:cNvPr id="1" name="Shape 3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3" name="Google Shape;3073;g374da0147aa_0_717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74" name="Google Shape;3074;g374da0147aa_0_717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5" name="Google Shape;3075;g374da0147aa_0_717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76" name="Google Shape;3076;g374da0147aa_0_7173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7" name="Google Shape;3077;g374da0147aa_0_717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78" name="Google Shape;3078;g374da0147aa_0_717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79" name="Google Shape;3079;g374da0147aa_0_71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080" name="Google Shape;3080;g374da0147aa_0_71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Blank">
  <p:cSld name="24_Blank">
    <p:spTree>
      <p:nvGrpSpPr>
        <p:cNvPr id="1" name="Shape 30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2" name="Google Shape;3082;g374da0147aa_0_71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83" name="Google Shape;3083;g374da0147aa_0_71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84" name="Google Shape;3084;g374da0147aa_0_71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85" name="Google Shape;3085;g374da0147aa_0_718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86" name="Google Shape;3086;g374da0147aa_0_71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87" name="Google Shape;3087;g374da0147aa_0_718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088" name="Google Shape;3088;g374da0147aa_0_71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9" name="Google Shape;3089;g374da0147aa_0_71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2_Quotation">
  <p:cSld name="52_Quotation">
    <p:spTree>
      <p:nvGrpSpPr>
        <p:cNvPr id="1" name="Shape 30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1" name="Google Shape;3091;g374da0147aa_0_7191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92" name="Google Shape;3092;g374da0147aa_0_71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3" name="Google Shape;3093;g374da0147aa_0_71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94" name="Google Shape;3094;g374da0147aa_0_7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95" name="Google Shape;3095;g374da0147aa_0_7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96" name="Google Shape;3096;g374da0147aa_0_7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97" name="Google Shape;3097;g374da0147aa_0_719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098" name="Google Shape;3098;g374da0147aa_0_71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99" name="Google Shape;3099;g374da0147aa_0_71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00" name="Google Shape;3100;g374da0147aa_0_7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1" name="Google Shape;3101;g374da0147aa_0_7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102" name="Google Shape;3102;g374da0147aa_0_71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3_Quotation">
  <p:cSld name="53_Quotation">
    <p:spTree>
      <p:nvGrpSpPr>
        <p:cNvPr id="1" name="Shape 3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4" name="Google Shape;3104;g374da0147aa_0_7204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05" name="Google Shape;3105;g374da0147aa_0_720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6" name="Google Shape;3106;g374da0147aa_0_72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07" name="Google Shape;3107;g374da0147aa_0_72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08" name="Google Shape;3108;g374da0147aa_0_7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09" name="Google Shape;3109;g374da0147aa_0_7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10" name="Google Shape;3110;g374da0147aa_0_720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11" name="Google Shape;3111;g374da0147aa_0_7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12" name="Google Shape;3112;g374da0147aa_0_720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13" name="Google Shape;3113;g374da0147aa_0_7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4" name="Google Shape;3114;g374da0147aa_0_7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115" name="Google Shape;3115;g374da0147aa_0_720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5_Quotation">
  <p:cSld name="55_Quotation">
    <p:spTree>
      <p:nvGrpSpPr>
        <p:cNvPr id="1" name="Shape 3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7" name="Google Shape;3117;g374da0147aa_0_7217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8" name="Google Shape;3118;g374da0147aa_0_7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9" name="Google Shape;3119;g374da0147aa_0_7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20" name="Google Shape;3120;g374da0147aa_0_7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21" name="Google Shape;3121;g374da0147aa_0_7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22" name="Google Shape;3122;g374da0147aa_0_7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23" name="Google Shape;3123;g374da0147aa_0_721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24" name="Google Shape;3124;g374da0147aa_0_7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25" name="Google Shape;3125;g374da0147aa_0_721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26" name="Google Shape;3126;g374da0147aa_0_7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7" name="Google Shape;3127;g374da0147aa_0_7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128" name="Google Shape;3128;g374da0147aa_0_721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ver">
  <p:cSld name="25_Cover">
    <p:spTree>
      <p:nvGrpSpPr>
        <p:cNvPr id="1" name="Shape 3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0" name="Google Shape;3130;g374da0147aa_0_7230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31" name="Google Shape;3131;g374da0147aa_0_723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32" name="Google Shape;3132;g374da0147aa_0_723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133" name="Google Shape;3133;g374da0147aa_0_723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134" name="Google Shape;3134;g374da0147aa_0_723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35" name="Google Shape;3135;g374da0147aa_0_72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6" name="Google Shape;3136;g374da0147aa_0_723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37" name="Google Shape;3137;g374da0147aa_0_72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Divider">
  <p:cSld name="25_Divider">
    <p:bg>
      <p:bgPr>
        <a:solidFill>
          <a:schemeClr val="lt2"/>
        </a:solidFill>
        <a:effectLst/>
      </p:bgPr>
    </p:bg>
    <p:spTree>
      <p:nvGrpSpPr>
        <p:cNvPr id="1" name="Shape 3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39" name="Google Shape;3139;g374da0147aa_0_723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140" name="Google Shape;3140;g374da0147aa_0_723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1" name="Google Shape;3141;g374da0147aa_0_72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2" name="Google Shape;3142;g374da0147aa_0_723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43" name="Google Shape;3143;g374da0147aa_0_72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144" name="Google Shape;3144;g374da0147aa_0_723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45" name="Google Shape;3145;g374da0147aa_0_723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Photo Slide">
  <p:cSld name="25_Photo Slide">
    <p:spTree>
      <p:nvGrpSpPr>
        <p:cNvPr id="1" name="Shape 3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7" name="Google Shape;3147;g374da0147aa_0_724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148" name="Google Shape;3148;g374da0147aa_0_724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149" name="Google Shape;3149;g374da0147aa_0_724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150" name="Google Shape;3150;g374da0147aa_0_724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1" name="Google Shape;3151;g374da0147aa_0_724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52" name="Google Shape;3152;g374da0147aa_0_724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153" name="Google Shape;3153;g374da0147aa_0_72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2_Title and Content">
  <p:cSld name="32_Title and Content">
    <p:spTree>
      <p:nvGrpSpPr>
        <p:cNvPr id="1" name="Shape 3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55" name="Google Shape;3155;g374da0147aa_0_725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56" name="Google Shape;3156;g374da0147aa_0_72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57" name="Google Shape;3157;g374da0147aa_0_725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58" name="Google Shape;3158;g374da0147aa_0_72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9" name="Google Shape;3159;g374da0147aa_0_72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60" name="Google Shape;3160;g374da0147aa_0_72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61" name="Google Shape;3161;g374da0147aa_0_72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62" name="Google Shape;3162;g374da0147aa_0_72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63" name="Google Shape;3163;g374da0147aa_0_72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64" name="Google Shape;3164;g374da0147aa_0_72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wo Content">
  <p:cSld name="25_Two Content">
    <p:spTree>
      <p:nvGrpSpPr>
        <p:cNvPr id="1" name="Shape 3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6" name="Google Shape;3166;g374da0147aa_0_72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67" name="Google Shape;3167;g374da0147aa_0_72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168" name="Google Shape;3168;g374da0147aa_0_726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69" name="Google Shape;3169;g374da0147aa_0_7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70" name="Google Shape;3170;g374da0147aa_0_72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71" name="Google Shape;3171;g374da0147aa_0_72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2" name="Google Shape;3172;g374da0147aa_0_72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73" name="Google Shape;3173;g374da0147aa_0_72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74" name="Google Shape;3174;g374da0147aa_0_72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75" name="Google Shape;3175;g374da0147aa_0_72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76" name="Google Shape;3176;g374da0147aa_0_72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ivider">
  <p:cSld name="3_Divider">
    <p:bg>
      <p:bgPr>
        <a:solidFill>
          <a:schemeClr val="lt2"/>
        </a:solidFill>
        <a:effectLst/>
      </p:bgPr>
    </p:bg>
    <p:spTree>
      <p:nvGrpSpPr>
        <p:cNvPr id="1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1" name="Google Shape;301;g374da0147aa_0_4401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302" name="Google Shape;302;g374da0147aa_0_440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303;g374da0147aa_0_44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304;g374da0147aa_0_440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5" name="Google Shape;305;g374da0147aa_0_44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6" name="Google Shape;306;g374da0147aa_0_440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" name="Google Shape;307;g374da0147aa_0_4401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omparison">
  <p:cSld name="25_Comparison">
    <p:spTree>
      <p:nvGrpSpPr>
        <p:cNvPr id="1" name="Shape 3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78" name="Google Shape;3178;g374da0147aa_0_727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79" name="Google Shape;3179;g374da0147aa_0_7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0" name="Google Shape;3180;g374da0147aa_0_72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81" name="Google Shape;3181;g374da0147aa_0_72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2" name="Google Shape;3182;g374da0147aa_0_72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83" name="Google Shape;3183;g374da0147aa_0_72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4" name="Google Shape;3184;g374da0147aa_0_727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85" name="Google Shape;3185;g374da0147aa_0_727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86" name="Google Shape;3186;g374da0147aa_0_727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87" name="Google Shape;3187;g374da0147aa_0_727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88" name="Google Shape;3188;g374da0147aa_0_72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89" name="Google Shape;3189;g374da0147aa_0_72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90" name="Google Shape;3190;g374da0147aa_0_72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Title Only">
  <p:cSld name="25_Title Only">
    <p:spTree>
      <p:nvGrpSpPr>
        <p:cNvPr id="1" name="Shape 3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92" name="Google Shape;3192;g374da0147aa_0_729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193" name="Google Shape;3193;g374da0147aa_0_72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94" name="Google Shape;3194;g374da0147aa_0_729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195" name="Google Shape;3195;g374da0147aa_0_72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6" name="Google Shape;3196;g374da0147aa_0_72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97" name="Google Shape;3197;g374da0147aa_0_72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98" name="Google Shape;3198;g374da0147aa_0_72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99" name="Google Shape;3199;g374da0147aa_0_72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00" name="Google Shape;3200;g374da0147aa_0_72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End">
  <p:cSld name="25_End">
    <p:spTree>
      <p:nvGrpSpPr>
        <p:cNvPr id="1" name="Shape 3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02" name="Google Shape;3202;g374da0147aa_0_730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203" name="Google Shape;3203;g374da0147aa_0_730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4" name="Google Shape;3204;g374da0147aa_0_730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05" name="Google Shape;3205;g374da0147aa_0_730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6" name="Google Shape;3206;g374da0147aa_0_730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07" name="Google Shape;3207;g374da0147aa_0_730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208" name="Google Shape;3208;g374da0147aa_0_73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209" name="Google Shape;3209;g374da0147aa_0_730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Blank">
  <p:cSld name="25_Blank">
    <p:spTree>
      <p:nvGrpSpPr>
        <p:cNvPr id="1" name="Shape 3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1" name="Google Shape;3211;g374da0147aa_0_73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12" name="Google Shape;3212;g374da0147aa_0_73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13" name="Google Shape;3213;g374da0147aa_0_73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14" name="Google Shape;3214;g374da0147aa_0_731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215" name="Google Shape;3215;g374da0147aa_0_73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16" name="Google Shape;3216;g374da0147aa_0_731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17" name="Google Shape;3217;g374da0147aa_0_73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8" name="Google Shape;3218;g374da0147aa_0_73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ver">
  <p:cSld name="26_Cover">
    <p:spTree>
      <p:nvGrpSpPr>
        <p:cNvPr id="1" name="Shape 3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0" name="Google Shape;3220;g374da0147aa_0_7320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1" name="Google Shape;3221;g374da0147aa_0_732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22" name="Google Shape;3222;g374da0147aa_0_732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223" name="Google Shape;3223;g374da0147aa_0_732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224" name="Google Shape;3224;g374da0147aa_0_732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225" name="Google Shape;3225;g374da0147aa_0_73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6" name="Google Shape;3226;g374da0147aa_0_732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27" name="Google Shape;3227;g374da0147aa_0_7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Divider">
  <p:cSld name="26_Divider">
    <p:bg>
      <p:bgPr>
        <a:solidFill>
          <a:schemeClr val="lt2"/>
        </a:solidFill>
        <a:effectLst/>
      </p:bgPr>
    </p:bg>
    <p:spTree>
      <p:nvGrpSpPr>
        <p:cNvPr id="1" name="Shape 3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29" name="Google Shape;3229;g374da0147aa_0_73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230" name="Google Shape;3230;g374da0147aa_0_73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1" name="Google Shape;3231;g374da0147aa_0_73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2" name="Google Shape;3232;g374da0147aa_0_73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33" name="Google Shape;3233;g374da0147aa_0_73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234" name="Google Shape;3234;g374da0147aa_0_73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5" name="Google Shape;3235;g374da0147aa_0_73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Photo Slide">
  <p:cSld name="26_Photo Slide">
    <p:spTree>
      <p:nvGrpSpPr>
        <p:cNvPr id="1" name="Shape 3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7" name="Google Shape;3237;g374da0147aa_0_733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238" name="Google Shape;3238;g374da0147aa_0_733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239" name="Google Shape;3239;g374da0147aa_0_733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240" name="Google Shape;3240;g374da0147aa_0_73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1" name="Google Shape;3241;g374da0147aa_0_73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42" name="Google Shape;3242;g374da0147aa_0_73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243" name="Google Shape;3243;g374da0147aa_0_73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3_Title and Content">
  <p:cSld name="33_Title and Content">
    <p:spTree>
      <p:nvGrpSpPr>
        <p:cNvPr id="1" name="Shape 3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45" name="Google Shape;3245;g374da0147aa_0_734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246" name="Google Shape;3246;g374da0147aa_0_73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47" name="Google Shape;3247;g374da0147aa_0_73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48" name="Google Shape;3248;g374da0147aa_0_73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9" name="Google Shape;3249;g374da0147aa_0_73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50" name="Google Shape;3250;g374da0147aa_0_73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51" name="Google Shape;3251;g374da0147aa_0_73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52" name="Google Shape;3252;g374da0147aa_0_73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3" name="Google Shape;3253;g374da0147aa_0_73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54" name="Google Shape;3254;g374da0147aa_0_73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wo Content">
  <p:cSld name="26_Two Content">
    <p:spTree>
      <p:nvGrpSpPr>
        <p:cNvPr id="1" name="Shape 3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6" name="Google Shape;3256;g374da0147aa_0_73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57" name="Google Shape;3257;g374da0147aa_0_73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258" name="Google Shape;3258;g374da0147aa_0_735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259" name="Google Shape;3259;g374da0147aa_0_73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60" name="Google Shape;3260;g374da0147aa_0_73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61" name="Google Shape;3261;g374da0147aa_0_73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2" name="Google Shape;3262;g374da0147aa_0_73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63" name="Google Shape;3263;g374da0147aa_0_735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64" name="Google Shape;3264;g374da0147aa_0_735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65" name="Google Shape;3265;g374da0147aa_0_73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6" name="Google Shape;3266;g374da0147aa_0_73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Comparison">
  <p:cSld name="26_Comparison">
    <p:spTree>
      <p:nvGrpSpPr>
        <p:cNvPr id="1" name="Shape 3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68" name="Google Shape;3268;g374da0147aa_0_736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269" name="Google Shape;3269;g374da0147aa_0_73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70" name="Google Shape;3270;g374da0147aa_0_736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71" name="Google Shape;3271;g374da0147aa_0_73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2" name="Google Shape;3272;g374da0147aa_0_73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73" name="Google Shape;3273;g374da0147aa_0_73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4" name="Google Shape;3274;g374da0147aa_0_736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75" name="Google Shape;3275;g374da0147aa_0_736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76" name="Google Shape;3276;g374da0147aa_0_736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77" name="Google Shape;3277;g374da0147aa_0_736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78" name="Google Shape;3278;g374da0147aa_0_73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79" name="Google Shape;3279;g374da0147aa_0_73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80" name="Google Shape;3280;g374da0147aa_0_73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hoto Slide">
  <p:cSld name="3_Photo Slide"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g374da0147aa_0_4409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10" name="Google Shape;310;g374da0147aa_0_440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11" name="Google Shape;311;g374da0147aa_0_4409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312" name="Google Shape;312;g374da0147aa_0_44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313;g374da0147aa_0_44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4" name="Google Shape;314;g374da0147aa_0_44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15" name="Google Shape;315;g374da0147aa_0_44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Title Only">
  <p:cSld name="26_Title Only">
    <p:spTree>
      <p:nvGrpSpPr>
        <p:cNvPr id="1" name="Shape 3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82" name="Google Shape;3282;g374da0147aa_0_738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283" name="Google Shape;3283;g374da0147aa_0_73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84" name="Google Shape;3284;g374da0147aa_0_738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85" name="Google Shape;3285;g374da0147aa_0_73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6" name="Google Shape;3286;g374da0147aa_0_73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87" name="Google Shape;3287;g374da0147aa_0_73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88" name="Google Shape;3288;g374da0147aa_0_73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89" name="Google Shape;3289;g374da0147aa_0_73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90" name="Google Shape;3290;g374da0147aa_0_73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End">
  <p:cSld name="26_End">
    <p:spTree>
      <p:nvGrpSpPr>
        <p:cNvPr id="1" name="Shape 3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92" name="Google Shape;3292;g374da0147aa_0_739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293" name="Google Shape;3293;g374da0147aa_0_739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4" name="Google Shape;3294;g374da0147aa_0_739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95" name="Google Shape;3295;g374da0147aa_0_7392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96" name="Google Shape;3296;g374da0147aa_0_739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97" name="Google Shape;3297;g374da0147aa_0_739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298" name="Google Shape;3298;g374da0147aa_0_73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299" name="Google Shape;3299;g374da0147aa_0_739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Blank">
  <p:cSld name="26_Blank">
    <p:spTree>
      <p:nvGrpSpPr>
        <p:cNvPr id="1" name="Shape 3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1" name="Google Shape;3301;g374da0147aa_0_74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02" name="Google Shape;3302;g374da0147aa_0_74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03" name="Google Shape;3303;g374da0147aa_0_74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04" name="Google Shape;3304;g374da0147aa_0_740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305" name="Google Shape;3305;g374da0147aa_0_74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06" name="Google Shape;3306;g374da0147aa_0_74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307" name="Google Shape;3307;g374da0147aa_0_74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08" name="Google Shape;3308;g374da0147aa_0_74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4_Title and Content">
    <p:spTree>
      <p:nvGrpSpPr>
        <p:cNvPr id="1" name="Shape 3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10" name="Google Shape;3310;g374da0147aa_0_741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311" name="Google Shape;3311;g374da0147aa_0_74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12" name="Google Shape;3312;g374da0147aa_0_74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313" name="Google Shape;3313;g374da0147aa_0_74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14" name="Google Shape;3314;g374da0147aa_0_74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15" name="Google Shape;3315;g374da0147aa_0_74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16" name="Google Shape;3316;g374da0147aa_0_741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7" name="Google Shape;3317;g374da0147aa_0_74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18" name="Google Shape;3318;g374da0147aa_0_74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19" name="Google Shape;3319;g374da0147aa_0_74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3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1" name="Google Shape;3321;g374da0147aa_0_7421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22" name="Google Shape;3322;g374da0147aa_0_7421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323" name="Google Shape;3323;g374da0147aa_0_74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24" name="Google Shape;3324;g374da0147aa_0_7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25" name="Google Shape;3325;g374da0147aa_0_74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_Yale Blue">
  <p:cSld name="10_Title Slide_Yale Blue">
    <p:spTree>
      <p:nvGrpSpPr>
        <p:cNvPr id="1" name="Shape 3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7" name="Google Shape;3327;g374da0147aa_0_742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28" name="Google Shape;3328;g374da0147aa_0_742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29" name="Google Shape;3329;g374da0147aa_0_742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30" name="Google Shape;3330;g374da0147aa_0_74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1" name="Google Shape;3331;g374da0147aa_0_74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32" name="Google Shape;3332;g374da0147aa_0_7427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33" name="Google Shape;3333;g374da0147aa_0_7427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34" name="Google Shape;3334;g374da0147aa_0_742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35" name="Google Shape;3335;g374da0147aa_0_74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Slide_Yale Blue">
  <p:cSld name="13_Title Slide_Yale Blue">
    <p:spTree>
      <p:nvGrpSpPr>
        <p:cNvPr id="1" name="Shape 3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7" name="Google Shape;3337;g374da0147aa_0_743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38" name="Google Shape;3338;g374da0147aa_0_743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9" name="Google Shape;3339;g374da0147aa_0_74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40" name="Google Shape;3340;g374da0147aa_0_74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41" name="Google Shape;3341;g374da0147aa_0_74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42" name="Google Shape;3342;g374da0147aa_0_7437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43" name="Google Shape;3343;g374da0147aa_0_7437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44" name="Google Shape;3344;g374da0147aa_0_743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45" name="Google Shape;3345;g374da0147aa_0_74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Bullets Layout">
  <p:cSld name="8_Title and Bullets Layout">
    <p:spTree>
      <p:nvGrpSpPr>
        <p:cNvPr id="1" name="Shape 3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7" name="Google Shape;3347;g374da0147aa_0_744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48" name="Google Shape;3348;g374da0147aa_0_7447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49" name="Google Shape;3349;g374da0147aa_0_7447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0" name="Google Shape;3350;g374da0147aa_0_744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51" name="Google Shape;3351;g374da0147aa_0_744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4_Title and Content">
  <p:cSld name="34_Title and Content 2">
    <p:spTree>
      <p:nvGrpSpPr>
        <p:cNvPr id="1" name="Shape 3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3" name="Google Shape;3353;g374da0147aa_0_7453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54" name="Google Shape;3354;g374da0147aa_0_745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355" name="Google Shape;3355;g374da0147aa_0_7453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6" name="Google Shape;3356;g374da0147aa_0_745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57" name="Google Shape;3357;g374da0147aa_0_745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Section | Picture and Copy Layout">
  <p:cSld name="8_Two Section | Picture and Copy Layout">
    <p:spTree>
      <p:nvGrpSpPr>
        <p:cNvPr id="1" name="Shape 3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9" name="Google Shape;3359;g374da0147aa_0_745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0" name="Google Shape;3360;g374da0147aa_0_745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1" name="Google Shape;3361;g374da0147aa_0_74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62" name="Google Shape;3362;g374da0147aa_0_74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63" name="Google Shape;3363;g374da0147aa_0_74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64" name="Google Shape;3364;g374da0147aa_0_745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7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Quotation">
  <p:cSld name="6_Quotation"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Google Shape;317;g374da0147aa_0_441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8" name="Google Shape;318;g374da0147aa_0_441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9" name="Google Shape;319;g374da0147aa_0_44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0" name="Google Shape;320;g374da0147aa_0_441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1" name="Google Shape;321;g374da0147aa_0_44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2" name="Google Shape;322;g374da0147aa_0_44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3" name="Google Shape;323;g374da0147aa_0_441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24" name="Google Shape;324;g374da0147aa_0_44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5" name="Google Shape;325;g374da0147aa_0_441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26" name="Google Shape;326;g374da0147aa_0_44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g374da0147aa_0_44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8" name="Google Shape;328;g374da0147aa_0_441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Slide_Yale Blue">
  <p:cSld name="14_Title Slide_Yale Blue">
    <p:spTree>
      <p:nvGrpSpPr>
        <p:cNvPr id="1" name="Shape 3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6" name="Google Shape;3366;g374da0147aa_0_746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67" name="Google Shape;3367;g374da0147aa_0_746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8" name="Google Shape;3368;g374da0147aa_0_746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69" name="Google Shape;3369;g374da0147aa_0_74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70" name="Google Shape;3370;g374da0147aa_0_74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71" name="Google Shape;3371;g374da0147aa_0_7466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2" name="Google Shape;3372;g374da0147aa_0_7466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3" name="Google Shape;3373;g374da0147aa_0_746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74" name="Google Shape;3374;g374da0147aa_0_74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Bullets Layout">
  <p:cSld name="9_Title and Bullets Layout">
    <p:spTree>
      <p:nvGrpSpPr>
        <p:cNvPr id="1" name="Shape 3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6" name="Google Shape;3376;g374da0147aa_0_747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77" name="Google Shape;3377;g374da0147aa_0_747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8" name="Google Shape;3378;g374da0147aa_0_747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9" name="Google Shape;3379;g374da0147aa_0_747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80" name="Google Shape;3380;g374da0147aa_0_74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Title and Content">
  <p:cSld name="35_Title and Content">
    <p:spTree>
      <p:nvGrpSpPr>
        <p:cNvPr id="1" name="Shape 3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2" name="Google Shape;3382;g374da0147aa_0_7482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83" name="Google Shape;3383;g374da0147aa_0_74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384" name="Google Shape;3384;g374da0147aa_0_7482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5" name="Google Shape;3385;g374da0147aa_0_748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86" name="Google Shape;3386;g374da0147aa_0_748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Section | Picture and Copy Layout">
  <p:cSld name="9_Two Section | Picture and Copy Layout">
    <p:spTree>
      <p:nvGrpSpPr>
        <p:cNvPr id="1" name="Shape 3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8" name="Google Shape;3388;g374da0147aa_0_7488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9" name="Google Shape;3389;g374da0147aa_0_7488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0" name="Google Shape;3390;g374da0147aa_0_748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91" name="Google Shape;3391;g374da0147aa_0_748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92" name="Google Shape;3392;g374da0147aa_0_748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93" name="Google Shape;3393;g374da0147aa_0_74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Slide_Yale Blue">
  <p:cSld name="15_Title Slide_Yale Blue">
    <p:spTree>
      <p:nvGrpSpPr>
        <p:cNvPr id="1" name="Shape 3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5" name="Google Shape;3395;g374da0147aa_0_749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96" name="Google Shape;3396;g374da0147aa_0_749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97" name="Google Shape;3397;g374da0147aa_0_749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98" name="Google Shape;3398;g374da0147aa_0_74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99" name="Google Shape;3399;g374da0147aa_0_74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00" name="Google Shape;3400;g374da0147aa_0_7495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01" name="Google Shape;3401;g374da0147aa_0_7495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02" name="Google Shape;3402;g374da0147aa_0_749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03" name="Google Shape;3403;g374da0147aa_0_74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Slide_Yale Blue">
  <p:cSld name="16_Title Slide_Yale Blue">
    <p:spTree>
      <p:nvGrpSpPr>
        <p:cNvPr id="1" name="Shape 3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5" name="Google Shape;3405;g374da0147aa_0_750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06" name="Google Shape;3406;g374da0147aa_0_750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7" name="Google Shape;3407;g374da0147aa_0_750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08" name="Google Shape;3408;g374da0147aa_0_75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9" name="Google Shape;3409;g374da0147aa_0_75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10" name="Google Shape;3410;g374da0147aa_0_7505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1" name="Google Shape;3411;g374da0147aa_0_7505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2" name="Google Shape;3412;g374da0147aa_0_750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13" name="Google Shape;3413;g374da0147aa_0_75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Slide_Yale Blue">
  <p:cSld name="17_Title Slide_Yale Blue">
    <p:spTree>
      <p:nvGrpSpPr>
        <p:cNvPr id="1" name="Shape 34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5" name="Google Shape;3415;g374da0147aa_0_751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16" name="Google Shape;3416;g374da0147aa_0_751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7" name="Google Shape;3417;g374da0147aa_0_751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18" name="Google Shape;3418;g374da0147aa_0_75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9" name="Google Shape;3419;g374da0147aa_0_75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20" name="Google Shape;3420;g374da0147aa_0_7515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21" name="Google Shape;3421;g374da0147aa_0_7515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22" name="Google Shape;3422;g374da0147aa_0_751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23" name="Google Shape;3423;g374da0147aa_0_75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Bullets Layout">
  <p:cSld name="10_Title and Bullets Layout">
    <p:spTree>
      <p:nvGrpSpPr>
        <p:cNvPr id="1" name="Shape 3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5" name="Google Shape;3425;g374da0147aa_0_752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26" name="Google Shape;3426;g374da0147aa_0_752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27" name="Google Shape;3427;g374da0147aa_0_752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28" name="Google Shape;3428;g374da0147aa_0_752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29" name="Google Shape;3429;g374da0147aa_0_75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6_Title and Content">
  <p:cSld name="36_Title and Content">
    <p:spTree>
      <p:nvGrpSpPr>
        <p:cNvPr id="1" name="Shape 3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1" name="Google Shape;3431;g374da0147aa_0_753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32" name="Google Shape;3432;g374da0147aa_0_75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433" name="Google Shape;3433;g374da0147aa_0_753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34" name="Google Shape;3434;g374da0147aa_0_753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5" name="Google Shape;3435;g374da0147aa_0_753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Section | Picture and Copy Layout">
  <p:cSld name="10_Two Section | Picture and Copy Layout">
    <p:spTree>
      <p:nvGrpSpPr>
        <p:cNvPr id="1" name="Shape 3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7" name="Google Shape;3437;g374da0147aa_0_7537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38" name="Google Shape;3438;g374da0147aa_0_7537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39" name="Google Shape;3439;g374da0147aa_0_75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40" name="Google Shape;3440;g374da0147aa_0_75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41" name="Google Shape;3441;g374da0147aa_0_75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42" name="Google Shape;3442;g374da0147aa_0_75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">
  <p:cSld name="3_Title and Content"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0" name="Google Shape;330;g374da0147aa_0_443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31" name="Google Shape;331;g374da0147aa_0_44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2" name="Google Shape;332;g374da0147aa_0_443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33" name="Google Shape;333;g374da0147aa_0_44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4" name="Google Shape;334;g374da0147aa_0_44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5" name="Google Shape;335;g374da0147aa_0_44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" name="Google Shape;336;g374da0147aa_0_44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" name="Google Shape;337;g374da0147aa_0_443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" name="Google Shape;338;g374da0147aa_0_44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9" name="Google Shape;339;g374da0147aa_0_44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Slide_Yale Blue">
  <p:cSld name="18_Title Slide_Yale Blue">
    <p:spTree>
      <p:nvGrpSpPr>
        <p:cNvPr id="1" name="Shape 3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4" name="Google Shape;3444;g374da0147aa_0_754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45" name="Google Shape;3445;g374da0147aa_0_754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46" name="Google Shape;3446;g374da0147aa_0_75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47" name="Google Shape;3447;g374da0147aa_0_75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48" name="Google Shape;3448;g374da0147aa_0_75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49" name="Google Shape;3449;g374da0147aa_0_7544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0" name="Google Shape;3450;g374da0147aa_0_7544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1" name="Google Shape;3451;g374da0147aa_0_754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52" name="Google Shape;3452;g374da0147aa_0_75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Bullets Layout">
  <p:cSld name="11_Title and Bullets Layout">
    <p:spTree>
      <p:nvGrpSpPr>
        <p:cNvPr id="1" name="Shape 3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4" name="Google Shape;3454;g374da0147aa_0_755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5" name="Google Shape;3455;g374da0147aa_0_755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6" name="Google Shape;3456;g374da0147aa_0_755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7" name="Google Shape;3457;g374da0147aa_0_755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58" name="Google Shape;3458;g374da0147aa_0_75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7_Title and Content">
  <p:cSld name="37_Title and Content">
    <p:spTree>
      <p:nvGrpSpPr>
        <p:cNvPr id="1" name="Shape 3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0" name="Google Shape;3460;g374da0147aa_0_7560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61" name="Google Shape;3461;g374da0147aa_0_75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462" name="Google Shape;3462;g374da0147aa_0_7560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63" name="Google Shape;3463;g374da0147aa_0_756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64" name="Google Shape;3464;g374da0147aa_0_756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Section | Picture and Copy Layout">
  <p:cSld name="11_Two Section | Picture and Copy Layout">
    <p:spTree>
      <p:nvGrpSpPr>
        <p:cNvPr id="1" name="Shape 3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6" name="Google Shape;3466;g374da0147aa_0_7566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67" name="Google Shape;3467;g374da0147aa_0_7566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68" name="Google Shape;3468;g374da0147aa_0_756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69" name="Google Shape;3469;g374da0147aa_0_756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70" name="Google Shape;3470;g374da0147aa_0_756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71" name="Google Shape;3471;g374da0147aa_0_75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Slide_Yale Blue">
  <p:cSld name="19_Title Slide_Yale Blue">
    <p:spTree>
      <p:nvGrpSpPr>
        <p:cNvPr id="1" name="Shape 3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3" name="Google Shape;3473;g374da0147aa_0_757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74" name="Google Shape;3474;g374da0147aa_0_757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75" name="Google Shape;3475;g374da0147aa_0_75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76" name="Google Shape;3476;g374da0147aa_0_75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77" name="Google Shape;3477;g374da0147aa_0_75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78" name="Google Shape;3478;g374da0147aa_0_7573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9" name="Google Shape;3479;g374da0147aa_0_7573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0" name="Google Shape;3480;g374da0147aa_0_757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81" name="Google Shape;3481;g374da0147aa_0_75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Bullets Layout">
  <p:cSld name="12_Title and Bullets Layout">
    <p:spTree>
      <p:nvGrpSpPr>
        <p:cNvPr id="1" name="Shape 3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3" name="Google Shape;3483;g374da0147aa_0_758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84" name="Google Shape;3484;g374da0147aa_0_7583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5" name="Google Shape;3485;g374da0147aa_0_7583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6" name="Google Shape;3486;g374da0147aa_0_758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87" name="Google Shape;3487;g374da0147aa_0_75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8_Title and Content">
  <p:cSld name="38_Title and Content">
    <p:spTree>
      <p:nvGrpSpPr>
        <p:cNvPr id="1" name="Shape 3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9" name="Google Shape;3489;g374da0147aa_0_7589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90" name="Google Shape;3490;g374da0147aa_0_75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491" name="Google Shape;3491;g374da0147aa_0_7589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2" name="Google Shape;3492;g374da0147aa_0_758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3" name="Google Shape;3493;g374da0147aa_0_758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Section | Picture and Copy Layout">
  <p:cSld name="12_Two Section | Picture and Copy Layout">
    <p:spTree>
      <p:nvGrpSpPr>
        <p:cNvPr id="1" name="Shape 3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5" name="Google Shape;3495;g374da0147aa_0_7595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6" name="Google Shape;3496;g374da0147aa_0_7595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7" name="Google Shape;3497;g374da0147aa_0_759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8" name="Google Shape;3498;g374da0147aa_0_759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9" name="Google Shape;3499;g374da0147aa_0_759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500" name="Google Shape;3500;g374da0147aa_0_75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Slide_Yale Blue">
  <p:cSld name="20_Title Slide_Yale Blue">
    <p:spTree>
      <p:nvGrpSpPr>
        <p:cNvPr id="1" name="Shape 3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2" name="Google Shape;3502;g374da0147aa_0_760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00" cy="3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03" name="Google Shape;3503;g374da0147aa_0_760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00" cy="16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04" name="Google Shape;3504;g374da0147aa_0_760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505" name="Google Shape;3505;g374da0147aa_0_76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06" name="Google Shape;3506;g374da0147aa_0_76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507" name="Google Shape;3507;g374da0147aa_0_7602"/>
          <p:cNvSpPr/>
          <p:nvPr/>
        </p:nvSpPr>
        <p:spPr>
          <a:xfrm rot="10800000">
            <a:off x="5756" y="1999990"/>
            <a:ext cx="2779313" cy="2043109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08" name="Google Shape;3508;g374da0147aa_0_7602"/>
          <p:cNvSpPr/>
          <p:nvPr/>
        </p:nvSpPr>
        <p:spPr>
          <a:xfrm>
            <a:off x="0" y="6115051"/>
            <a:ext cx="12192000" cy="742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09" name="Google Shape;3509;g374da0147aa_0_760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00" cy="7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510" name="Google Shape;3510;g374da0147aa_0_76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Bullets Layout">
  <p:cSld name="13_Title and Bullets Layout">
    <p:spTree>
      <p:nvGrpSpPr>
        <p:cNvPr id="1" name="Shape 3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2" name="Google Shape;3512;g374da0147aa_0_761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13" name="Google Shape;3513;g374da0147aa_0_7612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14" name="Google Shape;3514;g374da0147aa_0_7612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15" name="Google Shape;3515;g374da0147aa_0_761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516" name="Google Shape;3516;g374da0147aa_0_76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Content">
  <p:cSld name="2_Two Content"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g374da0147aa_0_44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2" name="Google Shape;342;g374da0147aa_0_4441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43" name="Google Shape;343;g374da0147aa_0_444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44" name="Google Shape;344;g374da0147aa_0_44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5" name="Google Shape;345;g374da0147aa_0_44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46" name="Google Shape;346;g374da0147aa_0_44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7" name="Google Shape;347;g374da0147aa_0_44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8" name="Google Shape;348;g374da0147aa_0_4441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" name="Google Shape;349;g374da0147aa_0_4441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0" name="Google Shape;350;g374da0147aa_0_44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1" name="Google Shape;351;g374da0147aa_0_44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9_Title and Content">
  <p:cSld name="39_Title and Content">
    <p:spTree>
      <p:nvGrpSpPr>
        <p:cNvPr id="1" name="Shape 3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8" name="Google Shape;3518;g374da0147aa_0_7618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519" name="Google Shape;3519;g374da0147aa_0_76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520" name="Google Shape;3520;g374da0147aa_0_7618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21" name="Google Shape;3521;g374da0147aa_0_761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22" name="Google Shape;3522;g374da0147aa_0_761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wo Section | Picture and Copy Layout">
  <p:cSld name="13_Two Section | Picture and Copy Layout">
    <p:spTree>
      <p:nvGrpSpPr>
        <p:cNvPr id="1" name="Shape 3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4" name="Google Shape;3524;g374da0147aa_0_7624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25" name="Google Shape;3525;g374da0147aa_0_7624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26" name="Google Shape;3526;g374da0147aa_0_762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27" name="Google Shape;3527;g374da0147aa_0_762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28" name="Google Shape;3528;g374da0147aa_0_762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529" name="Google Shape;3529;g374da0147aa_0_76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Bullets Layout">
  <p:cSld name="14_Title and Bullets Layout">
    <p:spTree>
      <p:nvGrpSpPr>
        <p:cNvPr id="1" name="Shape 35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1" name="Google Shape;3531;g374da0147aa_0_76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32" name="Google Shape;3532;g374da0147aa_0_7631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33" name="Google Shape;3533;g374da0147aa_0_7631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34" name="Google Shape;3534;g374da0147aa_0_76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535" name="Google Shape;3535;g374da0147aa_0_76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0_Title and Content">
  <p:cSld name="40_Title and Content">
    <p:spTree>
      <p:nvGrpSpPr>
        <p:cNvPr id="1" name="Shape 3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7" name="Google Shape;3537;g374da0147aa_0_7637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538" name="Google Shape;3538;g374da0147aa_0_76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539" name="Google Shape;3539;g374da0147aa_0_7637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40" name="Google Shape;3540;g374da0147aa_0_763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41" name="Google Shape;3541;g374da0147aa_0_763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wo Section | Picture and Copy Layout">
  <p:cSld name="14_Two Section | Picture and Copy Layout">
    <p:spTree>
      <p:nvGrpSpPr>
        <p:cNvPr id="1" name="Shape 3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3" name="Google Shape;3543;g374da0147aa_0_7643"/>
          <p:cNvSpPr/>
          <p:nvPr/>
        </p:nvSpPr>
        <p:spPr>
          <a:xfrm>
            <a:off x="0" y="6313117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44" name="Google Shape;3544;g374da0147aa_0_7643"/>
          <p:cNvSpPr/>
          <p:nvPr/>
        </p:nvSpPr>
        <p:spPr>
          <a:xfrm>
            <a:off x="0" y="6301514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45" name="Google Shape;3545;g374da0147aa_0_76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46" name="Google Shape;3546;g374da0147aa_0_76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47" name="Google Shape;3547;g374da0147aa_0_76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548" name="Google Shape;3548;g374da0147aa_0_76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ver">
  <p:cSld name="27_Cover">
    <p:spTree>
      <p:nvGrpSpPr>
        <p:cNvPr id="1" name="Shape 3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0" name="Google Shape;3550;g374da0147aa_0_7650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51" name="Google Shape;3551;g374da0147aa_0_765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2" name="Google Shape;3552;g374da0147aa_0_765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53" name="Google Shape;3553;g374da0147aa_0_76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54" name="Google Shape;3554;g374da0147aa_0_765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55" name="Google Shape;3555;g374da0147aa_0_76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6" name="Google Shape;3556;g374da0147aa_0_765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57" name="Google Shape;3557;g374da0147aa_0_76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Divider">
  <p:cSld name="27_Divider">
    <p:bg>
      <p:bgPr>
        <a:solidFill>
          <a:schemeClr val="lt2"/>
        </a:solidFill>
        <a:effectLst/>
      </p:bgPr>
    </p:bg>
    <p:spTree>
      <p:nvGrpSpPr>
        <p:cNvPr id="1" name="Shape 3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59" name="Google Shape;3559;g374da0147aa_0_765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60" name="Google Shape;3560;g374da0147aa_0_765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1" name="Google Shape;3561;g374da0147aa_0_76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2" name="Google Shape;3562;g374da0147aa_0_765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63" name="Google Shape;3563;g374da0147aa_0_76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564" name="Google Shape;3564;g374da0147aa_0_765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65" name="Google Shape;3565;g374da0147aa_0_765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Photo Slide">
  <p:cSld name="27_Photo Slide">
    <p:spTree>
      <p:nvGrpSpPr>
        <p:cNvPr id="1" name="Shape 3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7" name="Google Shape;3567;g374da0147aa_0_766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568" name="Google Shape;3568;g374da0147aa_0_766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569" name="Google Shape;3569;g374da0147aa_0_766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570" name="Google Shape;3570;g374da0147aa_0_766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1" name="Google Shape;3571;g374da0147aa_0_766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72" name="Google Shape;3572;g374da0147aa_0_766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573" name="Google Shape;3573;g374da0147aa_0_76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9_Quotation">
  <p:cSld name="59_Quotation">
    <p:spTree>
      <p:nvGrpSpPr>
        <p:cNvPr id="1" name="Shape 3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5" name="Google Shape;3575;g374da0147aa_0_7675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76" name="Google Shape;3576;g374da0147aa_0_76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77" name="Google Shape;3577;g374da0147aa_0_76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8" name="Google Shape;3578;g374da0147aa_0_76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79" name="Google Shape;3579;g374da0147aa_0_76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80" name="Google Shape;3580;g374da0147aa_0_76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81" name="Google Shape;3581;g374da0147aa_0_767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582" name="Google Shape;3582;g374da0147aa_0_76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83" name="Google Shape;3583;g374da0147aa_0_767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584" name="Google Shape;3584;g374da0147aa_0_76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85" name="Google Shape;3585;g374da0147aa_0_76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86" name="Google Shape;3586;g374da0147aa_0_767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1_Title and Content">
  <p:cSld name="41_Title and Content">
    <p:spTree>
      <p:nvGrpSpPr>
        <p:cNvPr id="1" name="Shape 3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88" name="Google Shape;3588;g374da0147aa_0_768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589" name="Google Shape;3589;g374da0147aa_0_76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90" name="Google Shape;3590;g374da0147aa_0_768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591" name="Google Shape;3591;g374da0147aa_0_76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92" name="Google Shape;3592;g374da0147aa_0_76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93" name="Google Shape;3593;g374da0147aa_0_76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94" name="Google Shape;3594;g374da0147aa_0_76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95" name="Google Shape;3595;g374da0147aa_0_76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96" name="Google Shape;3596;g374da0147aa_0_76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97" name="Google Shape;3597;g374da0147aa_0_76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mparison">
  <p:cSld name="2_Comparison">
    <p:spTree>
      <p:nvGrpSpPr>
        <p:cNvPr id="1" name="Shape 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3" name="Google Shape;353;g374da0147aa_0_445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54" name="Google Shape;354;g374da0147aa_0_44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5" name="Google Shape;355;g374da0147aa_0_445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56" name="Google Shape;356;g374da0147aa_0_44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7" name="Google Shape;357;g374da0147aa_0_44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8" name="Google Shape;358;g374da0147aa_0_4453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9" name="Google Shape;359;g374da0147aa_0_4453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60" name="Google Shape;360;g374da0147aa_0_4453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1" name="Google Shape;361;g374da0147aa_0_445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62" name="Google Shape;362;g374da0147aa_0_445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3" name="Google Shape;363;g374da0147aa_0_445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4" name="Google Shape;364;g374da0147aa_0_44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5" name="Google Shape;365;g374da0147aa_0_44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wo Content">
  <p:cSld name="27_Two Content">
    <p:spTree>
      <p:nvGrpSpPr>
        <p:cNvPr id="1" name="Shape 3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9" name="Google Shape;3599;g374da0147aa_0_76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00" name="Google Shape;3600;g374da0147aa_0_76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601" name="Google Shape;3601;g374da0147aa_0_7699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602" name="Google Shape;3602;g374da0147aa_0_76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03" name="Google Shape;3603;g374da0147aa_0_769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604" name="Google Shape;3604;g374da0147aa_0_76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05" name="Google Shape;3605;g374da0147aa_0_76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06" name="Google Shape;3606;g374da0147aa_0_769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07" name="Google Shape;3607;g374da0147aa_0_769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08" name="Google Shape;3608;g374da0147aa_0_76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09" name="Google Shape;3609;g374da0147aa_0_76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Comparison">
  <p:cSld name="27_Comparison">
    <p:spTree>
      <p:nvGrpSpPr>
        <p:cNvPr id="1" name="Shape 3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11" name="Google Shape;3611;g374da0147aa_0_771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612" name="Google Shape;3612;g374da0147aa_0_77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13" name="Google Shape;3613;g374da0147aa_0_771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614" name="Google Shape;3614;g374da0147aa_0_77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15" name="Google Shape;3615;g374da0147aa_0_77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16" name="Google Shape;3616;g374da0147aa_0_77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17" name="Google Shape;3617;g374da0147aa_0_771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618" name="Google Shape;3618;g374da0147aa_0_771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19" name="Google Shape;3619;g374da0147aa_0_771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620" name="Google Shape;3620;g374da0147aa_0_771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21" name="Google Shape;3621;g374da0147aa_0_77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22" name="Google Shape;3622;g374da0147aa_0_77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23" name="Google Shape;3623;g374da0147aa_0_77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itle Only">
  <p:cSld name="27_Title Only">
    <p:spTree>
      <p:nvGrpSpPr>
        <p:cNvPr id="1" name="Shape 36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25" name="Google Shape;3625;g374da0147aa_0_7725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626" name="Google Shape;3626;g374da0147aa_0_77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27" name="Google Shape;3627;g374da0147aa_0_77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628" name="Google Shape;3628;g374da0147aa_0_77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29" name="Google Shape;3629;g374da0147aa_0_77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30" name="Google Shape;3630;g374da0147aa_0_77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31" name="Google Shape;3631;g374da0147aa_0_77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32" name="Google Shape;3632;g374da0147aa_0_77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33" name="Google Shape;3633;g374da0147aa_0_77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End">
  <p:cSld name="27_End">
    <p:spTree>
      <p:nvGrpSpPr>
        <p:cNvPr id="1" name="Shape 3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35" name="Google Shape;3635;g374da0147aa_0_773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636" name="Google Shape;3636;g374da0147aa_0_773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7" name="Google Shape;3637;g374da0147aa_0_773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38" name="Google Shape;3638;g374da0147aa_0_7735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39" name="Google Shape;3639;g374da0147aa_0_773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0" name="Google Shape;3640;g374da0147aa_0_773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641" name="Google Shape;3641;g374da0147aa_0_77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642" name="Google Shape;3642;g374da0147aa_0_77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Blank">
  <p:cSld name="27_Blank">
    <p:spTree>
      <p:nvGrpSpPr>
        <p:cNvPr id="1" name="Shape 3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4" name="Google Shape;3644;g374da0147aa_0_77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45" name="Google Shape;3645;g374da0147aa_0_77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46" name="Google Shape;3646;g374da0147aa_0_77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47" name="Google Shape;3647;g374da0147aa_0_774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648" name="Google Shape;3648;g374da0147aa_0_77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49" name="Google Shape;3649;g374da0147aa_0_774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650" name="Google Shape;3650;g374da0147aa_0_77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51" name="Google Shape;3651;g374da0147aa_0_77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Slide">
  <p:cSld name="5_Title Slide">
    <p:spTree>
      <p:nvGrpSpPr>
        <p:cNvPr id="1" name="Shape 3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3" name="Google Shape;3653;g374da0147aa_0_7753"/>
          <p:cNvSpPr/>
          <p:nvPr/>
        </p:nvSpPr>
        <p:spPr>
          <a:xfrm>
            <a:off x="-21166" y="6629400"/>
            <a:ext cx="12213300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654" name="Google Shape;3654;g374da0147aa_0_775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3" cy="18139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655" name="Google Shape;3655;g374da0147aa_0_7753"/>
          <p:cNvGrpSpPr/>
          <p:nvPr/>
        </p:nvGrpSpPr>
        <p:grpSpPr>
          <a:xfrm>
            <a:off x="0" y="0"/>
            <a:ext cx="1862644" cy="6629629"/>
            <a:chOff x="-15876" y="0"/>
            <a:chExt cx="1927803" cy="6858001"/>
          </a:xfrm>
        </p:grpSpPr>
        <p:sp>
          <p:nvSpPr>
            <p:cNvPr id="3656" name="Google Shape;3656;g374da0147aa_0_7753"/>
            <p:cNvSpPr/>
            <p:nvPr/>
          </p:nvSpPr>
          <p:spPr>
            <a:xfrm>
              <a:off x="-15876" y="0"/>
              <a:ext cx="1844700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57" name="Google Shape;3657;g374da0147aa_0_7753"/>
            <p:cNvPicPr preferRelativeResize="0"/>
            <p:nvPr/>
          </p:nvPicPr>
          <p:blipFill rotWithShape="1">
            <a:blip r:embed="rId3">
              <a:alphaModFix/>
            </a:blip>
            <a:srcRect l="7217" t="16937" r="72250" b="20586"/>
            <a:stretch/>
          </p:blipFill>
          <p:spPr>
            <a:xfrm>
              <a:off x="-15876" y="0"/>
              <a:ext cx="1927803" cy="685800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3658" name="Google Shape;3658;g374da0147aa_0_775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59" name="Google Shape;3659;g374da0147aa_0_775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00" cy="22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60" name="Google Shape;3660;g374da0147aa_0_775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1" name="Google Shape;3661;g374da0147aa_0_775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able of Content">
  <p:cSld name="2_Table of Content">
    <p:spTree>
      <p:nvGrpSpPr>
        <p:cNvPr id="1" name="Shape 3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3" name="Google Shape;3663;g374da0147aa_0_7763"/>
          <p:cNvSpPr/>
          <p:nvPr/>
        </p:nvSpPr>
        <p:spPr>
          <a:xfrm>
            <a:off x="-10584" y="6620933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64" name="Google Shape;3664;g374da0147aa_0_7763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65" name="Google Shape;3665;g374da0147aa_0_7763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6" name="Google Shape;3666;g374da0147aa_0_7763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7" name="Google Shape;3667;g374da0147aa_0_77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668" name="Google Shape;3668;g374da0147aa_0_7763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2_Title and Content">
    <p:spTree>
      <p:nvGrpSpPr>
        <p:cNvPr id="1" name="Shape 3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70" name="Google Shape;3670;g374da0147aa_0_777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3671" name="Google Shape;3671;g374da0147aa_0_77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72" name="Google Shape;3672;g374da0147aa_0_77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673" name="Google Shape;3673;g374da0147aa_0_77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74" name="Google Shape;3674;g374da0147aa_0_77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75" name="Google Shape;3675;g374da0147aa_0_77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76" name="Google Shape;3676;g374da0147aa_0_777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7" name="Google Shape;3677;g374da0147aa_0_77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78" name="Google Shape;3678;g374da0147aa_0_77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79" name="Google Shape;3679;g374da0147aa_0_77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3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1" name="Google Shape;3681;g374da0147aa_0_778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82" name="Google Shape;3682;g374da0147aa_0_778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83" name="Google Shape;3683;g374da0147aa_0_778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84" name="Google Shape;3684;g374da0147aa_0_778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5" name="Google Shape;3685;g374da0147aa_0_778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86" name="Google Shape;3686;g374da0147aa_0_778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687" name="Google Shape;3687;g374da0147aa_0_77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>
  <p:cSld name="6_Title Slide">
    <p:spTree>
      <p:nvGrpSpPr>
        <p:cNvPr id="1" name="Shape 3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9" name="Google Shape;3689;g374da0147aa_0_77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690" name="Google Shape;3690;g374da0147aa_0_778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3691" name="Google Shape;3691;g374da0147aa_0_7789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92" name="Google Shape;3692;g374da0147aa_0_7789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7" name="Google Shape;367;g374da0147aa_0_446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68" name="Google Shape;368;g374da0147aa_0_44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9" name="Google Shape;369;g374da0147aa_0_44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70" name="Google Shape;370;g374da0147aa_0_44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1" name="Google Shape;371;g374da0147aa_0_44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2" name="Google Shape;372;g374da0147aa_0_44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3" name="Google Shape;373;g374da0147aa_0_446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4" name="Google Shape;374;g374da0147aa_0_44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5" name="Google Shape;375;g374da0147aa_0_44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2_Title and Content">
  <p:cSld name="42_Title and Content 2">
    <p:spTree>
      <p:nvGrpSpPr>
        <p:cNvPr id="1" name="Shape 3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94" name="Google Shape;3694;g374da0147aa_0_77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1" cy="6856475"/>
          </a:xfrm>
          <a:prstGeom prst="rect">
            <a:avLst/>
          </a:prstGeom>
          <a:noFill/>
          <a:ln>
            <a:noFill/>
          </a:ln>
        </p:spPr>
      </p:pic>
      <p:sp>
        <p:nvSpPr>
          <p:cNvPr id="3695" name="Google Shape;3695;g374da0147aa_0_77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96" name="Google Shape;3696;g374da0147aa_0_77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697" name="Google Shape;3697;g374da0147aa_0_7794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3_Title and Content">
  <p:cSld name="43_Title and Content">
    <p:spTree>
      <p:nvGrpSpPr>
        <p:cNvPr id="1" name="Shape 3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99" name="Google Shape;3699;g374da0147aa_0_779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9" y="762"/>
            <a:ext cx="12189293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3700" name="Google Shape;3700;g374da0147aa_0_77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1" name="Google Shape;3701;g374da0147aa_0_77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02" name="Google Shape;3702;g374da0147aa_0_7799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3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04" name="Google Shape;3704;g374da0147aa_0_78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0" cy="6856285"/>
          </a:xfrm>
          <a:prstGeom prst="rect">
            <a:avLst/>
          </a:prstGeom>
          <a:noFill/>
          <a:ln>
            <a:noFill/>
          </a:ln>
        </p:spPr>
      </p:pic>
      <p:sp>
        <p:nvSpPr>
          <p:cNvPr id="3705" name="Google Shape;3705;g374da0147aa_0_7804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6" name="Google Shape;3706;g374da0147aa_0_78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07" name="Google Shape;3707;g374da0147aa_0_7804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3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09" name="Google Shape;3709;g374da0147aa_0_78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3710" name="Google Shape;3710;g374da0147aa_0_780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3711" name="Google Shape;3711;g374da0147aa_0_7809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2" name="Google Shape;3712;g374da0147aa_0_7809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reaker-4">
  <p:cSld name="1_Breaker-4">
    <p:spTree>
      <p:nvGrpSpPr>
        <p:cNvPr id="1" name="Shape 3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14" name="Google Shape;3714;g374da0147aa_0_781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96"/>
            <a:ext cx="12188953" cy="6857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715" name="Google Shape;3715;g374da0147aa_0_78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3716" name="Google Shape;3716;g374da0147aa_0_7814"/>
          <p:cNvSpPr txBox="1">
            <a:spLocks noGrp="1"/>
          </p:cNvSpPr>
          <p:nvPr>
            <p:ph type="body" idx="1"/>
          </p:nvPr>
        </p:nvSpPr>
        <p:spPr>
          <a:xfrm>
            <a:off x="7459666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7" name="Google Shape;3717;g374da0147aa_0_7814"/>
          <p:cNvSpPr txBox="1">
            <a:spLocks noGrp="1"/>
          </p:cNvSpPr>
          <p:nvPr>
            <p:ph type="body" idx="2"/>
          </p:nvPr>
        </p:nvSpPr>
        <p:spPr>
          <a:xfrm>
            <a:off x="7459662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reaker-4">
  <p:cSld name="2_Breaker-4">
    <p:spTree>
      <p:nvGrpSpPr>
        <p:cNvPr id="1" name="Shape 3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19" name="Google Shape;3719;g374da0147aa_0_78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96"/>
            <a:ext cx="12188953" cy="6857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720" name="Google Shape;3720;g374da0147aa_0_78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3721" name="Google Shape;3721;g374da0147aa_0_7819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22" name="Google Shape;3722;g374da0147aa_0_7819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Title and Content">
  <p:cSld name="44_Title and Content">
    <p:spTree>
      <p:nvGrpSpPr>
        <p:cNvPr id="1" name="Shape 3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24" name="Google Shape;3724;g374da0147aa_0_78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7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3725" name="Google Shape;3725;g374da0147aa_0_78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26" name="Google Shape;3726;g374da0147aa_0_78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27" name="Google Shape;3727;g374da0147aa_0_782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3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29" name="Google Shape;3729;g374da0147aa_0_78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730" name="Google Shape;3730;g374da0147aa_0_782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31" name="Google Shape;3731;g374da0147aa_0_782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32" name="Google Shape;3732;g374da0147aa_0_7829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80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3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34" name="Google Shape;3734;g374da0147aa_0_78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35" name="Google Shape;3735;g374da0147aa_0_7834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2">
    <p:spTree>
      <p:nvGrpSpPr>
        <p:cNvPr id="1" name="Shape 3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" name="Google Shape;3737;g374da0147aa_0_783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738" name="Google Shape;3738;g374da0147aa_0_783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739" name="Google Shape;3739;g374da0147aa_0_783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3740" name="Google Shape;3740;g374da0147aa_0_78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1" name="Google Shape;3741;g374da0147aa_0_78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742" name="Google Shape;3742;g374da0147aa_0_78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743" name="Google Shape;3743;g374da0147aa_0_78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">
  <p:cSld name="1_End"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7" name="Google Shape;377;g374da0147aa_0_447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78" name="Google Shape;378;g374da0147aa_0_447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379;g374da0147aa_0_447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80" name="Google Shape;380;g374da0147aa_0_4477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" name="Google Shape;381;g374da0147aa_0_447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2" name="Google Shape;382;g374da0147aa_0_447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3" name="Google Shape;383;g374da0147aa_0_44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84" name="Google Shape;384;g374da0147aa_0_44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Bullets Layout">
  <p:cSld name="15_Title and Bullets Layout">
    <p:spTree>
      <p:nvGrpSpPr>
        <p:cNvPr id="1" name="Shape 3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5" name="Google Shape;3745;g374da0147aa_0_7845"/>
          <p:cNvSpPr txBox="1">
            <a:spLocks noGrp="1"/>
          </p:cNvSpPr>
          <p:nvPr>
            <p:ph type="title"/>
          </p:nvPr>
        </p:nvSpPr>
        <p:spPr>
          <a:xfrm>
            <a:off x="848991" y="783846"/>
            <a:ext cx="101778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6" name="Google Shape;3746;g374da0147aa_0_7845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47" name="Google Shape;3747;g374da0147aa_0_7845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48" name="Google Shape;3748;g374da0147aa_0_7845"/>
          <p:cNvSpPr txBox="1">
            <a:spLocks noGrp="1"/>
          </p:cNvSpPr>
          <p:nvPr>
            <p:ph type="body" idx="1"/>
          </p:nvPr>
        </p:nvSpPr>
        <p:spPr>
          <a:xfrm>
            <a:off x="848785" y="1615018"/>
            <a:ext cx="10176900" cy="38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49" name="Google Shape;3749;g374da0147aa_0_78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Title and Content">
  <p:cSld name="45_Title and Content">
    <p:spTree>
      <p:nvGrpSpPr>
        <p:cNvPr id="1" name="Shape 37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1" name="Google Shape;3751;g374da0147aa_0_7851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52" name="Google Shape;3752;g374da0147aa_0_78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753" name="Google Shape;3753;g374da0147aa_0_7851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54" name="Google Shape;3754;g374da0147aa_0_7851"/>
          <p:cNvSpPr txBox="1">
            <a:spLocks noGrp="1"/>
          </p:cNvSpPr>
          <p:nvPr>
            <p:ph type="title"/>
          </p:nvPr>
        </p:nvSpPr>
        <p:spPr>
          <a:xfrm>
            <a:off x="848990" y="806857"/>
            <a:ext cx="101562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55" name="Google Shape;3755;g374da0147aa_0_7851"/>
          <p:cNvSpPr txBox="1">
            <a:spLocks noGrp="1"/>
          </p:cNvSpPr>
          <p:nvPr>
            <p:ph type="body" idx="1"/>
          </p:nvPr>
        </p:nvSpPr>
        <p:spPr>
          <a:xfrm>
            <a:off x="848990" y="1637854"/>
            <a:ext cx="10156200" cy="4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wo Section | Picture and Copy Layout">
  <p:cSld name="15_Two Section | Picture and Copy Layout">
    <p:spTree>
      <p:nvGrpSpPr>
        <p:cNvPr id="1" name="Shape 37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7" name="Google Shape;3757;g374da0147aa_0_7857"/>
          <p:cNvSpPr/>
          <p:nvPr/>
        </p:nvSpPr>
        <p:spPr>
          <a:xfrm>
            <a:off x="0" y="6313118"/>
            <a:ext cx="12192000" cy="544800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58" name="Google Shape;3758;g374da0147aa_0_7857"/>
          <p:cNvSpPr/>
          <p:nvPr/>
        </p:nvSpPr>
        <p:spPr>
          <a:xfrm>
            <a:off x="0" y="6301515"/>
            <a:ext cx="12192000" cy="45600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59" name="Google Shape;3759;g374da0147aa_0_7857"/>
          <p:cNvSpPr txBox="1">
            <a:spLocks noGrp="1"/>
          </p:cNvSpPr>
          <p:nvPr>
            <p:ph type="body" idx="1"/>
          </p:nvPr>
        </p:nvSpPr>
        <p:spPr>
          <a:xfrm>
            <a:off x="1186832" y="1294453"/>
            <a:ext cx="3983400" cy="37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0" name="Google Shape;3760;g374da0147aa_0_7857"/>
          <p:cNvSpPr txBox="1">
            <a:spLocks noGrp="1"/>
          </p:cNvSpPr>
          <p:nvPr>
            <p:ph type="body" idx="2"/>
          </p:nvPr>
        </p:nvSpPr>
        <p:spPr>
          <a:xfrm>
            <a:off x="5549395" y="1997128"/>
            <a:ext cx="5466600" cy="308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1" name="Google Shape;3761;g374da0147aa_0_7857"/>
          <p:cNvSpPr txBox="1">
            <a:spLocks noGrp="1"/>
          </p:cNvSpPr>
          <p:nvPr>
            <p:ph type="title"/>
          </p:nvPr>
        </p:nvSpPr>
        <p:spPr>
          <a:xfrm>
            <a:off x="5549395" y="1154527"/>
            <a:ext cx="54666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762" name="Google Shape;3762;g374da0147aa_0_78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able of Content">
  <p:cSld name="3_Table of Content">
    <p:spTree>
      <p:nvGrpSpPr>
        <p:cNvPr id="1" name="Shape 37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4" name="Google Shape;3764;g374da0147aa_0_7864"/>
          <p:cNvSpPr/>
          <p:nvPr/>
        </p:nvSpPr>
        <p:spPr>
          <a:xfrm>
            <a:off x="-10584" y="6620934"/>
            <a:ext cx="12213300" cy="2370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65" name="Google Shape;3765;g374da0147aa_0_7864"/>
          <p:cNvSpPr txBox="1">
            <a:spLocks noGrp="1"/>
          </p:cNvSpPr>
          <p:nvPr>
            <p:ph type="title"/>
          </p:nvPr>
        </p:nvSpPr>
        <p:spPr>
          <a:xfrm>
            <a:off x="218115" y="224841"/>
            <a:ext cx="11715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66" name="Google Shape;3766;g374da0147aa_0_7864"/>
          <p:cNvSpPr txBox="1">
            <a:spLocks noGrp="1"/>
          </p:cNvSpPr>
          <p:nvPr>
            <p:ph type="body" idx="1"/>
          </p:nvPr>
        </p:nvSpPr>
        <p:spPr>
          <a:xfrm>
            <a:off x="218115" y="917198"/>
            <a:ext cx="11715600" cy="49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7" name="Google Shape;3767;g374da0147aa_0_7864"/>
          <p:cNvSpPr txBox="1">
            <a:spLocks noGrp="1"/>
          </p:cNvSpPr>
          <p:nvPr>
            <p:ph type="body" idx="2"/>
          </p:nvPr>
        </p:nvSpPr>
        <p:spPr>
          <a:xfrm>
            <a:off x="3858938" y="5969002"/>
            <a:ext cx="8074800" cy="64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8" name="Google Shape;3768;g374da0147aa_0_78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769" name="Google Shape;3769;g374da0147aa_0_786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2" y="5969001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">
  <p:cSld name="1_Section Header">
    <p:spTree>
      <p:nvGrpSpPr>
        <p:cNvPr id="1" name="Shape 3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1" name="Google Shape;3771;g374da0147aa_0_7871"/>
          <p:cNvSpPr txBox="1">
            <a:spLocks noGrp="1"/>
          </p:cNvSpPr>
          <p:nvPr>
            <p:ph type="title"/>
          </p:nvPr>
        </p:nvSpPr>
        <p:spPr>
          <a:xfrm>
            <a:off x="963084" y="4406904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2" name="Google Shape;3772;g374da0147aa_0_7871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3773" name="Google Shape;3773;g374da0147aa_0_787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74" name="Google Shape;3774;g374da0147aa_0_78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5" name="Google Shape;3775;g374da0147aa_0_78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 with Caption">
  <p:cSld name="1_Content with Caption">
    <p:spTree>
      <p:nvGrpSpPr>
        <p:cNvPr id="1" name="Shape 37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7" name="Google Shape;3777;g374da0147aa_0_7877"/>
          <p:cNvSpPr txBox="1">
            <a:spLocks noGrp="1"/>
          </p:cNvSpPr>
          <p:nvPr>
            <p:ph type="title"/>
          </p:nvPr>
        </p:nvSpPr>
        <p:spPr>
          <a:xfrm>
            <a:off x="609605" y="273052"/>
            <a:ext cx="4011000" cy="11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8" name="Google Shape;3778;g374da0147aa_0_7877"/>
          <p:cNvSpPr txBox="1">
            <a:spLocks noGrp="1"/>
          </p:cNvSpPr>
          <p:nvPr>
            <p:ph type="body" idx="1"/>
          </p:nvPr>
        </p:nvSpPr>
        <p:spPr>
          <a:xfrm>
            <a:off x="4766734" y="273055"/>
            <a:ext cx="6815700" cy="58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3779" name="Google Shape;3779;g374da0147aa_0_7877"/>
          <p:cNvSpPr txBox="1">
            <a:spLocks noGrp="1"/>
          </p:cNvSpPr>
          <p:nvPr>
            <p:ph type="body" idx="2"/>
          </p:nvPr>
        </p:nvSpPr>
        <p:spPr>
          <a:xfrm>
            <a:off x="609605" y="1435104"/>
            <a:ext cx="4011000" cy="46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3780" name="Google Shape;3780;g374da0147aa_0_787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81" name="Google Shape;3781;g374da0147aa_0_78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2" name="Google Shape;3782;g374da0147aa_0_78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EVERYDAY - CONTENT ONLY">
  <p:cSld name="1_EVERYDAY - CONTENT ONLY">
    <p:spTree>
      <p:nvGrpSpPr>
        <p:cNvPr id="1" name="Shape 3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4" name="Google Shape;3784;g374da0147aa_0_7884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85" name="Google Shape;3785;g374da0147aa_0_7884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786" name="Google Shape;3786;g374da0147aa_0_7884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87" name="Google Shape;3787;g374da0147aa_0_7884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788" name="Google Shape;3788;g374da0147aa_0_7884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9" name="Google Shape;3789;g374da0147aa_0_7884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790" name="Google Shape;3790;g374da0147aa_0_7884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91" name="Google Shape;3791;g374da0147aa_0_7884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792" name="Google Shape;3792;g374da0147aa_0_78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6_Title and Content">
    <p:spTree>
      <p:nvGrpSpPr>
        <p:cNvPr id="1" name="Shape 37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94" name="Google Shape;3794;g374da0147aa_0_789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795" name="Google Shape;3795;g374da0147aa_0_78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96" name="Google Shape;3796;g374da0147aa_0_789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797" name="Google Shape;3797;g374da0147aa_0_78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98" name="Google Shape;3798;g374da0147aa_0_78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99" name="Google Shape;3799;g374da0147aa_0_789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00" name="Google Shape;3800;g374da0147aa_0_789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01" name="Google Shape;3801;g374da0147aa_0_789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02" name="Google Shape;3802;g374da0147aa_0_78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03" name="Google Shape;3803;g374da0147aa_0_789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3">
    <p:spTree>
      <p:nvGrpSpPr>
        <p:cNvPr id="1" name="Shape 38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5" name="Google Shape;3805;g374da0147aa_0_7905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806" name="Google Shape;3806;g374da0147aa_0_790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807" name="Google Shape;3807;g374da0147aa_0_7905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3808" name="Google Shape;3808;g374da0147aa_0_790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9" name="Google Shape;3809;g374da0147aa_0_790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810" name="Google Shape;3810;g374da0147aa_0_790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811" name="Google Shape;3811;g374da0147aa_0_79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 4">
    <p:spTree>
      <p:nvGrpSpPr>
        <p:cNvPr id="1" name="Shape 3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3" name="Google Shape;3813;g374da0147aa_0_791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814" name="Google Shape;3814;g374da0147aa_0_791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815" name="Google Shape;3815;g374da0147aa_0_791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3816" name="Google Shape;3816;g374da0147aa_0_791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7" name="Google Shape;3817;g374da0147aa_0_791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818" name="Google Shape;3818;g374da0147aa_0_791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819" name="Google Shape;3819;g374da0147aa_0_79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40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40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40"/>
          <p:cNvSpPr txBox="1">
            <a:spLocks noGrp="1"/>
          </p:cNvSpPr>
          <p:nvPr>
            <p:ph type="body" idx="2"/>
          </p:nvPr>
        </p:nvSpPr>
        <p:spPr>
          <a:xfrm>
            <a:off x="6868159" y="1152207"/>
            <a:ext cx="4359909" cy="4176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50" b="1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40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40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0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1pPr>
            <a:lvl2pPr lvl="1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2pPr>
            <a:lvl3pPr lvl="2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3pPr>
            <a:lvl4pPr lvl="3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4pPr>
            <a:lvl5pPr lvl="4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5pPr>
            <a:lvl6pPr lvl="5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6pPr>
            <a:lvl7pPr lvl="6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7pPr>
            <a:lvl8pPr lvl="7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8pPr>
            <a:lvl9pPr lvl="8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Google Shape;386;g374da0147aa_0_448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7" name="Google Shape;387;g374da0147aa_0_44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8" name="Google Shape;388;g374da0147aa_0_44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9" name="Google Shape;389;g374da0147aa_0_448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90" name="Google Shape;390;g374da0147aa_0_44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1" name="Google Shape;391;g374da0147aa_0_448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92" name="Google Shape;392;g374da0147aa_0_44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3" name="Google Shape;393;g374da0147aa_0_44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EVERYDAY - CONTENT ONLY">
  <p:cSld name="2_EVERYDAY - CONTENT ONLY">
    <p:spTree>
      <p:nvGrpSpPr>
        <p:cNvPr id="1" name="Shape 38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1" name="Google Shape;3821;g374da0147aa_0_7921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2" name="Google Shape;3822;g374da0147aa_0_7921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823" name="Google Shape;3823;g374da0147aa_0_792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24" name="Google Shape;3824;g374da0147aa_0_7921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825" name="Google Shape;3825;g374da0147aa_0_792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26" name="Google Shape;3826;g374da0147aa_0_792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827" name="Google Shape;3827;g374da0147aa_0_7921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28" name="Google Shape;3828;g374da0147aa_0_7921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829" name="Google Shape;3829;g374da0147aa_0_79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EVERYDAY - CONTENT ONLY">
  <p:cSld name="3_EVERYDAY - CONTENT ONLY">
    <p:spTree>
      <p:nvGrpSpPr>
        <p:cNvPr id="1" name="Shape 3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1" name="Google Shape;3831;g374da0147aa_0_7931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2" name="Google Shape;3832;g374da0147aa_0_7931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833" name="Google Shape;3833;g374da0147aa_0_793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34" name="Google Shape;3834;g374da0147aa_0_7931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835" name="Google Shape;3835;g374da0147aa_0_793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6" name="Google Shape;3836;g374da0147aa_0_793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837" name="Google Shape;3837;g374da0147aa_0_7931"/>
          <p:cNvCxnSpPr/>
          <p:nvPr/>
        </p:nvCxnSpPr>
        <p:spPr>
          <a:xfrm>
            <a:off x="11311725" y="6447273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38" name="Google Shape;3838;g374da0147aa_0_7931"/>
          <p:cNvSpPr txBox="1">
            <a:spLocks noGrp="1"/>
          </p:cNvSpPr>
          <p:nvPr>
            <p:ph type="sldNum" idx="12"/>
          </p:nvPr>
        </p:nvSpPr>
        <p:spPr>
          <a:xfrm>
            <a:off x="11202595" y="6454534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839" name="Google Shape;3839;g374da0147aa_0_79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2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1_Quotation">
  <p:cSld name="61_Quotation">
    <p:spTree>
      <p:nvGrpSpPr>
        <p:cNvPr id="1" name="Shape 3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1" name="Google Shape;3841;g374da0147aa_0_794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2" name="Google Shape;3842;g374da0147aa_0_794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43" name="Google Shape;3843;g374da0147aa_0_79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4" name="Google Shape;3844;g374da0147aa_0_794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45" name="Google Shape;3845;g374da0147aa_0_79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46" name="Google Shape;3846;g374da0147aa_0_79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47" name="Google Shape;3847;g374da0147aa_0_794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848" name="Google Shape;3848;g374da0147aa_0_79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49" name="Google Shape;3849;g374da0147aa_0_79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850" name="Google Shape;3850;g374da0147aa_0_79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51" name="Google Shape;3851;g374da0147aa_0_79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852" name="Google Shape;3852;g374da0147aa_0_79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ver">
  <p:cSld name="28_Cover">
    <p:spTree>
      <p:nvGrpSpPr>
        <p:cNvPr id="1" name="Shape 3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4" name="Google Shape;3854;g374da0147aa_0_7954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5" name="Google Shape;3855;g374da0147aa_0_7954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6" name="Google Shape;3856;g374da0147aa_0_7954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857" name="Google Shape;3857;g374da0147aa_0_79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858" name="Google Shape;3858;g374da0147aa_0_7954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3859" name="Google Shape;3859;g374da0147aa_0_795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0" name="Google Shape;3860;g374da0147aa_0_795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861" name="Google Shape;3861;g374da0147aa_0_79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Divider">
  <p:cSld name="28_Divider">
    <p:bg>
      <p:bgPr>
        <a:solidFill>
          <a:schemeClr val="lt2"/>
        </a:solidFill>
        <a:effectLst/>
      </p:bgPr>
    </p:bg>
    <p:spTree>
      <p:nvGrpSpPr>
        <p:cNvPr id="1" name="Shape 38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63" name="Google Shape;3863;g374da0147aa_0_7963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3864" name="Google Shape;3864;g374da0147aa_0_796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5" name="Google Shape;3865;g374da0147aa_0_79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6" name="Google Shape;3866;g374da0147aa_0_796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867" name="Google Shape;3867;g374da0147aa_0_79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868" name="Google Shape;3868;g374da0147aa_0_7963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9" name="Google Shape;3869;g374da0147aa_0_7963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Photo Slide">
  <p:cSld name="28_Photo Slide 5">
    <p:spTree>
      <p:nvGrpSpPr>
        <p:cNvPr id="1" name="Shape 3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1" name="Google Shape;3871;g374da0147aa_0_797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872" name="Google Shape;3872;g374da0147aa_0_797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873" name="Google Shape;3873;g374da0147aa_0_797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3874" name="Google Shape;3874;g374da0147aa_0_797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5" name="Google Shape;3875;g374da0147aa_0_797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876" name="Google Shape;3876;g374da0147aa_0_797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877" name="Google Shape;3877;g374da0147aa_0_79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2_Quotation">
  <p:cSld name="62_Quotation">
    <p:spTree>
      <p:nvGrpSpPr>
        <p:cNvPr id="1" name="Shape 38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9" name="Google Shape;3879;g374da0147aa_0_797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0" name="Google Shape;3880;g374da0147aa_0_797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81" name="Google Shape;3881;g374da0147aa_0_79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2" name="Google Shape;3882;g374da0147aa_0_797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83" name="Google Shape;3883;g374da0147aa_0_79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84" name="Google Shape;3884;g374da0147aa_0_79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85" name="Google Shape;3885;g374da0147aa_0_797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886" name="Google Shape;3886;g374da0147aa_0_79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87" name="Google Shape;3887;g374da0147aa_0_79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888" name="Google Shape;3888;g374da0147aa_0_79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89" name="Google Shape;3889;g374da0147aa_0_79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890" name="Google Shape;3890;g374da0147aa_0_79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Title and Content">
  <p:cSld name="46_Title and Content 2">
    <p:spTree>
      <p:nvGrpSpPr>
        <p:cNvPr id="1" name="Shape 3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92" name="Google Shape;3892;g374da0147aa_0_799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893" name="Google Shape;3893;g374da0147aa_0_79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4" name="Google Shape;3894;g374da0147aa_0_799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895" name="Google Shape;3895;g374da0147aa_0_79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96" name="Google Shape;3896;g374da0147aa_0_79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897" name="Google Shape;3897;g374da0147aa_0_79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8" name="Google Shape;3898;g374da0147aa_0_79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99" name="Google Shape;3899;g374da0147aa_0_79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00" name="Google Shape;3900;g374da0147aa_0_79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01" name="Google Shape;3901;g374da0147aa_0_79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wo Content">
  <p:cSld name="28_Two Content">
    <p:spTree>
      <p:nvGrpSpPr>
        <p:cNvPr id="1" name="Shape 3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3" name="Google Shape;3903;g374da0147aa_0_80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04" name="Google Shape;3904;g374da0147aa_0_800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905" name="Google Shape;3905;g374da0147aa_0_800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906" name="Google Shape;3906;g374da0147aa_0_80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07" name="Google Shape;3907;g374da0147aa_0_800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908" name="Google Shape;3908;g374da0147aa_0_80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09" name="Google Shape;3909;g374da0147aa_0_80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10" name="Google Shape;3910;g374da0147aa_0_800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1" name="Google Shape;3911;g374da0147aa_0_800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12" name="Google Shape;3912;g374da0147aa_0_80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13" name="Google Shape;3913;g374da0147aa_0_80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Comparison">
  <p:cSld name="28_Comparison">
    <p:spTree>
      <p:nvGrpSpPr>
        <p:cNvPr id="1" name="Shape 3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15" name="Google Shape;3915;g374da0147aa_0_80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916" name="Google Shape;3916;g374da0147aa_0_80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17" name="Google Shape;3917;g374da0147aa_0_80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918" name="Google Shape;3918;g374da0147aa_0_80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9" name="Google Shape;3919;g374da0147aa_0_80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20" name="Google Shape;3920;g374da0147aa_0_801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21" name="Google Shape;3921;g374da0147aa_0_801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22" name="Google Shape;3922;g374da0147aa_0_801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23" name="Google Shape;3923;g374da0147aa_0_80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24" name="Google Shape;3924;g374da0147aa_0_80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25" name="Google Shape;3925;g374da0147aa_0_80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26" name="Google Shape;3926;g374da0147aa_0_80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27" name="Google Shape;3927;g374da0147aa_0_80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Quotation">
  <p:cSld name="7_Quotation"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374da0147aa_0_449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6" name="Google Shape;396;g374da0147aa_0_449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7" name="Google Shape;397;g374da0147aa_0_449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8" name="Google Shape;398;g374da0147aa_0_449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9" name="Google Shape;399;g374da0147aa_0_44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0" name="Google Shape;400;g374da0147aa_0_44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1" name="Google Shape;401;g374da0147aa_0_449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02" name="Google Shape;402;g374da0147aa_0_44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3" name="Google Shape;403;g374da0147aa_0_449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4" name="Google Shape;404;g374da0147aa_0_44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5" name="Google Shape;405;g374da0147aa_0_44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06" name="Google Shape;406;g374da0147aa_0_449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Title Only">
  <p:cSld name="28_Title Only">
    <p:spTree>
      <p:nvGrpSpPr>
        <p:cNvPr id="1" name="Shape 3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29" name="Google Shape;3929;g374da0147aa_0_802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930" name="Google Shape;3930;g374da0147aa_0_80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31" name="Google Shape;3931;g374da0147aa_0_802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932" name="Google Shape;3932;g374da0147aa_0_80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33" name="Google Shape;3933;g374da0147aa_0_80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34" name="Google Shape;3934;g374da0147aa_0_80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35" name="Google Shape;3935;g374da0147aa_0_802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36" name="Google Shape;3936;g374da0147aa_0_80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37" name="Google Shape;3937;g374da0147aa_0_80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End">
  <p:cSld name="28_End">
    <p:spTree>
      <p:nvGrpSpPr>
        <p:cNvPr id="1" name="Shape 3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39" name="Google Shape;3939;g374da0147aa_0_80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940" name="Google Shape;3940;g374da0147aa_0_80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1" name="Google Shape;3941;g374da0147aa_0_80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42" name="Google Shape;3942;g374da0147aa_0_8039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43" name="Google Shape;3943;g374da0147aa_0_8039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44" name="Google Shape;3944;g374da0147aa_0_80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945" name="Google Shape;3945;g374da0147aa_0_80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946" name="Google Shape;3946;g374da0147aa_0_80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Blank">
  <p:cSld name="28_Blank">
    <p:spTree>
      <p:nvGrpSpPr>
        <p:cNvPr id="1" name="Shape 3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8" name="Google Shape;3948;g374da0147aa_0_804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49" name="Google Shape;3949;g374da0147aa_0_80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50" name="Google Shape;3950;g374da0147aa_0_80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51" name="Google Shape;3951;g374da0147aa_0_804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3952" name="Google Shape;3952;g374da0147aa_0_80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53" name="Google Shape;3953;g374da0147aa_0_80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3954" name="Google Shape;3954;g374da0147aa_0_80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55" name="Google Shape;3955;g374da0147aa_0_80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39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57" name="Google Shape;3957;g374da0147aa_0_80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958" name="Google Shape;3958;g374da0147aa_0_80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3959" name="Google Shape;3959;g374da0147aa_0_8057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60" name="Google Shape;3960;g374da0147aa_0_8057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mage Left">
  <p:cSld name="1_Image Left">
    <p:spTree>
      <p:nvGrpSpPr>
        <p:cNvPr id="1" name="Shape 3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62" name="Google Shape;3962;g374da0147aa_0_80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0" cy="6856285"/>
          </a:xfrm>
          <a:prstGeom prst="rect">
            <a:avLst/>
          </a:prstGeom>
          <a:noFill/>
          <a:ln>
            <a:noFill/>
          </a:ln>
        </p:spPr>
      </p:pic>
      <p:sp>
        <p:nvSpPr>
          <p:cNvPr id="3963" name="Google Shape;3963;g374da0147aa_0_8062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4" name="Google Shape;3964;g374da0147aa_0_80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965" name="Google Shape;3965;g374da0147aa_0_8062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reaker-4">
  <p:cSld name="3_Breaker-4">
    <p:spTree>
      <p:nvGrpSpPr>
        <p:cNvPr id="1" name="Shape 3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67" name="Google Shape;3967;g374da0147aa_0_80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3968" name="Google Shape;3968;g374da0147aa_0_806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3969" name="Google Shape;3969;g374da0147aa_0_8067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70" name="Google Shape;3970;g374da0147aa_0_8067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7_Title and Content">
  <p:cSld name="47_Title and Content">
    <p:spTree>
      <p:nvGrpSpPr>
        <p:cNvPr id="1" name="Shape 3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72" name="Google Shape;3972;g374da0147aa_0_8072"/>
          <p:cNvPicPr preferRelativeResize="0"/>
          <p:nvPr/>
        </p:nvPicPr>
        <p:blipFill rotWithShape="1">
          <a:blip r:embed="rId2">
            <a:alphaModFix/>
          </a:blip>
          <a:srcRect t="12180" r="12172"/>
          <a:stretch/>
        </p:blipFill>
        <p:spPr>
          <a:xfrm>
            <a:off x="1524" y="0"/>
            <a:ext cx="1219047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973" name="Google Shape;3973;g374da0147aa_0_80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74" name="Google Shape;3974;g374da0147aa_0_80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975" name="Google Shape;3975;g374da0147aa_0_807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Graphic Right">
  <p:cSld name="1_Blue Graphic Right">
    <p:spTree>
      <p:nvGrpSpPr>
        <p:cNvPr id="1" name="Shape 39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77" name="Google Shape;3977;g374da0147aa_0_80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978" name="Google Shape;3978;g374da0147aa_0_807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2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79" name="Google Shape;3979;g374da0147aa_0_807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200" cy="4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80" name="Google Shape;3980;g374da0147aa_0_8077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80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3-Closing Slide">
  <p:cSld name="1_3-Closing Slide">
    <p:spTree>
      <p:nvGrpSpPr>
        <p:cNvPr id="1" name="Shape 39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82" name="Google Shape;3982;g374da0147aa_0_80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983" name="Google Shape;3983;g374da0147aa_0_8082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3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85" name="Google Shape;3985;g374da0147aa_0_80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4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986" name="Google Shape;3986;g374da0147aa_0_808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3987" name="Google Shape;3987;g374da0147aa_0_8085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800" cy="11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88" name="Google Shape;3988;g374da0147aa_0_8085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800" cy="7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Google Shape;408;g374da0147aa_0_4508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9" name="Google Shape;409;g374da0147aa_0_4508"/>
          <p:cNvSpPr/>
          <p:nvPr/>
        </p:nvSpPr>
        <p:spPr>
          <a:xfrm>
            <a:off x="3" y="5100849"/>
            <a:ext cx="7111365" cy="1757679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10" name="Google Shape;410;g374da0147aa_0_45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411" name="Google Shape;411;g374da0147aa_0_4508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12" name="Google Shape;412;g374da0147aa_0_450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7" y="5564124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413" name="Google Shape;413;g374da0147aa_0_4508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4" name="Google Shape;414;g374da0147aa_0_4508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500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5" name="Google Shape;415;g374da0147aa_0_4508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6" name="Google Shape;416;g374da0147aa_0_45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" name="Google Shape;417;g374da0147aa_0_450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8" name="Google Shape;418;g374da0147aa_0_45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2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2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2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2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2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2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2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2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2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2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EVERYDAY - CONTENT ONLY">
  <p:cSld name="4_EVERYDAY - CONTENT ONLY">
    <p:spTree>
      <p:nvGrpSpPr>
        <p:cNvPr id="1" name="Shape 39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0" name="Google Shape;3990;g374da0147aa_0_8090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91" name="Google Shape;3991;g374da0147aa_0_8090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992" name="Google Shape;3992;g374da0147aa_0_809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93" name="Google Shape;3993;g374da0147aa_0_8090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994" name="Google Shape;3994;g374da0147aa_0_809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95" name="Google Shape;3995;g374da0147aa_0_809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996" name="Google Shape;3996;g374da0147aa_0_8090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97" name="Google Shape;3997;g374da0147aa_0_8090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998" name="Google Shape;3998;g374da0147aa_0_80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EVERYDAY - CONTENT ONLY">
  <p:cSld name="5_EVERYDAY - CONTENT ONLY">
    <p:spTree>
      <p:nvGrpSpPr>
        <p:cNvPr id="1" name="Shape 3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0" name="Google Shape;4000;g374da0147aa_0_8100"/>
          <p:cNvSpPr/>
          <p:nvPr/>
        </p:nvSpPr>
        <p:spPr>
          <a:xfrm>
            <a:off x="0" y="0"/>
            <a:ext cx="12192000" cy="13131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01" name="Google Shape;4001;g374da0147aa_0_8100"/>
          <p:cNvSpPr/>
          <p:nvPr/>
        </p:nvSpPr>
        <p:spPr>
          <a:xfrm>
            <a:off x="6863643" y="16267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002" name="Google Shape;4002;g374da0147aa_0_810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800" cy="4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3" name="Google Shape;4003;g374da0147aa_0_8100"/>
          <p:cNvSpPr/>
          <p:nvPr/>
        </p:nvSpPr>
        <p:spPr>
          <a:xfrm>
            <a:off x="6863643" y="519648"/>
            <a:ext cx="5328342" cy="812286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568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004" name="Google Shape;4004;g374da0147aa_0_810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05" name="Google Shape;4005;g374da0147aa_0_810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000" cy="4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006" name="Google Shape;4006;g374da0147aa_0_8100"/>
          <p:cNvCxnSpPr/>
          <p:nvPr/>
        </p:nvCxnSpPr>
        <p:spPr>
          <a:xfrm>
            <a:off x="11311725" y="6447272"/>
            <a:ext cx="0" cy="267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07" name="Google Shape;4007;g374da0147aa_0_8100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800" cy="3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008" name="Google Shape;4008;g374da0147aa_0_81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5_Quotation">
  <p:cSld name="65_Quotation">
    <p:spTree>
      <p:nvGrpSpPr>
        <p:cNvPr id="1" name="Shape 4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0" name="Google Shape;4010;g374da0147aa_0_8110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11" name="Google Shape;4011;g374da0147aa_0_81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12" name="Google Shape;4012;g374da0147aa_0_81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13" name="Google Shape;4013;g374da0147aa_0_8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14" name="Google Shape;4014;g374da0147aa_0_8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15" name="Google Shape;4015;g374da0147aa_0_8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16" name="Google Shape;4016;g374da0147aa_0_8110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17" name="Google Shape;4017;g374da0147aa_0_8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18" name="Google Shape;4018;g374da0147aa_0_81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19" name="Google Shape;4019;g374da0147aa_0_8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20" name="Google Shape;4020;g374da0147aa_0_8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021" name="Google Shape;4021;g374da0147aa_0_811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ver">
  <p:cSld name="29_Cover">
    <p:spTree>
      <p:nvGrpSpPr>
        <p:cNvPr id="1" name="Shape 40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3" name="Google Shape;4023;g374da0147aa_0_8123"/>
          <p:cNvSpPr/>
          <p:nvPr/>
        </p:nvSpPr>
        <p:spPr>
          <a:xfrm>
            <a:off x="902368" y="1294413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24" name="Google Shape;4024;g374da0147aa_0_812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25" name="Google Shape;4025;g374da0147aa_0_812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026" name="Google Shape;4026;g374da0147aa_0_812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027" name="Google Shape;4027;g374da0147aa_0_812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028" name="Google Shape;4028;g374da0147aa_0_812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9" name="Google Shape;4029;g374da0147aa_0_812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30" name="Google Shape;4030;g374da0147aa_0_8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Divider">
  <p:cSld name="29_Divider">
    <p:bg>
      <p:bgPr>
        <a:solidFill>
          <a:schemeClr val="lt2"/>
        </a:solidFill>
        <a:effectLst/>
      </p:bgPr>
    </p:bg>
    <p:spTree>
      <p:nvGrpSpPr>
        <p:cNvPr id="1" name="Shape 4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2" name="Google Shape;4032;g374da0147aa_0_813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033" name="Google Shape;4033;g374da0147aa_0_813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4" name="Google Shape;4034;g374da0147aa_0_81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5" name="Google Shape;4035;g374da0147aa_0_813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36" name="Google Shape;4036;g374da0147aa_0_81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037" name="Google Shape;4037;g374da0147aa_0_813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38" name="Google Shape;4038;g374da0147aa_0_813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Photo Slide">
  <p:cSld name="29_Photo Slide">
    <p:spTree>
      <p:nvGrpSpPr>
        <p:cNvPr id="1" name="Shape 4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0" name="Google Shape;4040;g374da0147aa_0_81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041" name="Google Shape;4041;g374da0147aa_0_814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042" name="Google Shape;4042;g374da0147aa_0_81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043" name="Google Shape;4043;g374da0147aa_0_81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4" name="Google Shape;4044;g374da0147aa_0_81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45" name="Google Shape;4045;g374da0147aa_0_81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4046" name="Google Shape;4046;g374da0147aa_0_81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6_Quotation">
  <p:cSld name="66_Quotation">
    <p:spTree>
      <p:nvGrpSpPr>
        <p:cNvPr id="1" name="Shape 4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8" name="Google Shape;4048;g374da0147aa_0_8148"/>
          <p:cNvSpPr/>
          <p:nvPr/>
        </p:nvSpPr>
        <p:spPr>
          <a:xfrm>
            <a:off x="1427356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49" name="Google Shape;4049;g374da0147aa_0_81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50" name="Google Shape;4050;g374da0147aa_0_81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51" name="Google Shape;4051;g374da0147aa_0_81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52" name="Google Shape;4052;g374da0147aa_0_81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53" name="Google Shape;4053;g374da0147aa_0_81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54" name="Google Shape;4054;g374da0147aa_0_814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55" name="Google Shape;4055;g374da0147aa_0_81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56" name="Google Shape;4056;g374da0147aa_0_81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57" name="Google Shape;4057;g374da0147aa_0_81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58" name="Google Shape;4058;g374da0147aa_0_81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059" name="Google Shape;4059;g374da0147aa_0_81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8_Title and Content">
  <p:cSld name="48_Title and Content">
    <p:spTree>
      <p:nvGrpSpPr>
        <p:cNvPr id="1" name="Shape 4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61" name="Google Shape;4061;g374da0147aa_0_8161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62" name="Google Shape;4062;g374da0147aa_0_81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63" name="Google Shape;4063;g374da0147aa_0_816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64" name="Google Shape;4064;g374da0147aa_0_81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65" name="Google Shape;4065;g374da0147aa_0_81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66" name="Google Shape;4066;g374da0147aa_0_81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67" name="Google Shape;4067;g374da0147aa_0_816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68" name="Google Shape;4068;g374da0147aa_0_81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69" name="Google Shape;4069;g374da0147aa_0_81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70" name="Google Shape;4070;g374da0147aa_0_81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wo Content">
  <p:cSld name="29_Two Content">
    <p:spTree>
      <p:nvGrpSpPr>
        <p:cNvPr id="1" name="Shape 4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2" name="Google Shape;4072;g374da0147aa_0_81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73" name="Google Shape;4073;g374da0147aa_0_81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074" name="Google Shape;4074;g374da0147aa_0_8172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75" name="Google Shape;4075;g374da0147aa_0_81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76" name="Google Shape;4076;g374da0147aa_0_81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77" name="Google Shape;4077;g374da0147aa_0_8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78" name="Google Shape;4078;g374da0147aa_0_8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79" name="Google Shape;4079;g374da0147aa_0_817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80" name="Google Shape;4080;g374da0147aa_0_817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1" name="Google Shape;4081;g374da0147aa_0_8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82" name="Google Shape;4082;g374da0147aa_0_8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omparison">
  <p:cSld name="29_Comparison">
    <p:spTree>
      <p:nvGrpSpPr>
        <p:cNvPr id="1" name="Shape 4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84" name="Google Shape;4084;g374da0147aa_0_8184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85" name="Google Shape;4085;g374da0147aa_0_81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86" name="Google Shape;4086;g374da0147aa_0_818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087" name="Google Shape;4087;g374da0147aa_0_8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88" name="Google Shape;4088;g374da0147aa_0_8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89" name="Google Shape;4089;g374da0147aa_0_81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90" name="Google Shape;4090;g374da0147aa_0_818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91" name="Google Shape;4091;g374da0147aa_0_818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92" name="Google Shape;4092;g374da0147aa_0_818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93" name="Google Shape;4093;g374da0147aa_0_818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94" name="Google Shape;4094;g374da0147aa_0_8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95" name="Google Shape;4095;g374da0147aa_0_8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96" name="Google Shape;4096;g374da0147aa_0_8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Quotation">
  <p:cSld name="8_Quotation"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Google Shape;420;g374da0147aa_0_452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1" name="Google Shape;421;g374da0147aa_0_452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2" name="Google Shape;422;g374da0147aa_0_45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3" name="Google Shape;423;g374da0147aa_0_452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4" name="Google Shape;424;g374da0147aa_0_45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5" name="Google Shape;425;g374da0147aa_0_45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6" name="Google Shape;426;g374da0147aa_0_452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27" name="Google Shape;427;g374da0147aa_0_45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8" name="Google Shape;428;g374da0147aa_0_452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29" name="Google Shape;429;g374da0147aa_0_45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0" name="Google Shape;430;g374da0147aa_0_45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1" name="Google Shape;431;g374da0147aa_0_45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Title Only">
  <p:cSld name="29_Title Only">
    <p:spTree>
      <p:nvGrpSpPr>
        <p:cNvPr id="1" name="Shape 40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98" name="Google Shape;4098;g374da0147aa_0_8198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099" name="Google Shape;4099;g374da0147aa_0_8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00" name="Google Shape;4100;g374da0147aa_0_819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101" name="Google Shape;4101;g374da0147aa_0_8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02" name="Google Shape;4102;g374da0147aa_0_8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03" name="Google Shape;4103;g374da0147aa_0_8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04" name="Google Shape;4104;g374da0147aa_0_8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05" name="Google Shape;4105;g374da0147aa_0_8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06" name="Google Shape;4106;g374da0147aa_0_8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End">
  <p:cSld name="29_End">
    <p:spTree>
      <p:nvGrpSpPr>
        <p:cNvPr id="1" name="Shape 4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08" name="Google Shape;4108;g374da0147aa_0_820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09" name="Google Shape;4109;g374da0147aa_0_820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0" name="Google Shape;4110;g374da0147aa_0_820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11" name="Google Shape;4111;g374da0147aa_0_8208"/>
          <p:cNvSpPr/>
          <p:nvPr/>
        </p:nvSpPr>
        <p:spPr>
          <a:xfrm>
            <a:off x="902368" y="1517697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12" name="Google Shape;4112;g374da0147aa_0_820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13" name="Google Shape;4113;g374da0147aa_0_820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114" name="Google Shape;4114;g374da0147aa_0_82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115" name="Google Shape;4115;g374da0147aa_0_820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Blank">
  <p:cSld name="29_Blank">
    <p:spTree>
      <p:nvGrpSpPr>
        <p:cNvPr id="1" name="Shape 4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7" name="Google Shape;4117;g374da0147aa_0_8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18" name="Google Shape;4118;g374da0147aa_0_8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19" name="Google Shape;4119;g374da0147aa_0_8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120" name="Google Shape;4120;g374da0147aa_0_8217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121" name="Google Shape;4121;g374da0147aa_0_8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22" name="Google Shape;4122;g374da0147aa_0_821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123" name="Google Shape;4123;g374da0147aa_0_8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24" name="Google Shape;4124;g374da0147aa_0_8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30_Two Content">
    <p:spTree>
      <p:nvGrpSpPr>
        <p:cNvPr id="1" name="Shape 4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6" name="Google Shape;4126;g374da0147aa_0_82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27" name="Google Shape;4127;g374da0147aa_0_82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128" name="Google Shape;4128;g374da0147aa_0_8226"/>
          <p:cNvGrpSpPr/>
          <p:nvPr/>
        </p:nvGrpSpPr>
        <p:grpSpPr>
          <a:xfrm>
            <a:off x="7191203" y="1"/>
            <a:ext cx="5000223" cy="1425925"/>
            <a:chOff x="7191203" y="1"/>
            <a:chExt cx="5000223" cy="1425925"/>
          </a:xfrm>
        </p:grpSpPr>
        <p:pic>
          <p:nvPicPr>
            <p:cNvPr id="4129" name="Google Shape;4129;g374da0147aa_0_8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0" name="Google Shape;4130;g374da0147aa_0_82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131" name="Google Shape;4131;g374da0147aa_0_8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32" name="Google Shape;4132;g374da0147aa_0_8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33" name="Google Shape;4133;g374da0147aa_0_822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34" name="Google Shape;4134;g374da0147aa_0_822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35" name="Google Shape;4135;g374da0147aa_0_8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36" name="Google Shape;4136;g374da0147aa_0_8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1-Line Title (Blank, Logo Top)">
  <p:cSld name="1_1-Line Title (Blank, Logo Top)">
    <p:spTree>
      <p:nvGrpSpPr>
        <p:cNvPr id="1" name="Shape 4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38" name="Google Shape;4138;g374da0147aa_0_8238"/>
          <p:cNvCxnSpPr/>
          <p:nvPr/>
        </p:nvCxnSpPr>
        <p:spPr>
          <a:xfrm>
            <a:off x="2" y="1129976"/>
            <a:ext cx="10289400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4139" name="Google Shape;4139;g374da0147aa_0_8238"/>
          <p:cNvSpPr txBox="1">
            <a:spLocks noGrp="1"/>
          </p:cNvSpPr>
          <p:nvPr>
            <p:ph type="body" idx="1"/>
          </p:nvPr>
        </p:nvSpPr>
        <p:spPr>
          <a:xfrm>
            <a:off x="700620" y="533969"/>
            <a:ext cx="8867700" cy="4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40" name="Google Shape;4140;g374da0147aa_0_8238"/>
          <p:cNvSpPr/>
          <p:nvPr/>
        </p:nvSpPr>
        <p:spPr>
          <a:xfrm>
            <a:off x="9815334" y="5955178"/>
            <a:ext cx="2376600" cy="9027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41" name="Google Shape;4141;g374da0147aa_0_8238"/>
          <p:cNvSpPr/>
          <p:nvPr/>
        </p:nvSpPr>
        <p:spPr>
          <a:xfrm>
            <a:off x="9815334" y="77979"/>
            <a:ext cx="2376600" cy="94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25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142" name="Google Shape;4142;g374da0147aa_0_8238" descr="LM_LUMC_3C_V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997747" y="317115"/>
            <a:ext cx="1653863" cy="57407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Line Title (Logo UR)">
  <p:cSld name="1 Line Title (Logo UR)">
    <p:spTree>
      <p:nvGrpSpPr>
        <p:cNvPr id="1" name="Shape 4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44" name="Google Shape;4144;g374da0147aa_0_8244"/>
          <p:cNvCxnSpPr/>
          <p:nvPr/>
        </p:nvCxnSpPr>
        <p:spPr>
          <a:xfrm>
            <a:off x="1" y="1129976"/>
            <a:ext cx="10289400" cy="0"/>
          </a:xfrm>
          <a:prstGeom prst="straightConnector1">
            <a:avLst/>
          </a:prstGeom>
          <a:noFill/>
          <a:ln w="12700" cap="flat" cmpd="sng">
            <a:solidFill>
              <a:srgbClr val="C9C9C9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4145" name="Google Shape;4145;g374da0147aa_0_8244"/>
          <p:cNvSpPr txBox="1">
            <a:spLocks noGrp="1"/>
          </p:cNvSpPr>
          <p:nvPr>
            <p:ph type="body" idx="1"/>
          </p:nvPr>
        </p:nvSpPr>
        <p:spPr>
          <a:xfrm>
            <a:off x="700619" y="533967"/>
            <a:ext cx="8867700" cy="4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1">
                <a:solidFill>
                  <a:srgbClr val="8C234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b="1">
                <a:solidFill>
                  <a:srgbClr val="8C234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b="1">
                <a:solidFill>
                  <a:srgbClr val="8C234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b="1">
                <a:solidFill>
                  <a:srgbClr val="8C2347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46" name="Google Shape;4146;g374da0147aa_0_8244"/>
          <p:cNvSpPr/>
          <p:nvPr/>
        </p:nvSpPr>
        <p:spPr>
          <a:xfrm>
            <a:off x="9815333" y="5694745"/>
            <a:ext cx="2376600" cy="1163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47" name="Google Shape;4147;g374da0147aa_0_8244"/>
          <p:cNvSpPr txBox="1">
            <a:spLocks noGrp="1"/>
          </p:cNvSpPr>
          <p:nvPr>
            <p:ph type="body" idx="2"/>
          </p:nvPr>
        </p:nvSpPr>
        <p:spPr>
          <a:xfrm>
            <a:off x="700619" y="1359436"/>
            <a:ext cx="10768800" cy="49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i="1">
                <a:solidFill>
                  <a:srgbClr val="9CA5A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7501107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360297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70694542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151077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Content">
  <p:cSld name="3_Two Content">
    <p:spTree>
      <p:nvGrpSpPr>
        <p:cNvPr id="1" name="Shape 4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Google Shape;433;g374da0147aa_0_45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4" name="Google Shape;434;g374da0147aa_0_453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35" name="Google Shape;435;g374da0147aa_0_453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36" name="Google Shape;436;g374da0147aa_0_45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7" name="Google Shape;437;g374da0147aa_0_453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38" name="Google Shape;438;g374da0147aa_0_45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g374da0147aa_0_45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0" name="Google Shape;440;g374da0147aa_0_453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1" name="Google Shape;441;g374da0147aa_0_453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2" name="Google Shape;442;g374da0147aa_0_45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3" name="Google Shape;443;g374da0147aa_0_45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96974639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667565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39298996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438320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7829712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2633725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552431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503046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5827073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1029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mparison">
  <p:cSld name="3_Comparison">
    <p:spTree>
      <p:nvGrpSpPr>
        <p:cNvPr id="1" name="Shape 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5" name="Google Shape;445;g374da0147aa_0_454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46" name="Google Shape;446;g374da0147aa_0_45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7" name="Google Shape;447;g374da0147aa_0_45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48" name="Google Shape;448;g374da0147aa_0_45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g374da0147aa_0_45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0" name="Google Shape;450;g374da0147aa_0_454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1" name="Google Shape;451;g374da0147aa_0_454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2" name="Google Shape;452;g374da0147aa_0_454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3" name="Google Shape;453;g374da0147aa_0_45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4" name="Google Shape;454;g374da0147aa_0_45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5" name="Google Shape;455;g374da0147aa_0_454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6" name="Google Shape;456;g374da0147aa_0_45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7" name="Google Shape;457;g374da0147aa_0_45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7723585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56259974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294309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3738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9358452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4000879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5951503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151191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455885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73404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9" name="Google Shape;459;g374da0147aa_0_455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60" name="Google Shape;460;g374da0147aa_0_45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1" name="Google Shape;461;g374da0147aa_0_45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62" name="Google Shape;462;g374da0147aa_0_45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g374da0147aa_0_45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4" name="Google Shape;464;g374da0147aa_0_45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5" name="Google Shape;465;g374da0147aa_0_455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6" name="Google Shape;466;g374da0147aa_0_45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7" name="Google Shape;467;g374da0147aa_0_45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7170637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09972441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17131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787682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1678389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3049729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80608648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16249388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826532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991057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d">
  <p:cSld name="2_End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9" name="Google Shape;469;g374da0147aa_0_456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70" name="Google Shape;470;g374da0147aa_0_456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1" name="Google Shape;471;g374da0147aa_0_456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2" name="Google Shape;472;g374da0147aa_0_4569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3" name="Google Shape;473;g374da0147aa_0_4569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4" name="Google Shape;474;g374da0147aa_0_456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75" name="Google Shape;475;g374da0147aa_0_45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76" name="Google Shape;476;g374da0147aa_0_45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88467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5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524111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868614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39879944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39576393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16976834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45216067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357678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0794430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621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Google Shape;478;g374da0147aa_0_457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9" name="Google Shape;479;g374da0147aa_0_45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0" name="Google Shape;480;g374da0147aa_0_45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1" name="Google Shape;481;g374da0147aa_0_457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82" name="Google Shape;482;g374da0147aa_0_45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3" name="Google Shape;483;g374da0147aa_0_45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84" name="Google Shape;484;g374da0147aa_0_45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5" name="Google Shape;485;g374da0147aa_0_45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40144713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2645940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593678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9201658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465542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73755082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94220701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454768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726443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096748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ver">
  <p:cSld name="4_Cover">
    <p:spTree>
      <p:nvGrpSpPr>
        <p:cNvPr id="1" name="Shape 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Google Shape;487;g374da0147aa_0_4587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8" name="Google Shape;488;g374da0147aa_0_4587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" name="Google Shape;489;g374da0147aa_0_4587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90" name="Google Shape;490;g374da0147aa_0_45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91" name="Google Shape;491;g374da0147aa_0_4587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492" name="Google Shape;492;g374da0147aa_0_45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g374da0147aa_0_45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94" name="Google Shape;494;g374da0147aa_0_45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04501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0210660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5037650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371385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21175019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3476361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43884374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79062829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185382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55147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41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41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4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41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1pPr>
            <a:lvl2pPr lvl="1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2pPr>
            <a:lvl3pPr lvl="2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3pPr>
            <a:lvl4pPr lvl="3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4pPr>
            <a:lvl5pPr lvl="4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5pPr>
            <a:lvl6pPr lvl="5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6pPr>
            <a:lvl7pPr lvl="6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7pPr>
            <a:lvl8pPr lvl="7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8pPr>
            <a:lvl9pPr lvl="8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ivider">
  <p:cSld name="4_Divider">
    <p:bg>
      <p:bgPr>
        <a:solidFill>
          <a:schemeClr val="lt2"/>
        </a:solidFill>
        <a:effectLst/>
      </p:bgPr>
    </p:bg>
    <p:spTree>
      <p:nvGrpSpPr>
        <p:cNvPr id="1" name="Shape 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6" name="Google Shape;496;g374da0147aa_0_4596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497" name="Google Shape;497;g374da0147aa_0_459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g374da0147aa_0_459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g374da0147aa_0_459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0" name="Google Shape;500;g374da0147aa_0_45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1" name="Google Shape;501;g374da0147aa_0_4596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2" name="Google Shape;502;g374da0147aa_0_4596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5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128974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1774089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64162544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0307287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31868120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94220920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157048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932440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824973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6517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ver">
  <p:cSld name="5_Cover"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g374da0147aa_0_4604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" name="Google Shape;505;g374da0147aa_0_4604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6" name="Google Shape;506;g374da0147aa_0_4604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07" name="Google Shape;507;g374da0147aa_0_46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08" name="Google Shape;508;g374da0147aa_0_4604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509" name="Google Shape;509;g374da0147aa_0_46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0" name="Google Shape;510;g374da0147aa_0_46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11" name="Google Shape;511;g374da0147aa_0_46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81284877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5455329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2077331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4638289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684194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1718312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971853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532339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512568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142566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3" name="Google Shape;513;g374da0147aa_0_461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14" name="Google Shape;514;g374da0147aa_0_46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5" name="Google Shape;515;g374da0147aa_0_46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16" name="Google Shape;516;g374da0147aa_0_46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7" name="Google Shape;517;g374da0147aa_0_46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8" name="Google Shape;518;g374da0147aa_0_46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9" name="Google Shape;519;g374da0147aa_0_461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0" name="Google Shape;520;g374da0147aa_0_46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1" name="Google Shape;521;g374da0147aa_0_46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37983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2084247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667291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223573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7559082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445790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472267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8757573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815702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9092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End">
  <p:cSld name="3_End">
    <p:spTree>
      <p:nvGrpSpPr>
        <p:cNvPr id="1" name="Shape 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3" name="Google Shape;523;g374da0147aa_0_462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24" name="Google Shape;524;g374da0147aa_0_462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g374da0147aa_0_462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6" name="Google Shape;526;g374da0147aa_0_4623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" name="Google Shape;527;g374da0147aa_0_4623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8" name="Google Shape;528;g374da0147aa_0_462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29" name="Google Shape;529;g374da0147aa_0_4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30" name="Google Shape;530;g374da0147aa_0_462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1549306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15641151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25884047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29297682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171760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4015923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53345979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36331202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964096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8948801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vider">
  <p:cSld name="6_Divider">
    <p:bg>
      <p:bgPr>
        <a:solidFill>
          <a:schemeClr val="lt2"/>
        </a:solidFill>
        <a:effectLst/>
      </p:bgPr>
    </p:bg>
    <p:spTree>
      <p:nvGrpSpPr>
        <p:cNvPr id="1" name="Shape 5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2" name="Google Shape;532;g374da0147aa_0_4632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533" name="Google Shape;533;g374da0147aa_0_463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g374da0147aa_0_46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g374da0147aa_0_463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6" name="Google Shape;536;g374da0147aa_0_46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7" name="Google Shape;537;g374da0147aa_0_4632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8" name="Google Shape;538;g374da0147aa_0_4632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52666495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47841676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0731356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642469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4778256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401655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2742556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521297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219250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132069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Photo Slide">
  <p:cSld name="5_Photo Slide">
    <p:spTree>
      <p:nvGrpSpPr>
        <p:cNvPr id="1" name="Shape 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" name="Google Shape;540;g374da0147aa_0_4640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41" name="Google Shape;541;g374da0147aa_0_464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42" name="Google Shape;542;g374da0147aa_0_4640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543" name="Google Shape;543;g374da0147aa_0_46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g374da0147aa_0_46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5" name="Google Shape;545;g374da0147aa_0_46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546" name="Google Shape;546;g374da0147aa_0_46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0392904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52263265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678446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256036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49227597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76884423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8762160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356234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3342592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1721347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Quotation">
  <p:cSld name="11_Quotation">
    <p:spTree>
      <p:nvGrpSpPr>
        <p:cNvPr id="1" name="Shape 5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" name="Google Shape;548;g374da0147aa_0_464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9" name="Google Shape;549;g374da0147aa_0_464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0" name="Google Shape;550;g374da0147aa_0_46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1" name="Google Shape;551;g374da0147aa_0_464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2" name="Google Shape;552;g374da0147aa_0_46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3" name="Google Shape;553;g374da0147aa_0_46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4" name="Google Shape;554;g374da0147aa_0_464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55" name="Google Shape;555;g374da0147aa_0_46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6" name="Google Shape;556;g374da0147aa_0_46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57" name="Google Shape;557;g374da0147aa_0_46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g374da0147aa_0_46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59" name="Google Shape;559;g374da0147aa_0_46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769208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5406495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87079426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77606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22139152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34371105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62798661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9357338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626482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63568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1" name="Google Shape;561;g374da0147aa_0_466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62" name="Google Shape;562;g374da0147aa_0_46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3" name="Google Shape;563;g374da0147aa_0_466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64" name="Google Shape;564;g374da0147aa_0_46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g374da0147aa_0_46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6" name="Google Shape;566;g374da0147aa_0_46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7" name="Google Shape;567;g374da0147aa_0_466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8" name="Google Shape;568;g374da0147aa_0_466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9" name="Google Shape;569;g374da0147aa_0_46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0" name="Google Shape;570;g374da0147aa_0_46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85670127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877917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762197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56497233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1900501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51663057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4454041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279086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7736861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564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Content">
  <p:cSld name="5_Two Content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g374da0147aa_0_46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3" name="Google Shape;573;g374da0147aa_0_4672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74" name="Google Shape;574;g374da0147aa_0_467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75" name="Google Shape;575;g374da0147aa_0_46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6" name="Google Shape;576;g374da0147aa_0_467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77" name="Google Shape;577;g374da0147aa_0_46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8" name="Google Shape;578;g374da0147aa_0_46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9" name="Google Shape;579;g374da0147aa_0_4672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0" name="Google Shape;580;g374da0147aa_0_4672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1" name="Google Shape;581;g374da0147aa_0_46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2" name="Google Shape;582;g374da0147aa_0_46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008700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011061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97882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465461256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758028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795420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964523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740980866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399673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3918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mparison">
  <p:cSld name="5_Comparison">
    <p:spTree>
      <p:nvGrpSpPr>
        <p:cNvPr id="1" name="Shape 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4" name="Google Shape;584;g374da0147aa_0_468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85" name="Google Shape;585;g374da0147aa_0_46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6" name="Google Shape;586;g374da0147aa_0_468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87" name="Google Shape;587;g374da0147aa_0_46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8" name="Google Shape;588;g374da0147aa_0_46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9" name="Google Shape;589;g374da0147aa_0_468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0" name="Google Shape;590;g374da0147aa_0_4684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1" name="Google Shape;591;g374da0147aa_0_4684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2" name="Google Shape;592;g374da0147aa_0_468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3" name="Google Shape;593;g374da0147aa_0_468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4" name="Google Shape;594;g374da0147aa_0_468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5" name="Google Shape;595;g374da0147aa_0_46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6" name="Google Shape;596;g374da0147aa_0_46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178621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419936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715102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229826100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42612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865827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563988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822158535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208059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6040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58925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spTree>
      <p:nvGrpSpPr>
        <p:cNvPr id="1" name="Shape 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8" name="Google Shape;598;g374da0147aa_0_469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599" name="Google Shape;599;g374da0147aa_0_46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0" name="Google Shape;600;g374da0147aa_0_469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01" name="Google Shape;601;g374da0147aa_0_46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2" name="Google Shape;602;g374da0147aa_0_46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3" name="Google Shape;603;g374da0147aa_0_46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4" name="Google Shape;604;g374da0147aa_0_469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5" name="Google Shape;605;g374da0147aa_0_46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6" name="Google Shape;606;g374da0147aa_0_46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67307742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001191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465821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330863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35624975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938858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599878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519346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53180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6733385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End">
  <p:cSld name="4_End">
    <p:spTree>
      <p:nvGrpSpPr>
        <p:cNvPr id="1" name="Shape 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8" name="Google Shape;608;g374da0147aa_0_470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09" name="Google Shape;609;g374da0147aa_0_470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0" name="Google Shape;610;g374da0147aa_0_470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11" name="Google Shape;611;g374da0147aa_0_4708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2" name="Google Shape;612;g374da0147aa_0_4708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3" name="Google Shape;613;g374da0147aa_0_470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14" name="Google Shape;614;g374da0147aa_0_47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15" name="Google Shape;615;g374da0147aa_0_470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973659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5498615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67251851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91992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229929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3772774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72937253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21621472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22045301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9133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lank">
  <p:cSld name="3_Blank">
    <p:spTree>
      <p:nvGrpSpPr>
        <p:cNvPr id="1" name="Shape 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" name="Google Shape;617;g374da0147aa_0_471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8" name="Google Shape;618;g374da0147aa_0_47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9" name="Google Shape;619;g374da0147aa_0_47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20" name="Google Shape;620;g374da0147aa_0_471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621" name="Google Shape;621;g374da0147aa_0_47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2" name="Google Shape;622;g374da0147aa_0_471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23" name="Google Shape;623;g374da0147aa_0_47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4" name="Google Shape;624;g374da0147aa_0_47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4062426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2442975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3831902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122893803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045440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35087048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551809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771220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73347637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0790160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ver">
  <p:cSld name="7_Cover">
    <p:spTree>
      <p:nvGrpSpPr>
        <p:cNvPr id="1" name="Shape 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Google Shape;626;g374da0147aa_0_4726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7" name="Google Shape;627;g374da0147aa_0_4726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8" name="Google Shape;628;g374da0147aa_0_4726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9" name="Google Shape;629;g374da0147aa_0_47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30" name="Google Shape;630;g374da0147aa_0_4726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631" name="Google Shape;631;g374da0147aa_0_47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2" name="Google Shape;632;g374da0147aa_0_472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3" name="Google Shape;633;g374da0147aa_0_47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1514254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43750931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1433602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30723556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253231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477145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541868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69801709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29190576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11308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Divider">
  <p:cSld name="7_Divider">
    <p:bg>
      <p:bgPr>
        <a:solidFill>
          <a:schemeClr val="lt2"/>
        </a:solidFill>
        <a:effectLst/>
      </p:bgPr>
    </p:bg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5" name="Google Shape;635;g374da0147aa_0_4735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636" name="Google Shape;636;g374da0147aa_0_473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7" name="Google Shape;637;g374da0147aa_0_473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8" name="Google Shape;638;g374da0147aa_0_473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9" name="Google Shape;639;g374da0147aa_0_47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0" name="Google Shape;640;g374da0147aa_0_4735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" name="Google Shape;641;g374da0147aa_0_4735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338407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9555390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926739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04469239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0793332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9286917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493442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391184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5484900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05932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Quotation">
  <p:cSld name="13_Quotation"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Google Shape;643;g374da0147aa_0_4743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4" name="Google Shape;644;g374da0147aa_0_474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" name="Google Shape;645;g374da0147aa_0_47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6" name="Google Shape;646;g374da0147aa_0_474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7" name="Google Shape;647;g374da0147aa_0_47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8" name="Google Shape;648;g374da0147aa_0_47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49" name="Google Shape;649;g374da0147aa_0_474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650" name="Google Shape;650;g374da0147aa_0_47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1" name="Google Shape;651;g374da0147aa_0_474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52" name="Google Shape;652;g374da0147aa_0_47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3" name="Google Shape;653;g374da0147aa_0_47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4" name="Google Shape;654;g374da0147aa_0_474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10717187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1530830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52827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0419504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5611535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3295624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350297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964195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59288894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173803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6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6" name="Google Shape;656;g374da0147aa_0_475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657" name="Google Shape;657;g374da0147aa_0_47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8" name="Google Shape;658;g374da0147aa_0_47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59" name="Google Shape;659;g374da0147aa_0_47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0" name="Google Shape;660;g374da0147aa_0_47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61" name="Google Shape;661;g374da0147aa_0_47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2" name="Google Shape;662;g374da0147aa_0_47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3" name="Google Shape;663;g374da0147aa_0_475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4" name="Google Shape;664;g374da0147aa_0_47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5" name="Google Shape;665;g374da0147aa_0_47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92109313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39765628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707690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2335180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0825360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468784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117738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59826741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41841584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8438134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Content">
  <p:cSld name="6_Two Content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Google Shape;667;g374da0147aa_0_47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8" name="Google Shape;668;g374da0147aa_0_4767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69" name="Google Shape;669;g374da0147aa_0_476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670" name="Google Shape;670;g374da0147aa_0_47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1" name="Google Shape;671;g374da0147aa_0_47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72" name="Google Shape;672;g374da0147aa_0_47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3" name="Google Shape;673;g374da0147aa_0_47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4" name="Google Shape;674;g374da0147aa_0_4767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5" name="Google Shape;675;g374da0147aa_0_4767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6" name="Google Shape;676;g374da0147aa_0_47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7" name="Google Shape;677;g374da0147aa_0_47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70616647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530026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83286918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60965409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8314866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057969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084443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94463148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1262305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669083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mparison">
  <p:cSld name="6_Comparison">
    <p:spTree>
      <p:nvGrpSpPr>
        <p:cNvPr id="1" name="Shape 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9" name="Google Shape;679;g374da0147aa_0_477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680" name="Google Shape;680;g374da0147aa_0_47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1" name="Google Shape;681;g374da0147aa_0_47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682" name="Google Shape;682;g374da0147aa_0_47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3" name="Google Shape;683;g374da0147aa_0_47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84" name="Google Shape;684;g374da0147aa_0_4779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5" name="Google Shape;685;g374da0147aa_0_4779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86" name="Google Shape;686;g374da0147aa_0_4779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7" name="Google Shape;687;g374da0147aa_0_477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88" name="Google Shape;688;g374da0147aa_0_477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9" name="Google Shape;689;g374da0147aa_0_477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0" name="Google Shape;690;g374da0147aa_0_47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1" name="Google Shape;691;g374da0147aa_0_47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81479664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10769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659540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16342854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5015313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16931071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246268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94238174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14316755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1657186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Photo Slide">
  <p:cSld name="6_Photo Slide">
    <p:spTree>
      <p:nvGrpSpPr>
        <p:cNvPr id="1" name="Shape 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" name="Google Shape;693;g374da0147aa_0_479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94" name="Google Shape;694;g374da0147aa_0_479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95" name="Google Shape;695;g374da0147aa_0_479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696" name="Google Shape;696;g374da0147aa_0_479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7" name="Google Shape;697;g374da0147aa_0_479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98" name="Google Shape;698;g374da0147aa_0_479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699" name="Google Shape;699;g374da0147aa_0_47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546135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404404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8793982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93002520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3370223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41655904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121599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035177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1816620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44056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oogle Shape;45;g374da0147aa_0_414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46" name="Google Shape;46;g374da0147aa_0_4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" name="Google Shape;47;g374da0147aa_0_41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48" name="Google Shape;48;g374da0147aa_0_4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49;g374da0147aa_0_4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" name="Google Shape;50;g374da0147aa_0_41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g374da0147aa_0_41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g374da0147aa_0_414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" name="Google Shape;53;g374da0147aa_0_4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" name="Google Shape;54;g374da0147aa_0_4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End">
  <p:cSld name="5_End">
    <p:spTree>
      <p:nvGrpSpPr>
        <p:cNvPr id="1" name="Shape 7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1" name="Google Shape;701;g374da0147aa_0_480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02" name="Google Shape;702;g374da0147aa_0_480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3" name="Google Shape;703;g374da0147aa_0_480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04" name="Google Shape;704;g374da0147aa_0_4801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5" name="Google Shape;705;g374da0147aa_0_4801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6" name="Google Shape;706;g374da0147aa_0_480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07" name="Google Shape;707;g374da0147aa_0_48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08" name="Google Shape;708;g374da0147aa_0_48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26873656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01736313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865910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9370320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833694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531821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173149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870720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701996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9210116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Blank">
  <p:cSld name="4_Blank"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374da0147aa_0_481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1" name="Google Shape;711;g374da0147aa_0_48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2" name="Google Shape;712;g374da0147aa_0_48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13" name="Google Shape;713;g374da0147aa_0_481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14" name="Google Shape;714;g374da0147aa_0_48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5" name="Google Shape;715;g374da0147aa_0_48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16" name="Google Shape;716;g374da0147aa_0_48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" name="Google Shape;717;g374da0147aa_0_48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08259925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35714125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4352325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071951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46763359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461324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10092113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032065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6495506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8616262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Only">
  <p:cSld name="6_Title Only">
    <p:spTree>
      <p:nvGrpSpPr>
        <p:cNvPr id="1" name="Shape 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" name="Google Shape;719;g374da0147aa_0_481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20" name="Google Shape;720;g374da0147aa_0_48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1" name="Google Shape;721;g374da0147aa_0_481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22" name="Google Shape;722;g374da0147aa_0_48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" name="Google Shape;723;g374da0147aa_0_48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4" name="Google Shape;724;g374da0147aa_0_48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5" name="Google Shape;725;g374da0147aa_0_481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6" name="Google Shape;726;g374da0147aa_0_48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7" name="Google Shape;727;g374da0147aa_0_48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89854796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84248642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9892713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356745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62487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25004216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64840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468768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034612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75635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ver">
  <p:cSld name="8_Cover">
    <p:spTree>
      <p:nvGrpSpPr>
        <p:cNvPr id="1" name="Shape 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" name="Google Shape;729;g374da0147aa_0_4829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0" name="Google Shape;730;g374da0147aa_0_4829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1" name="Google Shape;731;g374da0147aa_0_4829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2" name="Google Shape;732;g374da0147aa_0_48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33" name="Google Shape;733;g374da0147aa_0_4829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734" name="Google Shape;734;g374da0147aa_0_48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5" name="Google Shape;735;g374da0147aa_0_482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6" name="Google Shape;736;g374da0147aa_0_48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46906446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234966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10014418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0468460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41952454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2346578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758012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04367468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396373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4777436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Divider">
  <p:cSld name="8_Divider">
    <p:bg>
      <p:bgPr>
        <a:solidFill>
          <a:schemeClr val="lt2"/>
        </a:solidFill>
        <a:effectLst/>
      </p:bgPr>
    </p:bg>
    <p:spTree>
      <p:nvGrpSpPr>
        <p:cNvPr id="1" name="Shape 7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8" name="Google Shape;738;g374da0147aa_0_4838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739" name="Google Shape;739;g374da0147aa_0_483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0" name="Google Shape;740;g374da0147aa_0_48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1" name="Google Shape;741;g374da0147aa_0_483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42" name="Google Shape;742;g374da0147aa_0_48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43" name="Google Shape;743;g374da0147aa_0_4838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4" name="Google Shape;744;g374da0147aa_0_4838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00681045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11700744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41181568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81733967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249979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382586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326513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5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141177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5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72984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524491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Quotation">
  <p:cSld name="14_Quotation">
    <p:spTree>
      <p:nvGrpSpPr>
        <p:cNvPr id="1" name="Shape 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" name="Google Shape;746;g374da0147aa_0_484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7" name="Google Shape;747;g374da0147aa_0_484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8" name="Google Shape;748;g374da0147aa_0_484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9" name="Google Shape;749;g374da0147aa_0_484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50" name="Google Shape;750;g374da0147aa_0_48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1" name="Google Shape;751;g374da0147aa_0_48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52" name="Google Shape;752;g374da0147aa_0_484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53" name="Google Shape;753;g374da0147aa_0_48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54" name="Google Shape;754;g374da0147aa_0_484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55" name="Google Shape;755;g374da0147aa_0_48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6" name="Google Shape;756;g374da0147aa_0_48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57" name="Google Shape;757;g374da0147aa_0_484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81089486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814949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8356929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8968904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65252021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37120295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790830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81380793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4743943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3010053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spTree>
      <p:nvGrpSpPr>
        <p:cNvPr id="1" name="Shape 7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9" name="Google Shape;759;g374da0147aa_0_485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60" name="Google Shape;760;g374da0147aa_0_48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1" name="Google Shape;761;g374da0147aa_0_48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62" name="Google Shape;762;g374da0147aa_0_48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3" name="Google Shape;763;g374da0147aa_0_48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4" name="Google Shape;764;g374da0147aa_0_48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5" name="Google Shape;765;g374da0147aa_0_48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6" name="Google Shape;766;g374da0147aa_0_485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7" name="Google Shape;767;g374da0147aa_0_48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8" name="Google Shape;768;g374da0147aa_0_48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70026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4058744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65691742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3326418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00728835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341952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51221632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138627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7400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51411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Content">
  <p:cSld name="7_Two Content">
    <p:spTree>
      <p:nvGrpSpPr>
        <p:cNvPr id="1" name="Shape 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0" name="Google Shape;770;g374da0147aa_0_48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1" name="Google Shape;771;g374da0147aa_0_487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72" name="Google Shape;772;g374da0147aa_0_487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73" name="Google Shape;773;g374da0147aa_0_48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4" name="Google Shape;774;g374da0147aa_0_48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75" name="Google Shape;775;g374da0147aa_0_48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6" name="Google Shape;776;g374da0147aa_0_48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7" name="Google Shape;777;g374da0147aa_0_487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" name="Google Shape;778;g374da0147aa_0_487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9" name="Google Shape;779;g374da0147aa_0_48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0" name="Google Shape;780;g374da0147aa_0_48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537534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61422984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861105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774764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178800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245018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453132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05937188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687594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62608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mparison">
  <p:cSld name="7_Comparison">
    <p:spTree>
      <p:nvGrpSpPr>
        <p:cNvPr id="1" name="Shape 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2" name="Google Shape;782;g374da0147aa_0_488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83" name="Google Shape;783;g374da0147aa_0_48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4" name="Google Shape;784;g374da0147aa_0_488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85" name="Google Shape;785;g374da0147aa_0_48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6" name="Google Shape;786;g374da0147aa_0_48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7" name="Google Shape;787;g374da0147aa_0_488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8" name="Google Shape;788;g374da0147aa_0_488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89" name="Google Shape;789;g374da0147aa_0_488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0" name="Google Shape;790;g374da0147aa_0_48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1" name="Google Shape;791;g374da0147aa_0_48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2" name="Google Shape;792;g374da0147aa_0_488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3" name="Google Shape;793;g374da0147aa_0_48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4" name="Google Shape;794;g374da0147aa_0_48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445239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805111448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322411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73314615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296575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287777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182405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19485352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92999979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329717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Photo Slide">
  <p:cSld name="7_Photo Slide">
    <p:spTree>
      <p:nvGrpSpPr>
        <p:cNvPr id="1" name="Shape 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6" name="Google Shape;796;g374da0147aa_0_489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97" name="Google Shape;797;g374da0147aa_0_489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98" name="Google Shape;798;g374da0147aa_0_489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799" name="Google Shape;799;g374da0147aa_0_489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0" name="Google Shape;800;g374da0147aa_0_489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1" name="Google Shape;801;g374da0147aa_0_489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02" name="Google Shape;802;g374da0147aa_0_48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18092652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502895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13118388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10972460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91961892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1263680348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147746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281589558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587812124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13505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374da0147aa_0_4156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7;g374da0147aa_0_4156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g374da0147aa_0_4156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9" name="Google Shape;59;g374da0147aa_0_41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0" name="Google Shape;60;g374da0147aa_0_4156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61" name="Google Shape;61;g374da0147aa_0_41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g374da0147aa_0_415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" name="Google Shape;63;g374da0147aa_0_41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End">
  <p:cSld name="6_End">
    <p:spTree>
      <p:nvGrpSpPr>
        <p:cNvPr id="1" name="Shape 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4" name="Google Shape;804;g374da0147aa_0_490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05" name="Google Shape;805;g374da0147aa_0_490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6" name="Google Shape;806;g374da0147aa_0_490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7" name="Google Shape;807;g374da0147aa_0_4904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8" name="Google Shape;808;g374da0147aa_0_4904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9" name="Google Shape;809;g374da0147aa_0_490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10" name="Google Shape;810;g374da0147aa_0_49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11" name="Google Shape;811;g374da0147aa_0_49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550605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479842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517059743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0738056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3216999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870579631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4456129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360740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594718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9826407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lank">
  <p:cSld name="5_Blank">
    <p:spTree>
      <p:nvGrpSpPr>
        <p:cNvPr id="1" name="Shape 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" name="Google Shape;813;g374da0147aa_0_491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4" name="Google Shape;814;g374da0147aa_0_49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5" name="Google Shape;815;g374da0147aa_0_49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16" name="Google Shape;816;g374da0147aa_0_491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17" name="Google Shape;817;g374da0147aa_0_49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8" name="Google Shape;818;g374da0147aa_0_49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19" name="Google Shape;819;g374da0147aa_0_49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0" name="Google Shape;820;g374da0147aa_0_49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924702127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055662697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0523488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1442673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93781478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599585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4434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900964361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452220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29162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Only">
  <p:cSld name="7_Title Only">
    <p:spTree>
      <p:nvGrpSpPr>
        <p:cNvPr id="1" name="Shape 8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2" name="Google Shape;822;g374da0147aa_0_492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3" name="Google Shape;823;g374da0147aa_0_49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4" name="Google Shape;824;g374da0147aa_0_492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5" name="Google Shape;825;g374da0147aa_0_49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6" name="Google Shape;826;g374da0147aa_0_49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27" name="Google Shape;827;g374da0147aa_0_49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" name="Google Shape;828;g374da0147aa_0_492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9" name="Google Shape;829;g374da0147aa_0_49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0" name="Google Shape;830;g374da0147aa_0_49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501833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25297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258061159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606946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952920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575469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973251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285893829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692889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3636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Photo Slide">
  <p:cSld name="8_Photo Slide">
    <p:spTree>
      <p:nvGrpSpPr>
        <p:cNvPr id="1" name="Shape 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2" name="Google Shape;832;g374da0147aa_0_493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33" name="Google Shape;833;g374da0147aa_0_493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34" name="Google Shape;834;g374da0147aa_0_493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35" name="Google Shape;835;g374da0147aa_0_49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6" name="Google Shape;836;g374da0147aa_0_49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7" name="Google Shape;837;g374da0147aa_0_49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38" name="Google Shape;838;g374da0147aa_0_49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50750012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012250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836870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393359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731678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8/15/25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28229811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8/15/25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6188944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27626138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15217790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7129497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Quotation">
  <p:cSld name="16_Quotation">
    <p:spTree>
      <p:nvGrpSpPr>
        <p:cNvPr id="1" name="Shape 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0" name="Google Shape;840;g374da0147aa_0_494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1" name="Google Shape;841;g374da0147aa_0_494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2" name="Google Shape;842;g374da0147aa_0_494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3" name="Google Shape;843;g374da0147aa_0_494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4" name="Google Shape;844;g374da0147aa_0_49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5" name="Google Shape;845;g374da0147aa_0_49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46" name="Google Shape;846;g374da0147aa_0_494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7" name="Google Shape;847;g374da0147aa_0_49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8" name="Google Shape;848;g374da0147aa_0_49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9" name="Google Shape;849;g374da0147aa_0_49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0" name="Google Shape;850;g374da0147aa_0_49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1" name="Google Shape;851;g374da0147aa_0_494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0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07226383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2418225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187504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53610012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31_Divider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96022357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230559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643185971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635140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30_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93125269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0781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spTree>
      <p:nvGrpSpPr>
        <p:cNvPr id="1" name="Shape 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3" name="Google Shape;853;g374da0147aa_0_495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4" name="Google Shape;854;g374da0147aa_0_49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5" name="Google Shape;855;g374da0147aa_0_495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6" name="Google Shape;856;g374da0147aa_0_49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7" name="Google Shape;857;g374da0147aa_0_49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8" name="Google Shape;858;g374da0147aa_0_49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9" name="Google Shape;859;g374da0147aa_0_49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0" name="Google Shape;860;g374da0147aa_0_495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1" name="Google Shape;861;g374da0147aa_0_49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2" name="Google Shape;862;g374da0147aa_0_49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7644461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5462088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59663147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991721642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8/15/25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97118463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8/15/25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01210353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37447587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1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925578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1938669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1683289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Content">
  <p:cSld name="8_Two Content">
    <p:spTree>
      <p:nvGrpSpPr>
        <p:cNvPr id="1" name="Shape 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4" name="Google Shape;864;g374da0147aa_0_49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5" name="Google Shape;865;g374da0147aa_0_496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66" name="Google Shape;866;g374da0147aa_0_496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7" name="Google Shape;867;g374da0147aa_0_49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8" name="Google Shape;868;g374da0147aa_0_49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9" name="Google Shape;869;g374da0147aa_0_49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0" name="Google Shape;870;g374da0147aa_0_49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1" name="Google Shape;871;g374da0147aa_0_4964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2" name="Google Shape;872;g374da0147aa_0_4964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3" name="Google Shape;873;g374da0147aa_0_49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4" name="Google Shape;874;g374da0147aa_0_49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58760345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421710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848202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1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66481214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2529546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1735597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88252039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2673662869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621762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4158482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mparison">
  <p:cSld name="8_Comparison">
    <p:spTree>
      <p:nvGrpSpPr>
        <p:cNvPr id="1" name="Shape 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6" name="Google Shape;876;g374da0147aa_0_497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77" name="Google Shape;877;g374da0147aa_0_49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8" name="Google Shape;878;g374da0147aa_0_497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79" name="Google Shape;879;g374da0147aa_0_49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0" name="Google Shape;880;g374da0147aa_0_49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1" name="Google Shape;881;g374da0147aa_0_497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2" name="Google Shape;882;g374da0147aa_0_497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83" name="Google Shape;883;g374da0147aa_0_497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4" name="Google Shape;884;g374da0147aa_0_497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85" name="Google Shape;885;g374da0147aa_0_497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6" name="Google Shape;886;g374da0147aa_0_497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7" name="Google Shape;887;g374da0147aa_0_49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8" name="Google Shape;888;g374da0147aa_0_49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0866008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200790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955643634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8067457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37463139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898404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373193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80098459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7372431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789221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0" name="Google Shape;890;g374da0147aa_0_499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1" name="Google Shape;891;g374da0147aa_0_49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2" name="Google Shape;892;g374da0147aa_0_49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3" name="Google Shape;893;g374da0147aa_0_49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4" name="Google Shape;894;g374da0147aa_0_49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5" name="Google Shape;895;g374da0147aa_0_49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6" name="Google Shape;896;g374da0147aa_0_499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7" name="Google Shape;897;g374da0147aa_0_49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8" name="Google Shape;898;g374da0147aa_0_49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05320955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765116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2414960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186372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8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14" name="Google Shape;8214;g3681a448973_2_53262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215" name="Google Shape;8215;g3681a448973_2_5326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6" name="Google Shape;8216;g3681a448973_2_532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7" name="Google Shape;8217;g3681a448973_2_5326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18" name="Google Shape;8218;g3681a448973_2_532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19" name="Google Shape;8219;g3681a448973_2_53262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20" name="Google Shape;8220;g3681a448973_2_53262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14157478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2" name="Google Shape;8222;g3681a448973_2_5327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23" name="Google Shape;8223;g3681a448973_2_532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24" name="Google Shape;8224;g3681a448973_2_532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25" name="Google Shape;8225;g3681a448973_2_5327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26" name="Google Shape;8226;g3681a448973_2_53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27" name="Google Shape;8227;g3681a448973_2_5327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28" name="Google Shape;8228;g3681a448973_2_532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29" name="Google Shape;8229;g3681a448973_2_532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1657400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_Photo Slide">
  <p:cSld name="30_Photo Slide">
    <p:spTree>
      <p:nvGrpSpPr>
        <p:cNvPr id="1" name="Shape 8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1" name="Google Shape;8231;p1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232" name="Google Shape;8232;p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8233" name="Google Shape;8233;p1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234" name="Google Shape;8234;p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35" name="Google Shape;8235;p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236" name="Google Shape;8236;p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237" name="Google Shape;8237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81442852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8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9" name="Google Shape;8239;g3681a448973_2_53279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40" name="Google Shape;8240;g3681a448973_2_53279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1" name="Google Shape;8241;g3681a448973_2_53279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242" name="Google Shape;8242;g3681a448973_2_5327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243" name="Google Shape;8243;g3681a448973_2_53279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244" name="Google Shape;8244;g3681a448973_2_532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45" name="Google Shape;8245;g3681a448973_2_5327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46" name="Google Shape;8246;g3681a448973_2_532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59986460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 type="obj">
  <p:cSld name="Quotation">
    <p:spTree>
      <p:nvGrpSpPr>
        <p:cNvPr id="1" name="Shape 8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48" name="Google Shape;8248;g3681a448973_2_5328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49" name="Google Shape;8249;g3681a448973_2_5328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50" name="Google Shape;8250;g3681a448973_2_5328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51" name="Google Shape;8251;g3681a448973_2_5328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52" name="Google Shape;8252;g3681a448973_2_532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53" name="Google Shape;8253;g3681a448973_2_532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54" name="Google Shape;8254;g3681a448973_2_5328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55" name="Google Shape;8255;g3681a448973_2_532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56" name="Google Shape;8256;g3681a448973_2_5328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57" name="Google Shape;8257;g3681a448973_2_532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58" name="Google Shape;8258;g3681a448973_2_532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59" name="Google Shape;8259;g3681a448973_2_5328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3576312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8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1" name="Google Shape;8261;g3681a448973_2_5330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62" name="Google Shape;8262;g3681a448973_2_5330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63" name="Google Shape;8263;g3681a448973_2_533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64" name="Google Shape;8264;g3681a448973_2_5330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65" name="Google Shape;8265;g3681a448973_2_533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66" name="Google Shape;8266;g3681a448973_2_533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67" name="Google Shape;8267;g3681a448973_2_5330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68" name="Google Shape;8268;g3681a448973_2_533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69" name="Google Shape;8269;g3681a448973_2_5330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70" name="Google Shape;8270;g3681a448973_2_533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1" name="Google Shape;8271;g3681a448973_2_533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72" name="Google Shape;8272;g3681a448973_2_5330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675068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End">
  <p:cSld name="7_End">
    <p:spTree>
      <p:nvGrpSpPr>
        <p:cNvPr id="1" name="Shape 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0" name="Google Shape;900;g374da0147aa_0_500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01" name="Google Shape;901;g374da0147aa_0_500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2" name="Google Shape;902;g374da0147aa_0_500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3" name="Google Shape;903;g374da0147aa_0_5000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4" name="Google Shape;904;g374da0147aa_0_500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5" name="Google Shape;905;g374da0147aa_0_500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06" name="Google Shape;906;g374da0147aa_0_50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07" name="Google Shape;907;g374da0147aa_0_50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8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74" name="Google Shape;8274;g3681a448973_2_5331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75" name="Google Shape;8275;g3681a448973_2_533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76" name="Google Shape;8276;g3681a448973_2_5331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77" name="Google Shape;8277;g3681a448973_2_533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8" name="Google Shape;8278;g3681a448973_2_533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279" name="Google Shape;8279;g3681a448973_2_533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0" name="Google Shape;8280;g3681a448973_2_533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81" name="Google Shape;8281;g3681a448973_2_5331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82" name="Google Shape;8282;g3681a448973_2_533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83" name="Google Shape;8283;g3681a448973_2_533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34261287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8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5" name="Google Shape;8285;g3681a448973_2_533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6" name="Google Shape;8286;g3681a448973_2_53325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287" name="Google Shape;8287;g3681a448973_2_5332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288" name="Google Shape;8288;g3681a448973_2_533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89" name="Google Shape;8289;g3681a448973_2_533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290" name="Google Shape;8290;g3681a448973_2_533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91" name="Google Shape;8291;g3681a448973_2_533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292" name="Google Shape;8292;g3681a448973_2_53325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3" name="Google Shape;8293;g3681a448973_2_53325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94" name="Google Shape;8294;g3681a448973_2_533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95" name="Google Shape;8295;g3681a448973_2_533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34043693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8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7" name="Google Shape;8297;g3681a448973_2_5333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298" name="Google Shape;8298;g3681a448973_2_5333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299" name="Google Shape;8299;g3681a448973_2_5333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300" name="Google Shape;8300;g3681a448973_2_533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01" name="Google Shape;8301;g3681a448973_2_533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02" name="Google Shape;8302;g3681a448973_2_533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303" name="Google Shape;8303;g3681a448973_2_533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7317832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8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05" name="Google Shape;8305;g3681a448973_2_5334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306" name="Google Shape;8306;g3681a448973_2_533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07" name="Google Shape;8307;g3681a448973_2_533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308" name="Google Shape;8308;g3681a448973_2_533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09" name="Google Shape;8309;g3681a448973_2_533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10" name="Google Shape;8310;g3681a448973_2_5334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11" name="Google Shape;8311;g3681a448973_2_5334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12" name="Google Shape;8312;g3681a448973_2_5334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13" name="Google Shape;8313;g3681a448973_2_533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14" name="Google Shape;8314;g3681a448973_2_533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15" name="Google Shape;8315;g3681a448973_2_5334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16" name="Google Shape;8316;g3681a448973_2_533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7" name="Google Shape;8317;g3681a448973_2_533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78973217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8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19" name="Google Shape;8319;g3681a448973_2_53359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20" name="Google Shape;8320;g3681a448973_2_53359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21" name="Google Shape;8321;g3681a448973_2_53359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22" name="Google Shape;8322;g3681a448973_2_533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323" name="Google Shape;8323;g3681a448973_2_53359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324" name="Google Shape;8324;g3681a448973_2_533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25" name="Google Shape;8325;g3681a448973_2_5335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26" name="Google Shape;8326;g3681a448973_2_533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74585131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vider">
  <p:cSld name="1_Divider">
    <p:bg>
      <p:bgPr>
        <a:solidFill>
          <a:schemeClr val="lt2"/>
        </a:solidFill>
        <a:effectLst/>
      </p:bgPr>
    </p:bg>
    <p:spTree>
      <p:nvGrpSpPr>
        <p:cNvPr id="1" name="Shape 8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28" name="Google Shape;8328;g3681a448973_2_53368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329" name="Google Shape;8329;g3681a448973_2_533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30" name="Google Shape;8330;g3681a448973_2_533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31" name="Google Shape;8331;g3681a448973_2_533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32" name="Google Shape;8332;g3681a448973_2_533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333" name="Google Shape;8333;g3681a448973_2_53368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34" name="Google Shape;8334;g3681a448973_2_53368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89614948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Photo Slide">
  <p:cSld name="1_Photo Slide">
    <p:spTree>
      <p:nvGrpSpPr>
        <p:cNvPr id="1" name="Shape 8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36" name="Google Shape;8336;g3681a448973_2_53376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337" name="Google Shape;8337;g3681a448973_2_53376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338" name="Google Shape;8338;g3681a448973_2_53376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339" name="Google Shape;8339;g3681a448973_2_533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40" name="Google Shape;8340;g3681a448973_2_533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41" name="Google Shape;8341;g3681a448973_2_533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342" name="Google Shape;8342;g3681a448973_2_533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2607367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8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44" name="Google Shape;8344;g3681a448973_2_53384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45" name="Google Shape;8345;g3681a448973_2_5338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46" name="Google Shape;8346;g3681a448973_2_533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47" name="Google Shape;8347;g3681a448973_2_5338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48" name="Google Shape;8348;g3681a448973_2_533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49" name="Google Shape;8349;g3681a448973_2_533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50" name="Google Shape;8350;g3681a448973_2_5338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351" name="Google Shape;8351;g3681a448973_2_533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52" name="Google Shape;8352;g3681a448973_2_5338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353" name="Google Shape;8353;g3681a448973_2_533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54" name="Google Shape;8354;g3681a448973_2_533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55" name="Google Shape;8355;g3681a448973_2_533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59923016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8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57" name="Google Shape;8357;g3681a448973_2_5339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358" name="Google Shape;8358;g3681a448973_2_533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59" name="Google Shape;8359;g3681a448973_2_5339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360" name="Google Shape;8360;g3681a448973_2_533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1" name="Google Shape;8361;g3681a448973_2_533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62" name="Google Shape;8362;g3681a448973_2_533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63" name="Google Shape;8363;g3681a448973_2_5339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64" name="Google Shape;8364;g3681a448973_2_5339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65" name="Google Shape;8365;g3681a448973_2_533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66" name="Google Shape;8366;g3681a448973_2_533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04806871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8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8" name="Google Shape;8368;g3681a448973_2_5340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69" name="Google Shape;8369;g3681a448973_2_5340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70" name="Google Shape;8370;g3681a448973_2_534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71" name="Google Shape;8371;g3681a448973_2_5340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72" name="Google Shape;8372;g3681a448973_2_534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73" name="Google Shape;8373;g3681a448973_2_534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74" name="Google Shape;8374;g3681a448973_2_5340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375" name="Google Shape;8375;g3681a448973_2_534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76" name="Google Shape;8376;g3681a448973_2_5340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377" name="Google Shape;8377;g3681a448973_2_534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78" name="Google Shape;8378;g3681a448973_2_534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9" name="Google Shape;8379;g3681a448973_2_5340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5343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374da0147aa_0_416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" name="Google Shape;66;g374da0147aa_0_416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g374da0147aa_0_41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g374da0147aa_0_416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" name="Google Shape;69;g374da0147aa_0_41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" name="Google Shape;70;g374da0147aa_0_4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1" name="Google Shape;71;g374da0147aa_0_416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72" name="Google Shape;72;g374da0147aa_0_41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g374da0147aa_0_416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74" name="Google Shape;74;g374da0147aa_0_41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g374da0147aa_0_41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6" name="Google Shape;76;g374da0147aa_0_416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lank">
  <p:cSld name="6_Blank"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" name="Google Shape;909;g374da0147aa_0_500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0" name="Google Shape;910;g374da0147aa_0_50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1" name="Google Shape;911;g374da0147aa_0_50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12" name="Google Shape;912;g374da0147aa_0_500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3" name="Google Shape;913;g374da0147aa_0_50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4" name="Google Shape;914;g374da0147aa_0_500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5" name="Google Shape;915;g374da0147aa_0_50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6" name="Google Shape;916;g374da0147aa_0_50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8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1" name="Google Shape;8381;g3681a448973_2_53421"/>
          <p:cNvSpPr txBox="1">
            <a:spLocks noGrp="1"/>
          </p:cNvSpPr>
          <p:nvPr>
            <p:ph type="ctrTitle"/>
          </p:nvPr>
        </p:nvSpPr>
        <p:spPr>
          <a:xfrm>
            <a:off x="513349" y="2633534"/>
            <a:ext cx="51945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2" name="Google Shape;8382;g3681a448973_2_53421"/>
          <p:cNvSpPr txBox="1">
            <a:spLocks noGrp="1"/>
          </p:cNvSpPr>
          <p:nvPr>
            <p:ph type="subTitle" idx="1"/>
          </p:nvPr>
        </p:nvSpPr>
        <p:spPr>
          <a:xfrm>
            <a:off x="513349" y="5400326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8383" name="Google Shape;8383;g3681a448973_2_53421"/>
          <p:cNvGrpSpPr/>
          <p:nvPr/>
        </p:nvGrpSpPr>
        <p:grpSpPr>
          <a:xfrm flipH="1">
            <a:off x="225" y="2"/>
            <a:ext cx="6418638" cy="1509802"/>
            <a:chOff x="7522541" y="1"/>
            <a:chExt cx="4669459" cy="1098357"/>
          </a:xfrm>
        </p:grpSpPr>
        <p:sp>
          <p:nvSpPr>
            <p:cNvPr id="8384" name="Google Shape;8384;g3681a448973_2_5342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85" name="Google Shape;8385;g3681a448973_2_5342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386" name="Google Shape;8386;g3681a448973_2_5342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6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05481871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ver">
  <p:cSld name="2_Cover">
    <p:spTree>
      <p:nvGrpSpPr>
        <p:cNvPr id="1" name="Shape 8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8" name="Google Shape;8388;g3681a448973_2_53428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89" name="Google Shape;8389;g3681a448973_2_53428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90" name="Google Shape;8390;g3681a448973_2_53428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91" name="Google Shape;8391;g3681a448973_2_534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392" name="Google Shape;8392;g3681a448973_2_53428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393" name="Google Shape;8393;g3681a448973_2_534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94" name="Google Shape;8394;g3681a448973_2_534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95" name="Google Shape;8395;g3681a448973_2_534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174855527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Divider">
  <p:cSld name="2_Divider">
    <p:bg>
      <p:bgPr>
        <a:solidFill>
          <a:schemeClr val="lt2"/>
        </a:solidFill>
        <a:effectLst/>
      </p:bgPr>
    </p:bg>
    <p:spTree>
      <p:nvGrpSpPr>
        <p:cNvPr id="1" name="Shape 8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97" name="Google Shape;8397;g3681a448973_2_53437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398" name="Google Shape;8398;g3681a448973_2_5343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99" name="Google Shape;8399;g3681a448973_2_534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00" name="Google Shape;8400;g3681a448973_2_5343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01" name="Google Shape;8401;g3681a448973_2_534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402" name="Google Shape;8402;g3681a448973_2_53437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03" name="Google Shape;8403;g3681a448973_2_53437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16241850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hoto Slide">
  <p:cSld name="2_Photo Slide">
    <p:spTree>
      <p:nvGrpSpPr>
        <p:cNvPr id="1" name="Shape 8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05" name="Google Shape;8405;g3681a448973_2_53445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406" name="Google Shape;8406;g3681a448973_2_5344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407" name="Google Shape;8407;g3681a448973_2_53445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408" name="Google Shape;8408;g3681a448973_2_5344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09" name="Google Shape;8409;g3681a448973_2_5344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410" name="Google Shape;8410;g3681a448973_2_5344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411" name="Google Shape;8411;g3681a448973_2_534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51249761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8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13" name="Google Shape;8413;g3681a448973_2_53453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14" name="Google Shape;8414;g3681a448973_2_5345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5" name="Google Shape;8415;g3681a448973_2_534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16" name="Google Shape;8416;g3681a448973_2_5345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17" name="Google Shape;8417;g3681a448973_2_534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18" name="Google Shape;8418;g3681a448973_2_534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419" name="Google Shape;8419;g3681a448973_2_5345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20" name="Google Shape;8420;g3681a448973_2_534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21" name="Google Shape;8421;g3681a448973_2_5345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22" name="Google Shape;8422;g3681a448973_2_534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23" name="Google Shape;8423;g3681a448973_2_534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424" name="Google Shape;8424;g3681a448973_2_5345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03901622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Quotation">
  <p:cSld name="5_Quotation">
    <p:spTree>
      <p:nvGrpSpPr>
        <p:cNvPr id="1" name="Shape 8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6" name="Google Shape;8426;g3681a448973_2_53466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27" name="Google Shape;8427;g3681a448973_2_53466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28" name="Google Shape;8428;g3681a448973_2_534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9" name="Google Shape;8429;g3681a448973_2_534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30" name="Google Shape;8430;g3681a448973_2_534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31" name="Google Shape;8431;g3681a448973_2_534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432" name="Google Shape;8432;g3681a448973_2_534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33" name="Google Shape;8433;g3681a448973_2_534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34" name="Google Shape;8434;g3681a448973_2_534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35" name="Google Shape;8435;g3681a448973_2_534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36" name="Google Shape;8436;g3681a448973_2_534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437" name="Google Shape;8437;g3681a448973_2_5346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4708852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">
    <p:spTree>
      <p:nvGrpSpPr>
        <p:cNvPr id="1" name="Shape 8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39" name="Google Shape;8439;g3681a448973_2_5347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40" name="Google Shape;8440;g3681a448973_2_534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41" name="Google Shape;8441;g3681a448973_2_5347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42" name="Google Shape;8442;g3681a448973_2_534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43" name="Google Shape;8443;g3681a448973_2_534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44" name="Google Shape;8444;g3681a448973_2_534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5" name="Google Shape;8445;g3681a448973_2_534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6" name="Google Shape;8446;g3681a448973_2_5347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47" name="Google Shape;8447;g3681a448973_2_534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48" name="Google Shape;8448;g3681a448973_2_534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88451038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">
  <p:cSld name="1_Two Content"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3681a448973_2_534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1" name="Google Shape;8451;g3681a448973_2_53490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452" name="Google Shape;8452;g3681a448973_2_5349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53" name="Google Shape;8453;g3681a448973_2_534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54" name="Google Shape;8454;g3681a448973_2_5349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55" name="Google Shape;8455;g3681a448973_2_534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56" name="Google Shape;8456;g3681a448973_2_534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57" name="Google Shape;8457;g3681a448973_2_53490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58" name="Google Shape;8458;g3681a448973_2_53490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59" name="Google Shape;8459;g3681a448973_2_534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60" name="Google Shape;8460;g3681a448973_2_534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34919383"/>
      </p:ext>
    </p:extLst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ison">
  <p:cSld name="1_Comparison">
    <p:spTree>
      <p:nvGrpSpPr>
        <p:cNvPr id="1" name="Shape 8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62" name="Google Shape;8462;g3681a448973_2_5350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63" name="Google Shape;8463;g3681a448973_2_535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64" name="Google Shape;8464;g3681a448973_2_535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65" name="Google Shape;8465;g3681a448973_2_535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66" name="Google Shape;8466;g3681a448973_2_535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67" name="Google Shape;8467;g3681a448973_2_53502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68" name="Google Shape;8468;g3681a448973_2_53502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469" name="Google Shape;8469;g3681a448973_2_53502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0" name="Google Shape;8470;g3681a448973_2_5350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471" name="Google Shape;8471;g3681a448973_2_5350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2" name="Google Shape;8472;g3681a448973_2_5350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73" name="Google Shape;8473;g3681a448973_2_535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74" name="Google Shape;8474;g3681a448973_2_535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34759152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8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76" name="Google Shape;8476;g3681a448973_2_5351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477" name="Google Shape;8477;g3681a448973_2_535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78" name="Google Shape;8478;g3681a448973_2_5351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479" name="Google Shape;8479;g3681a448973_2_535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80" name="Google Shape;8480;g3681a448973_2_535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81" name="Google Shape;8481;g3681a448973_2_535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82" name="Google Shape;8482;g3681a448973_2_5351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83" name="Google Shape;8483;g3681a448973_2_535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84" name="Google Shape;8484;g3681a448973_2_535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6400741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ver">
  <p:cSld name="9_Cover"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g374da0147aa_0_5018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9" name="Google Shape;919;g374da0147aa_0_5018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0" name="Google Shape;920;g374da0147aa_0_5018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21" name="Google Shape;921;g374da0147aa_0_501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22" name="Google Shape;922;g374da0147aa_0_5018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23" name="Google Shape;923;g374da0147aa_0_50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4" name="Google Shape;924;g374da0147aa_0_501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5" name="Google Shape;925;g374da0147aa_0_50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8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86" name="Google Shape;8486;g3681a448973_2_535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487" name="Google Shape;8487;g3681a448973_2_535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88" name="Google Shape;8488;g3681a448973_2_535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489" name="Google Shape;8489;g3681a448973_2_5352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0" name="Google Shape;8490;g3681a448973_2_5352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1" name="Google Shape;8491;g3681a448973_2_535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492" name="Google Shape;8492;g3681a448973_2_535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493" name="Google Shape;8493;g3681a448973_2_535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392690266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ver">
  <p:cSld name="3_Cover">
    <p:spTree>
      <p:nvGrpSpPr>
        <p:cNvPr id="1" name="Shape 8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5" name="Google Shape;8495;g3681a448973_2_53535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6" name="Google Shape;8496;g3681a448973_2_53535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97" name="Google Shape;8497;g3681a448973_2_53535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98" name="Google Shape;8498;g3681a448973_2_535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99" name="Google Shape;8499;g3681a448973_2_53535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500" name="Google Shape;8500;g3681a448973_2_5353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01" name="Google Shape;8501;g3681a448973_2_5353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02" name="Google Shape;8502;g3681a448973_2_535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098292055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ivider">
  <p:cSld name="3_Divider">
    <p:bg>
      <p:bgPr>
        <a:solidFill>
          <a:schemeClr val="lt2"/>
        </a:solidFill>
        <a:effectLst/>
      </p:bgPr>
    </p:bg>
    <p:spTree>
      <p:nvGrpSpPr>
        <p:cNvPr id="1" name="Shape 8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04" name="Google Shape;8504;g3681a448973_2_53544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505" name="Google Shape;8505;g3681a448973_2_5354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06" name="Google Shape;8506;g3681a448973_2_535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07" name="Google Shape;8507;g3681a448973_2_5354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08" name="Google Shape;8508;g3681a448973_2_535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09" name="Google Shape;8509;g3681a448973_2_53544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0" name="Google Shape;8510;g3681a448973_2_53544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2272440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hoto Slide">
  <p:cSld name="3_Photo Slide">
    <p:spTree>
      <p:nvGrpSpPr>
        <p:cNvPr id="1" name="Shape 8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12" name="Google Shape;8512;g3681a448973_2_5355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13" name="Google Shape;8513;g3681a448973_2_5355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514" name="Google Shape;8514;g3681a448973_2_5355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515" name="Google Shape;8515;g3681a448973_2_535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g3681a448973_2_535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517" name="Google Shape;8517;g3681a448973_2_535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518" name="Google Shape;8518;g3681a448973_2_535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13673536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Quotation">
  <p:cSld name="6_Quotation">
    <p:spTree>
      <p:nvGrpSpPr>
        <p:cNvPr id="1" name="Shape 8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20" name="Google Shape;8520;g3681a448973_2_5356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21" name="Google Shape;8521;g3681a448973_2_5356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22" name="Google Shape;8522;g3681a448973_2_5356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23" name="Google Shape;8523;g3681a448973_2_5356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24" name="Google Shape;8524;g3681a448973_2_535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25" name="Google Shape;8525;g3681a448973_2_535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526" name="Google Shape;8526;g3681a448973_2_5356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27" name="Google Shape;8527;g3681a448973_2_535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28" name="Google Shape;8528;g3681a448973_2_5356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29" name="Google Shape;8529;g3681a448973_2_535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30" name="Google Shape;8530;g3681a448973_2_535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31" name="Google Shape;8531;g3681a448973_2_5356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0454169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">
  <p:cSld name="3_Title and Content">
    <p:spTree>
      <p:nvGrpSpPr>
        <p:cNvPr id="1" name="Shape 8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33" name="Google Shape;8533;g3681a448973_2_5357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34" name="Google Shape;8534;g3681a448973_2_535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35" name="Google Shape;8535;g3681a448973_2_535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36" name="Google Shape;8536;g3681a448973_2_535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37" name="Google Shape;8537;g3681a448973_2_535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38" name="Google Shape;8538;g3681a448973_2_535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39" name="Google Shape;8539;g3681a448973_2_535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40" name="Google Shape;8540;g3681a448973_2_5357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41" name="Google Shape;8541;g3681a448973_2_535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42" name="Google Shape;8542;g3681a448973_2_535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3506164"/>
      </p:ext>
    </p:extLst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Content">
  <p:cSld name="2_Two Content">
    <p:spTree>
      <p:nvGrpSpPr>
        <p:cNvPr id="1" name="Shape 8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4" name="Google Shape;8544;g3681a448973_2_535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45" name="Google Shape;8545;g3681a448973_2_5358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546" name="Google Shape;8546;g3681a448973_2_5358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47" name="Google Shape;8547;g3681a448973_2_535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48" name="Google Shape;8548;g3681a448973_2_5358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49" name="Google Shape;8549;g3681a448973_2_535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50" name="Google Shape;8550;g3681a448973_2_535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51" name="Google Shape;8551;g3681a448973_2_53584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52" name="Google Shape;8552;g3681a448973_2_53584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53" name="Google Shape;8553;g3681a448973_2_535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54" name="Google Shape;8554;g3681a448973_2_535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96807442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mparison">
  <p:cSld name="2_Comparison">
    <p:spTree>
      <p:nvGrpSpPr>
        <p:cNvPr id="1" name="Shape 8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56" name="Google Shape;8556;g3681a448973_2_5359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57" name="Google Shape;8557;g3681a448973_2_535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58" name="Google Shape;8558;g3681a448973_2_5359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59" name="Google Shape;8559;g3681a448973_2_535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0" name="Google Shape;8560;g3681a448973_2_535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61" name="Google Shape;8561;g3681a448973_2_5359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62" name="Google Shape;8562;g3681a448973_2_5359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563" name="Google Shape;8563;g3681a448973_2_5359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64" name="Google Shape;8564;g3681a448973_2_5359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565" name="Google Shape;8565;g3681a448973_2_5359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66" name="Google Shape;8566;g3681a448973_2_5359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67" name="Google Shape;8567;g3681a448973_2_535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68" name="Google Shape;8568;g3681a448973_2_535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95637162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85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70" name="Google Shape;8570;g3681a448973_2_5361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71" name="Google Shape;8571;g3681a448973_2_536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72" name="Google Shape;8572;g3681a448973_2_5361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73" name="Google Shape;8573;g3681a448973_2_536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74" name="Google Shape;8574;g3681a448973_2_536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75" name="Google Shape;8575;g3681a448973_2_536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6" name="Google Shape;8576;g3681a448973_2_5361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77" name="Google Shape;8577;g3681a448973_2_536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78" name="Google Shape;8578;g3681a448973_2_536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05082146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">
  <p:cSld name="1_End">
    <p:spTree>
      <p:nvGrpSpPr>
        <p:cNvPr id="1" name="Shape 8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80" name="Google Shape;8580;g3681a448973_2_5362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581" name="Google Shape;8581;g3681a448973_2_5362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82" name="Google Shape;8582;g3681a448973_2_5362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583" name="Google Shape;8583;g3681a448973_2_53620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84" name="Google Shape;8584;g3681a448973_2_5362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5" name="Google Shape;8585;g3681a448973_2_5362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586" name="Google Shape;8586;g3681a448973_2_536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587" name="Google Shape;8587;g3681a448973_2_5362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73939995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Divider">
  <p:cSld name="9_Divider">
    <p:bg>
      <p:bgPr>
        <a:solidFill>
          <a:schemeClr val="lt2"/>
        </a:solidFill>
        <a:effectLst/>
      </p:bgPr>
    </p:bg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7" name="Google Shape;927;g374da0147aa_0_5027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28" name="Google Shape;928;g374da0147aa_0_502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9" name="Google Shape;929;g374da0147aa_0_50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0" name="Google Shape;930;g374da0147aa_0_502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31" name="Google Shape;931;g374da0147aa_0_50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32" name="Google Shape;932;g374da0147aa_0_5027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3" name="Google Shape;933;g374da0147aa_0_5027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8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89" name="Google Shape;8589;g3681a448973_2_5362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90" name="Google Shape;8590;g3681a448973_2_536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91" name="Google Shape;8591;g3681a448973_2_536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592" name="Google Shape;8592;g3681a448973_2_5362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593" name="Google Shape;8593;g3681a448973_2_536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94" name="Google Shape;8594;g3681a448973_2_5362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595" name="Google Shape;8595;g3681a448973_2_536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96" name="Google Shape;8596;g3681a448973_2_536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4399102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Quotation">
  <p:cSld name="7_Quotation">
    <p:spTree>
      <p:nvGrpSpPr>
        <p:cNvPr id="1" name="Shape 8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8" name="Google Shape;8598;g3681a448973_2_5363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99" name="Google Shape;8599;g3681a448973_2_5363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00" name="Google Shape;8600;g3681a448973_2_536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01" name="Google Shape;8601;g3681a448973_2_5363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02" name="Google Shape;8602;g3681a448973_2_536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03" name="Google Shape;8603;g3681a448973_2_536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04" name="Google Shape;8604;g3681a448973_2_5363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05" name="Google Shape;8605;g3681a448973_2_536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06" name="Google Shape;8606;g3681a448973_2_5363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07" name="Google Shape;8607;g3681a448973_2_536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08" name="Google Shape;8608;g3681a448973_2_536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09" name="Google Shape;8609;g3681a448973_2_5363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17148401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8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11" name="Google Shape;8611;g3681a448973_2_5365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12" name="Google Shape;8612;g3681a448973_2_53651"/>
          <p:cNvSpPr/>
          <p:nvPr/>
        </p:nvSpPr>
        <p:spPr>
          <a:xfrm>
            <a:off x="3" y="5100849"/>
            <a:ext cx="7111365" cy="1757679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613" name="Google Shape;8613;g3681a448973_2_536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8614" name="Google Shape;8614;g3681a448973_2_53651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615" name="Google Shape;8615;g3681a448973_2_5365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7" y="5564124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8616" name="Google Shape;8616;g3681a448973_2_5365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17" name="Google Shape;8617;g3681a448973_2_53651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500" cy="5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8" name="Google Shape;8618;g3681a448973_2_53651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19" name="Google Shape;8619;g3681a448973_2_536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20" name="Google Shape;8620;g3681a448973_2_536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21" name="Google Shape;8621;g3681a448973_2_536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2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2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2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2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2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2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2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2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2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2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9824486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Quotation">
  <p:cSld name="8_Quotation">
    <p:spTree>
      <p:nvGrpSpPr>
        <p:cNvPr id="1" name="Shape 8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23" name="Google Shape;8623;g3681a448973_2_53663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24" name="Google Shape;8624;g3681a448973_2_53663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25" name="Google Shape;8625;g3681a448973_2_536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6" name="Google Shape;8626;g3681a448973_2_5366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27" name="Google Shape;8627;g3681a448973_2_536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28" name="Google Shape;8628;g3681a448973_2_536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29" name="Google Shape;8629;g3681a448973_2_5366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30" name="Google Shape;8630;g3681a448973_2_536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31" name="Google Shape;8631;g3681a448973_2_5366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32" name="Google Shape;8632;g3681a448973_2_536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33" name="Google Shape;8633;g3681a448973_2_536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34" name="Google Shape;8634;g3681a448973_2_5366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28063118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Content">
  <p:cSld name="3_Two Content">
    <p:spTree>
      <p:nvGrpSpPr>
        <p:cNvPr id="1" name="Shape 8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36" name="Google Shape;8636;g3681a448973_2_536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37" name="Google Shape;8637;g3681a448973_2_5367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638" name="Google Shape;8638;g3681a448973_2_5367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39" name="Google Shape;8639;g3681a448973_2_536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40" name="Google Shape;8640;g3681a448973_2_5367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41" name="Google Shape;8641;g3681a448973_2_536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42" name="Google Shape;8642;g3681a448973_2_536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43" name="Google Shape;8643;g3681a448973_2_53676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44" name="Google Shape;8644;g3681a448973_2_53676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45" name="Google Shape;8645;g3681a448973_2_536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6" name="Google Shape;8646;g3681a448973_2_536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84686968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mparison">
  <p:cSld name="3_Comparison">
    <p:spTree>
      <p:nvGrpSpPr>
        <p:cNvPr id="1" name="Shape 8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48" name="Google Shape;8648;g3681a448973_2_5368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49" name="Google Shape;8649;g3681a448973_2_536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50" name="Google Shape;8650;g3681a448973_2_5368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51" name="Google Shape;8651;g3681a448973_2_536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52" name="Google Shape;8652;g3681a448973_2_536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53" name="Google Shape;8653;g3681a448973_2_53688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54" name="Google Shape;8654;g3681a448973_2_53688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655" name="Google Shape;8655;g3681a448973_2_53688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56" name="Google Shape;8656;g3681a448973_2_5368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657" name="Google Shape;8657;g3681a448973_2_5368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58" name="Google Shape;8658;g3681a448973_2_5368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59" name="Google Shape;8659;g3681a448973_2_536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60" name="Google Shape;8660;g3681a448973_2_536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54941179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8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62" name="Google Shape;8662;g3681a448973_2_5370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63" name="Google Shape;8663;g3681a448973_2_537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64" name="Google Shape;8664;g3681a448973_2_537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65" name="Google Shape;8665;g3681a448973_2_537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66" name="Google Shape;8666;g3681a448973_2_537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67" name="Google Shape;8667;g3681a448973_2_537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68" name="Google Shape;8668;g3681a448973_2_5370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69" name="Google Shape;8669;g3681a448973_2_537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70" name="Google Shape;8670;g3681a448973_2_537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37990864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d">
  <p:cSld name="2_End">
    <p:spTree>
      <p:nvGrpSpPr>
        <p:cNvPr id="1" name="Shape 8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72" name="Google Shape;8672;g3681a448973_2_537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673" name="Google Shape;8673;g3681a448973_2_537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74" name="Google Shape;8674;g3681a448973_2_537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75" name="Google Shape;8675;g3681a448973_2_53712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76" name="Google Shape;8676;g3681a448973_2_53712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77" name="Google Shape;8677;g3681a448973_2_537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678" name="Google Shape;8678;g3681a448973_2_537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679" name="Google Shape;8679;g3681a448973_2_537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092102523"/>
      </p:ext>
    </p:extLst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8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1" name="Google Shape;8681;g3681a448973_2_5372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82" name="Google Shape;8682;g3681a448973_2_537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83" name="Google Shape;8683;g3681a448973_2_537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84" name="Google Shape;8684;g3681a448973_2_5372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685" name="Google Shape;8685;g3681a448973_2_537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86" name="Google Shape;8686;g3681a448973_2_5372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687" name="Google Shape;8687;g3681a448973_2_537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88" name="Google Shape;8688;g3681a448973_2_537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9577560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ver">
  <p:cSld name="4_Cover">
    <p:spTree>
      <p:nvGrpSpPr>
        <p:cNvPr id="1" name="Shape 8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0" name="Google Shape;8690;g3681a448973_2_53730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91" name="Google Shape;8691;g3681a448973_2_5373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92" name="Google Shape;8692;g3681a448973_2_5373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693" name="Google Shape;8693;g3681a448973_2_5373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694" name="Google Shape;8694;g3681a448973_2_5373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695" name="Google Shape;8695;g3681a448973_2_537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96" name="Google Shape;8696;g3681a448973_2_5373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97" name="Google Shape;8697;g3681a448973_2_537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54741824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Photo Slide">
  <p:cSld name="9_Photo Slide">
    <p:spTree>
      <p:nvGrpSpPr>
        <p:cNvPr id="1" name="Shape 9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5" name="Google Shape;935;g374da0147aa_0_5035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36" name="Google Shape;936;g374da0147aa_0_5035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37" name="Google Shape;937;g374da0147aa_0_5035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38" name="Google Shape;938;g374da0147aa_0_503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9" name="Google Shape;939;g374da0147aa_0_503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40" name="Google Shape;940;g374da0147aa_0_503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41" name="Google Shape;941;g374da0147aa_0_50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ivider">
  <p:cSld name="4_Divider">
    <p:bg>
      <p:bgPr>
        <a:solidFill>
          <a:schemeClr val="lt2"/>
        </a:solidFill>
        <a:effectLst/>
      </p:bgPr>
    </p:bg>
    <p:spTree>
      <p:nvGrpSpPr>
        <p:cNvPr id="1" name="Shape 8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99" name="Google Shape;8699;g3681a448973_2_5373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700" name="Google Shape;8700;g3681a448973_2_5373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01" name="Google Shape;8701;g3681a448973_2_537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02" name="Google Shape;8702;g3681a448973_2_5373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03" name="Google Shape;8703;g3681a448973_2_537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704" name="Google Shape;8704;g3681a448973_2_5373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5" name="Google Shape;8705;g3681a448973_2_5373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67237337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ver">
  <p:cSld name="5_Cover">
    <p:spTree>
      <p:nvGrpSpPr>
        <p:cNvPr id="1" name="Shape 8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7" name="Google Shape;8707;g3681a448973_2_53747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08" name="Google Shape;8708;g3681a448973_2_53747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9" name="Google Shape;8709;g3681a448973_2_53747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710" name="Google Shape;8710;g3681a448973_2_537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711" name="Google Shape;8711;g3681a448973_2_53747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712" name="Google Shape;8712;g3681a448973_2_537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3" name="Google Shape;8713;g3681a448973_2_537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14" name="Google Shape;8714;g3681a448973_2_537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03305196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8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16" name="Google Shape;8716;g3681a448973_2_5375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717" name="Google Shape;8717;g3681a448973_2_537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18" name="Google Shape;8718;g3681a448973_2_5375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719" name="Google Shape;8719;g3681a448973_2_537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20" name="Google Shape;8720;g3681a448973_2_537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21" name="Google Shape;8721;g3681a448973_2_537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22" name="Google Shape;8722;g3681a448973_2_5375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23" name="Google Shape;8723;g3681a448973_2_537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24" name="Google Shape;8724;g3681a448973_2_537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4136130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End">
  <p:cSld name="3_End">
    <p:spTree>
      <p:nvGrpSpPr>
        <p:cNvPr id="1" name="Shape 87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26" name="Google Shape;8726;g3681a448973_2_5376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727" name="Google Shape;8727;g3681a448973_2_5376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28" name="Google Shape;8728;g3681a448973_2_5376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29" name="Google Shape;8729;g3681a448973_2_53766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30" name="Google Shape;8730;g3681a448973_2_53766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31" name="Google Shape;8731;g3681a448973_2_5376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732" name="Google Shape;8732;g3681a448973_2_537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733" name="Google Shape;8733;g3681a448973_2_5376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575620957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vider">
  <p:cSld name="6_Divider">
    <p:bg>
      <p:bgPr>
        <a:solidFill>
          <a:schemeClr val="lt2"/>
        </a:solidFill>
        <a:effectLst/>
      </p:bgPr>
    </p:bg>
    <p:spTree>
      <p:nvGrpSpPr>
        <p:cNvPr id="1" name="Shape 8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35" name="Google Shape;8735;g3681a448973_2_53775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736" name="Google Shape;8736;g3681a448973_2_537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37" name="Google Shape;8737;g3681a448973_2_537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38" name="Google Shape;8738;g3681a448973_2_537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39" name="Google Shape;8739;g3681a448973_2_537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740" name="Google Shape;8740;g3681a448973_2_53775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41" name="Google Shape;8741;g3681a448973_2_53775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23983818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Photo Slide">
  <p:cSld name="5_Photo Slide">
    <p:spTree>
      <p:nvGrpSpPr>
        <p:cNvPr id="1" name="Shape 8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43" name="Google Shape;8743;g3681a448973_2_53783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44" name="Google Shape;8744;g3681a448973_2_53783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45" name="Google Shape;8745;g3681a448973_2_53783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746" name="Google Shape;8746;g3681a448973_2_537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47" name="Google Shape;8747;g3681a448973_2_537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48" name="Google Shape;8748;g3681a448973_2_537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749" name="Google Shape;8749;g3681a448973_2_537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3797360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Quotation">
  <p:cSld name="11_Quotation">
    <p:spTree>
      <p:nvGrpSpPr>
        <p:cNvPr id="1" name="Shape 87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51" name="Google Shape;8751;g3681a448973_2_53791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52" name="Google Shape;8752;g3681a448973_2_53791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53" name="Google Shape;8753;g3681a448973_2_537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54" name="Google Shape;8754;g3681a448973_2_5379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55" name="Google Shape;8755;g3681a448973_2_537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56" name="Google Shape;8756;g3681a448973_2_537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757" name="Google Shape;8757;g3681a448973_2_5379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758" name="Google Shape;8758;g3681a448973_2_537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59" name="Google Shape;8759;g3681a448973_2_537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760" name="Google Shape;8760;g3681a448973_2_537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61" name="Google Shape;8761;g3681a448973_2_537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62" name="Google Shape;8762;g3681a448973_2_537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4048382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Quotation">
  <p:cSld name="12_Quotation">
    <p:spTree>
      <p:nvGrpSpPr>
        <p:cNvPr id="1" name="Shape 87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4" name="Google Shape;8764;g3681a448973_2_53804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65" name="Google Shape;8765;g3681a448973_2_53804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66" name="Google Shape;8766;g3681a448973_2_538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67" name="Google Shape;8767;g3681a448973_2_5380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68" name="Google Shape;8768;g3681a448973_2_538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69" name="Google Shape;8769;g3681a448973_2_538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770" name="Google Shape;8770;g3681a448973_2_5380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771" name="Google Shape;8771;g3681a448973_2_538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72" name="Google Shape;8772;g3681a448973_2_5380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773" name="Google Shape;8773;g3681a448973_2_538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74" name="Google Shape;8774;g3681a448973_2_538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75" name="Google Shape;8775;g3681a448973_2_5380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1912657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87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77" name="Google Shape;8777;g3681a448973_2_5381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778" name="Google Shape;8778;g3681a448973_2_538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79" name="Google Shape;8779;g3681a448973_2_5381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780" name="Google Shape;8780;g3681a448973_2_538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81" name="Google Shape;8781;g3681a448973_2_538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82" name="Google Shape;8782;g3681a448973_2_538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83" name="Google Shape;8783;g3681a448973_2_5381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84" name="Google Shape;8784;g3681a448973_2_5381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85" name="Google Shape;8785;g3681a448973_2_538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86" name="Google Shape;8786;g3681a448973_2_538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95523343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Content">
  <p:cSld name="5_Two Content">
    <p:spTree>
      <p:nvGrpSpPr>
        <p:cNvPr id="1" name="Shape 8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88" name="Google Shape;8788;g3681a448973_2_538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89" name="Google Shape;8789;g3681a448973_2_53828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790" name="Google Shape;8790;g3681a448973_2_5382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791" name="Google Shape;8791;g3681a448973_2_538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92" name="Google Shape;8792;g3681a448973_2_538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793" name="Google Shape;8793;g3681a448973_2_538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94" name="Google Shape;8794;g3681a448973_2_538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95" name="Google Shape;8795;g3681a448973_2_53828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6" name="Google Shape;8796;g3681a448973_2_53828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97" name="Google Shape;8797;g3681a448973_2_538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98" name="Google Shape;8798;g3681a448973_2_538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0130417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spTree>
      <p:nvGrpSpPr>
        <p:cNvPr id="1" name="Shape 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3" name="Google Shape;943;g374da0147aa_0_504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44" name="Google Shape;944;g374da0147aa_0_50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5" name="Google Shape;945;g374da0147aa_0_504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46" name="Google Shape;946;g374da0147aa_0_50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7" name="Google Shape;947;g374da0147aa_0_50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8" name="Google Shape;948;g374da0147aa_0_50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" name="Google Shape;949;g374da0147aa_0_50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" name="Google Shape;950;g374da0147aa_0_504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1" name="Google Shape;951;g374da0147aa_0_50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2" name="Google Shape;952;g374da0147aa_0_50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omparison">
  <p:cSld name="5_Comparison">
    <p:spTree>
      <p:nvGrpSpPr>
        <p:cNvPr id="1" name="Shape 8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00" name="Google Shape;8800;g3681a448973_2_5384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01" name="Google Shape;8801;g3681a448973_2_538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02" name="Google Shape;8802;g3681a448973_2_5384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03" name="Google Shape;8803;g3681a448973_2_538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04" name="Google Shape;8804;g3681a448973_2_538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05" name="Google Shape;8805;g3681a448973_2_53840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06" name="Google Shape;8806;g3681a448973_2_53840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807" name="Google Shape;8807;g3681a448973_2_53840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08" name="Google Shape;8808;g3681a448973_2_5384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809" name="Google Shape;8809;g3681a448973_2_5384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10" name="Google Shape;8810;g3681a448973_2_5384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11" name="Google Shape;8811;g3681a448973_2_538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12" name="Google Shape;8812;g3681a448973_2_538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04884045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spTree>
      <p:nvGrpSpPr>
        <p:cNvPr id="1" name="Shape 8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14" name="Google Shape;8814;g3681a448973_2_5385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15" name="Google Shape;8815;g3681a448973_2_538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16" name="Google Shape;8816;g3681a448973_2_5385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17" name="Google Shape;8817;g3681a448973_2_538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18" name="Google Shape;8818;g3681a448973_2_538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19" name="Google Shape;8819;g3681a448973_2_538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20" name="Google Shape;8820;g3681a448973_2_5385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21" name="Google Shape;8821;g3681a448973_2_538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22" name="Google Shape;8822;g3681a448973_2_538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77968805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End">
  <p:cSld name="4_End">
    <p:spTree>
      <p:nvGrpSpPr>
        <p:cNvPr id="1" name="Shape 8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24" name="Google Shape;8824;g3681a448973_2_5386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25" name="Google Shape;8825;g3681a448973_2_5386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26" name="Google Shape;8826;g3681a448973_2_5386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27" name="Google Shape;8827;g3681a448973_2_53864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28" name="Google Shape;8828;g3681a448973_2_53864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29" name="Google Shape;8829;g3681a448973_2_5386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830" name="Google Shape;8830;g3681a448973_2_538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831" name="Google Shape;8831;g3681a448973_2_5386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974380795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lank">
  <p:cSld name="3_Blank">
    <p:spTree>
      <p:nvGrpSpPr>
        <p:cNvPr id="1" name="Shape 8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3" name="Google Shape;8833;g3681a448973_2_5387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34" name="Google Shape;8834;g3681a448973_2_538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35" name="Google Shape;8835;g3681a448973_2_538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836" name="Google Shape;8836;g3681a448973_2_5387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37" name="Google Shape;8837;g3681a448973_2_538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38" name="Google Shape;8838;g3681a448973_2_5387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39" name="Google Shape;8839;g3681a448973_2_538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40" name="Google Shape;8840;g3681a448973_2_538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46750687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ver">
  <p:cSld name="7_Cover">
    <p:spTree>
      <p:nvGrpSpPr>
        <p:cNvPr id="1" name="Shape 8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2" name="Google Shape;8842;g3681a448973_2_53882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43" name="Google Shape;8843;g3681a448973_2_53882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4" name="Google Shape;8844;g3681a448973_2_53882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845" name="Google Shape;8845;g3681a448973_2_538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846" name="Google Shape;8846;g3681a448973_2_53882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847" name="Google Shape;8847;g3681a448973_2_5388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48" name="Google Shape;8848;g3681a448973_2_5388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49" name="Google Shape;8849;g3681a448973_2_538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938054254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Divider">
  <p:cSld name="7_Divider">
    <p:bg>
      <p:bgPr>
        <a:solidFill>
          <a:schemeClr val="lt2"/>
        </a:solidFill>
        <a:effectLst/>
      </p:bgPr>
    </p:bg>
    <p:spTree>
      <p:nvGrpSpPr>
        <p:cNvPr id="1" name="Shape 8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51" name="Google Shape;8851;g3681a448973_2_53891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852" name="Google Shape;8852;g3681a448973_2_538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3" name="Google Shape;8853;g3681a448973_2_538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4" name="Google Shape;8854;g3681a448973_2_538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55" name="Google Shape;8855;g3681a448973_2_538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856" name="Google Shape;8856;g3681a448973_2_53891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57" name="Google Shape;8857;g3681a448973_2_53891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75963754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Quotation">
  <p:cSld name="13_Quotation">
    <p:spTree>
      <p:nvGrpSpPr>
        <p:cNvPr id="1" name="Shape 8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59" name="Google Shape;8859;g3681a448973_2_5389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60" name="Google Shape;8860;g3681a448973_2_5389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61" name="Google Shape;8861;g3681a448973_2_538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62" name="Google Shape;8862;g3681a448973_2_5389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63" name="Google Shape;8863;g3681a448973_2_538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64" name="Google Shape;8864;g3681a448973_2_538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865" name="Google Shape;8865;g3681a448973_2_5389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66" name="Google Shape;8866;g3681a448973_2_538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67" name="Google Shape;8867;g3681a448973_2_5389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68" name="Google Shape;8868;g3681a448973_2_538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69" name="Google Shape;8869;g3681a448973_2_538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70" name="Google Shape;8870;g3681a448973_2_5389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5912832"/>
      </p:ext>
    </p:extLst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8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72" name="Google Shape;8872;g3681a448973_2_5391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73" name="Google Shape;8873;g3681a448973_2_539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74" name="Google Shape;8874;g3681a448973_2_5391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75" name="Google Shape;8875;g3681a448973_2_539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76" name="Google Shape;8876;g3681a448973_2_539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77" name="Google Shape;8877;g3681a448973_2_539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78" name="Google Shape;8878;g3681a448973_2_539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79" name="Google Shape;8879;g3681a448973_2_5391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80" name="Google Shape;8880;g3681a448973_2_539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81" name="Google Shape;8881;g3681a448973_2_539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67628511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wo Content">
  <p:cSld name="6_Two Content">
    <p:spTree>
      <p:nvGrpSpPr>
        <p:cNvPr id="1" name="Shape 8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83" name="Google Shape;8883;g3681a448973_2_539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84" name="Google Shape;8884;g3681a448973_2_5392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885" name="Google Shape;8885;g3681a448973_2_5392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86" name="Google Shape;8886;g3681a448973_2_539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87" name="Google Shape;8887;g3681a448973_2_5392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88" name="Google Shape;8888;g3681a448973_2_539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89" name="Google Shape;8889;g3681a448973_2_539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90" name="Google Shape;8890;g3681a448973_2_5392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91" name="Google Shape;8891;g3681a448973_2_5392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92" name="Google Shape;8892;g3681a448973_2_539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93" name="Google Shape;8893;g3681a448973_2_539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91856710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mparison">
  <p:cSld name="6_Comparison">
    <p:spTree>
      <p:nvGrpSpPr>
        <p:cNvPr id="1" name="Shape 8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95" name="Google Shape;8895;g3681a448973_2_5393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896" name="Google Shape;8896;g3681a448973_2_539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97" name="Google Shape;8897;g3681a448973_2_5393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898" name="Google Shape;8898;g3681a448973_2_539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9" name="Google Shape;8899;g3681a448973_2_539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0" name="Google Shape;8900;g3681a448973_2_5393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01" name="Google Shape;8901;g3681a448973_2_5393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02" name="Google Shape;8902;g3681a448973_2_5393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03" name="Google Shape;8903;g3681a448973_2_5393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04" name="Google Shape;8904;g3681a448973_2_5393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05" name="Google Shape;8905;g3681a448973_2_5393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06" name="Google Shape;8906;g3681a448973_2_539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07" name="Google Shape;8907;g3681a448973_2_539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385078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Content">
  <p:cSld name="9_Two Content"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" name="Google Shape;954;g374da0147aa_0_50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5" name="Google Shape;955;g374da0147aa_0_505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56" name="Google Shape;956;g374da0147aa_0_505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57" name="Google Shape;957;g374da0147aa_0_50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8" name="Google Shape;958;g374da0147aa_0_505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59" name="Google Shape;959;g374da0147aa_0_50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0" name="Google Shape;960;g374da0147aa_0_50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1" name="Google Shape;961;g374da0147aa_0_5054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2" name="Google Shape;962;g374da0147aa_0_5054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3" name="Google Shape;963;g374da0147aa_0_50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4" name="Google Shape;964;g374da0147aa_0_50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Photo Slide">
  <p:cSld name="6_Photo Slide">
    <p:spTree>
      <p:nvGrpSpPr>
        <p:cNvPr id="1" name="Shape 8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" name="Google Shape;8909;g3681a448973_2_53949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910" name="Google Shape;8910;g3681a448973_2_53949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11" name="Google Shape;8911;g3681a448973_2_53949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8912" name="Google Shape;8912;g3681a448973_2_539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13" name="Google Shape;8913;g3681a448973_2_539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14" name="Google Shape;8914;g3681a448973_2_539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915" name="Google Shape;8915;g3681a448973_2_539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2102104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End">
  <p:cSld name="5_End">
    <p:spTree>
      <p:nvGrpSpPr>
        <p:cNvPr id="1" name="Shape 8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17" name="Google Shape;8917;g3681a448973_2_5395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918" name="Google Shape;8918;g3681a448973_2_5395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19" name="Google Shape;8919;g3681a448973_2_5395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20" name="Google Shape;8920;g3681a448973_2_53957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21" name="Google Shape;8921;g3681a448973_2_53957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22" name="Google Shape;8922;g3681a448973_2_5395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23" name="Google Shape;8923;g3681a448973_2_539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24" name="Google Shape;8924;g3681a448973_2_539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572412780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Blank">
  <p:cSld name="4_Blank">
    <p:spTree>
      <p:nvGrpSpPr>
        <p:cNvPr id="1" name="Shape 8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6" name="Google Shape;8926;g3681a448973_2_539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27" name="Google Shape;8927;g3681a448973_2_539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28" name="Google Shape;8928;g3681a448973_2_539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29" name="Google Shape;8929;g3681a448973_2_539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30" name="Google Shape;8930;g3681a448973_2_539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31" name="Google Shape;8931;g3681a448973_2_539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32" name="Google Shape;8932;g3681a448973_2_539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33" name="Google Shape;8933;g3681a448973_2_539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3392743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Only">
  <p:cSld name="6_Title Only">
    <p:spTree>
      <p:nvGrpSpPr>
        <p:cNvPr id="1" name="Shape 89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35" name="Google Shape;8935;g3681a448973_2_5397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36" name="Google Shape;8936;g3681a448973_2_539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37" name="Google Shape;8937;g3681a448973_2_5397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38" name="Google Shape;8938;g3681a448973_2_539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39" name="Google Shape;8939;g3681a448973_2_539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40" name="Google Shape;8940;g3681a448973_2_539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41" name="Google Shape;8941;g3681a448973_2_5397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2" name="Google Shape;8942;g3681a448973_2_539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43" name="Google Shape;8943;g3681a448973_2_539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356580"/>
      </p:ext>
    </p:extLst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ver">
  <p:cSld name="8_Cover">
    <p:spTree>
      <p:nvGrpSpPr>
        <p:cNvPr id="1" name="Shape 8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45" name="Google Shape;8945;g3681a448973_2_53985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46" name="Google Shape;8946;g3681a448973_2_53985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47" name="Google Shape;8947;g3681a448973_2_53985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948" name="Google Shape;8948;g3681a448973_2_539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949" name="Google Shape;8949;g3681a448973_2_53985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8950" name="Google Shape;8950;g3681a448973_2_5398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51" name="Google Shape;8951;g3681a448973_2_5398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952" name="Google Shape;8952;g3681a448973_2_539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228391668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Divider">
  <p:cSld name="8_Divider">
    <p:bg>
      <p:bgPr>
        <a:solidFill>
          <a:schemeClr val="lt2"/>
        </a:solidFill>
        <a:effectLst/>
      </p:bgPr>
    </p:bg>
    <p:spTree>
      <p:nvGrpSpPr>
        <p:cNvPr id="1" name="Shape 8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54" name="Google Shape;8954;g3681a448973_2_53994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8955" name="Google Shape;8955;g3681a448973_2_5399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56" name="Google Shape;8956;g3681a448973_2_539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57" name="Google Shape;8957;g3681a448973_2_5399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958" name="Google Shape;8958;g3681a448973_2_539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959" name="Google Shape;8959;g3681a448973_2_53994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60" name="Google Shape;8960;g3681a448973_2_53994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194922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Quotation">
  <p:cSld name="14_Quotation">
    <p:spTree>
      <p:nvGrpSpPr>
        <p:cNvPr id="1" name="Shape 8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2" name="Google Shape;8962;g3681a448973_2_54002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63" name="Google Shape;8963;g3681a448973_2_54002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64" name="Google Shape;8964;g3681a448973_2_540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65" name="Google Shape;8965;g3681a448973_2_5400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66" name="Google Shape;8966;g3681a448973_2_540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67" name="Google Shape;8967;g3681a448973_2_540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8" name="Google Shape;8968;g3681a448973_2_5400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69" name="Google Shape;8969;g3681a448973_2_540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0" name="Google Shape;8970;g3681a448973_2_5400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71" name="Google Shape;8971;g3681a448973_2_540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72" name="Google Shape;8972;g3681a448973_2_540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973" name="Google Shape;8973;g3681a448973_2_5400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9310622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spTree>
      <p:nvGrpSpPr>
        <p:cNvPr id="1" name="Shape 8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75" name="Google Shape;8975;g3681a448973_2_540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76" name="Google Shape;8976;g3681a448973_2_540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7" name="Google Shape;8977;g3681a448973_2_540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78" name="Google Shape;8978;g3681a448973_2_540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79" name="Google Shape;8979;g3681a448973_2_540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80" name="Google Shape;8980;g3681a448973_2_540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81" name="Google Shape;8981;g3681a448973_2_540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82" name="Google Shape;8982;g3681a448973_2_540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83" name="Google Shape;8983;g3681a448973_2_540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84" name="Google Shape;8984;g3681a448973_2_540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240586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Content">
  <p:cSld name="7_Two Content">
    <p:spTree>
      <p:nvGrpSpPr>
        <p:cNvPr id="1" name="Shape 8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6" name="Google Shape;8986;g3681a448973_2_540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87" name="Google Shape;8987;g3681a448973_2_5402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88" name="Google Shape;8988;g3681a448973_2_5402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89" name="Google Shape;8989;g3681a448973_2_540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90" name="Google Shape;8990;g3681a448973_2_5402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8991" name="Google Shape;8991;g3681a448973_2_540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2" name="Google Shape;8992;g3681a448973_2_540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93" name="Google Shape;8993;g3681a448973_2_54026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94" name="Google Shape;8994;g3681a448973_2_54026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95" name="Google Shape;8995;g3681a448973_2_540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96" name="Google Shape;8996;g3681a448973_2_540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68348162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mparison">
  <p:cSld name="7_Comparison">
    <p:spTree>
      <p:nvGrpSpPr>
        <p:cNvPr id="1" name="Shape 8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98" name="Google Shape;8998;g3681a448973_2_5403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8999" name="Google Shape;8999;g3681a448973_2_540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00" name="Google Shape;9000;g3681a448973_2_5403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01" name="Google Shape;9001;g3681a448973_2_540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2" name="Google Shape;9002;g3681a448973_2_540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3" name="Google Shape;9003;g3681a448973_2_54038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04" name="Google Shape;9004;g3681a448973_2_54038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05" name="Google Shape;9005;g3681a448973_2_54038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06" name="Google Shape;9006;g3681a448973_2_5403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07" name="Google Shape;9007;g3681a448973_2_5403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08" name="Google Shape;9008;g3681a448973_2_5403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09" name="Google Shape;9009;g3681a448973_2_540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10" name="Google Shape;9010;g3681a448973_2_540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6203832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mparison">
  <p:cSld name="9_Comparison">
    <p:spTree>
      <p:nvGrpSpPr>
        <p:cNvPr id="1" name="Shape 9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6" name="Google Shape;966;g374da0147aa_0_506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67" name="Google Shape;967;g374da0147aa_0_50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8" name="Google Shape;968;g374da0147aa_0_506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69" name="Google Shape;969;g374da0147aa_0_50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0" name="Google Shape;970;g374da0147aa_0_50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1" name="Google Shape;971;g374da0147aa_0_506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" name="Google Shape;972;g374da0147aa_0_5066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3" name="Google Shape;973;g374da0147aa_0_5066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4" name="Google Shape;974;g374da0147aa_0_506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5" name="Google Shape;975;g374da0147aa_0_506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6" name="Google Shape;976;g374da0147aa_0_506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7" name="Google Shape;977;g374da0147aa_0_50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8" name="Google Shape;978;g374da0147aa_0_50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Photo Slide">
  <p:cSld name="7_Photo Slide">
    <p:spTree>
      <p:nvGrpSpPr>
        <p:cNvPr id="1" name="Shape 9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2" name="Google Shape;9012;g3681a448973_2_54052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013" name="Google Shape;9013;g3681a448973_2_54052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014" name="Google Shape;9014;g3681a448973_2_54052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15" name="Google Shape;9015;g3681a448973_2_540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16" name="Google Shape;9016;g3681a448973_2_540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17" name="Google Shape;9017;g3681a448973_2_540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018" name="Google Shape;9018;g3681a448973_2_540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5897848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Quotation">
  <p:cSld name="15_Quotation">
    <p:spTree>
      <p:nvGrpSpPr>
        <p:cNvPr id="1" name="Shape 9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20" name="Google Shape;9020;g3681a448973_2_54060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21" name="Google Shape;9021;g3681a448973_2_54060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22" name="Google Shape;9022;g3681a448973_2_5406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23" name="Google Shape;9023;g3681a448973_2_5406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24" name="Google Shape;9024;g3681a448973_2_540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25" name="Google Shape;9025;g3681a448973_2_540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026" name="Google Shape;9026;g3681a448973_2_5406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27" name="Google Shape;9027;g3681a448973_2_540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28" name="Google Shape;9028;g3681a448973_2_5406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29" name="Google Shape;9029;g3681a448973_2_540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30" name="Google Shape;9030;g3681a448973_2_540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31" name="Google Shape;9031;g3681a448973_2_5406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48249698"/>
      </p:ext>
    </p:extLst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End">
  <p:cSld name="6_End">
    <p:spTree>
      <p:nvGrpSpPr>
        <p:cNvPr id="1" name="Shape 90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33" name="Google Shape;9033;g3681a448973_2_5407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034" name="Google Shape;9034;g3681a448973_2_5407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35" name="Google Shape;9035;g3681a448973_2_5407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36" name="Google Shape;9036;g3681a448973_2_54073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37" name="Google Shape;9037;g3681a448973_2_54073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8" name="Google Shape;9038;g3681a448973_2_5407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039" name="Google Shape;9039;g3681a448973_2_540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040" name="Google Shape;9040;g3681a448973_2_540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141755506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lank">
  <p:cSld name="5_Blank">
    <p:spTree>
      <p:nvGrpSpPr>
        <p:cNvPr id="1" name="Shape 9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2" name="Google Shape;9042;g3681a448973_2_5408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43" name="Google Shape;9043;g3681a448973_2_540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44" name="Google Shape;9044;g3681a448973_2_540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045" name="Google Shape;9045;g3681a448973_2_5408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46" name="Google Shape;9046;g3681a448973_2_540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47" name="Google Shape;9047;g3681a448973_2_5408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48" name="Google Shape;9048;g3681a448973_2_540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49" name="Google Shape;9049;g3681a448973_2_540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8834644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Only">
  <p:cSld name="7_Title Only">
    <p:spTree>
      <p:nvGrpSpPr>
        <p:cNvPr id="1" name="Shape 9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51" name="Google Shape;9051;g3681a448973_2_5409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52" name="Google Shape;9052;g3681a448973_2_540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53" name="Google Shape;9053;g3681a448973_2_5409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54" name="Google Shape;9054;g3681a448973_2_540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55" name="Google Shape;9055;g3681a448973_2_540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56" name="Google Shape;9056;g3681a448973_2_540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57" name="Google Shape;9057;g3681a448973_2_5409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58" name="Google Shape;9058;g3681a448973_2_540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59" name="Google Shape;9059;g3681a448973_2_540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3917721"/>
      </p:ext>
    </p:extLst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Photo Slide">
  <p:cSld name="8_Photo Slide">
    <p:spTree>
      <p:nvGrpSpPr>
        <p:cNvPr id="1" name="Shape 9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1" name="Google Shape;9061;g3681a448973_2_5410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062" name="Google Shape;9062;g3681a448973_2_54101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063" name="Google Shape;9063;g3681a448973_2_5410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64" name="Google Shape;9064;g3681a448973_2_541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65" name="Google Shape;9065;g3681a448973_2_541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66" name="Google Shape;9066;g3681a448973_2_541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067" name="Google Shape;9067;g3681a448973_2_541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0710648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Quotation">
  <p:cSld name="16_Quotation">
    <p:spTree>
      <p:nvGrpSpPr>
        <p:cNvPr id="1" name="Shape 9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9" name="Google Shape;9069;g3681a448973_2_54109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70" name="Google Shape;9070;g3681a448973_2_54109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71" name="Google Shape;9071;g3681a448973_2_5410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72" name="Google Shape;9072;g3681a448973_2_5410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73" name="Google Shape;9073;g3681a448973_2_54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4" name="Google Shape;9074;g3681a448973_2_54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075" name="Google Shape;9075;g3681a448973_2_5410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76" name="Google Shape;9076;g3681a448973_2_54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77" name="Google Shape;9077;g3681a448973_2_5410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78" name="Google Shape;9078;g3681a448973_2_54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79" name="Google Shape;9079;g3681a448973_2_54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80" name="Google Shape;9080;g3681a448973_2_5410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3150033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spTree>
      <p:nvGrpSpPr>
        <p:cNvPr id="1" name="Shape 90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82" name="Google Shape;9082;g3681a448973_2_5412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83" name="Google Shape;9083;g3681a448973_2_54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84" name="Google Shape;9084;g3681a448973_2_5412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85" name="Google Shape;9085;g3681a448973_2_54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86" name="Google Shape;9086;g3681a448973_2_54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87" name="Google Shape;9087;g3681a448973_2_541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8" name="Google Shape;9088;g3681a448973_2_541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89" name="Google Shape;9089;g3681a448973_2_5412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90" name="Google Shape;9090;g3681a448973_2_54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91" name="Google Shape;9091;g3681a448973_2_54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1913511"/>
      </p:ext>
    </p:extLst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Content">
  <p:cSld name="8_Two Content">
    <p:spTree>
      <p:nvGrpSpPr>
        <p:cNvPr id="1" name="Shape 9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3" name="Google Shape;9093;g3681a448973_2_541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94" name="Google Shape;9094;g3681a448973_2_54133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095" name="Google Shape;9095;g3681a448973_2_54133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096" name="Google Shape;9096;g3681a448973_2_541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7" name="Google Shape;9097;g3681a448973_2_5413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098" name="Google Shape;9098;g3681a448973_2_541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9" name="Google Shape;9099;g3681a448973_2_541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00" name="Google Shape;9100;g3681a448973_2_54133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01" name="Google Shape;9101;g3681a448973_2_54133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02" name="Google Shape;9102;g3681a448973_2_541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3" name="Google Shape;9103;g3681a448973_2_541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39023572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mparison">
  <p:cSld name="8_Comparison">
    <p:spTree>
      <p:nvGrpSpPr>
        <p:cNvPr id="1" name="Shape 9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05" name="Google Shape;9105;g3681a448973_2_5414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06" name="Google Shape;9106;g3681a448973_2_54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07" name="Google Shape;9107;g3681a448973_2_5414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08" name="Google Shape;9108;g3681a448973_2_54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09" name="Google Shape;9109;g3681a448973_2_54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10" name="Google Shape;9110;g3681a448973_2_54145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11" name="Google Shape;9111;g3681a448973_2_54145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12" name="Google Shape;9112;g3681a448973_2_54145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3" name="Google Shape;9113;g3681a448973_2_541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14" name="Google Shape;9114;g3681a448973_2_541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5" name="Google Shape;9115;g3681a448973_2_5414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16" name="Google Shape;9116;g3681a448973_2_54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17" name="Google Shape;9117;g3681a448973_2_54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7912645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Only">
  <p:cSld name="9_Title Only"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0" name="Google Shape;980;g374da0147aa_0_5080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81" name="Google Shape;981;g374da0147aa_0_50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2" name="Google Shape;982;g374da0147aa_0_5080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83" name="Google Shape;983;g374da0147aa_0_50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4" name="Google Shape;984;g374da0147aa_0_50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5" name="Google Shape;985;g374da0147aa_0_50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6" name="Google Shape;986;g374da0147aa_0_5080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" name="Google Shape;987;g374da0147aa_0_50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" name="Google Shape;988;g374da0147aa_0_50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spTree>
      <p:nvGrpSpPr>
        <p:cNvPr id="1" name="Shape 9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9" name="Google Shape;9119;g3681a448973_2_5415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20" name="Google Shape;9120;g3681a448973_2_541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21" name="Google Shape;9121;g3681a448973_2_5415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22" name="Google Shape;9122;g3681a448973_2_541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23" name="Google Shape;9123;g3681a448973_2_541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24" name="Google Shape;9124;g3681a448973_2_541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25" name="Google Shape;9125;g3681a448973_2_5415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26" name="Google Shape;9126;g3681a448973_2_541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27" name="Google Shape;9127;g3681a448973_2_541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17844471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End">
  <p:cSld name="7_End">
    <p:spTree>
      <p:nvGrpSpPr>
        <p:cNvPr id="1" name="Shape 9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29" name="Google Shape;9129;g3681a448973_2_5416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130" name="Google Shape;9130;g3681a448973_2_5416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31" name="Google Shape;9131;g3681a448973_2_5416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32" name="Google Shape;9132;g3681a448973_2_54169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33" name="Google Shape;9133;g3681a448973_2_54169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34" name="Google Shape;9134;g3681a448973_2_5416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135" name="Google Shape;9135;g3681a448973_2_541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136" name="Google Shape;9136;g3681a448973_2_541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274991122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lank">
  <p:cSld name="6_Blank">
    <p:spTree>
      <p:nvGrpSpPr>
        <p:cNvPr id="1" name="Shape 9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38" name="Google Shape;9138;g3681a448973_2_5417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39" name="Google Shape;9139;g3681a448973_2_54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40" name="Google Shape;9140;g3681a448973_2_54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141" name="Google Shape;9141;g3681a448973_2_5417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42" name="Google Shape;9142;g3681a448973_2_541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43" name="Google Shape;9143;g3681a448973_2_541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44" name="Google Shape;9144;g3681a448973_2_54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45" name="Google Shape;9145;g3681a448973_2_54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8231373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Quotation">
  <p:cSld name="17_Quotation">
    <p:spTree>
      <p:nvGrpSpPr>
        <p:cNvPr id="1" name="Shape 9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7" name="Google Shape;9147;g3681a448973_2_5418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48" name="Google Shape;9148;g3681a448973_2_5418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49" name="Google Shape;9149;g3681a448973_2_541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50" name="Google Shape;9150;g3681a448973_2_5418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51" name="Google Shape;9151;g3681a448973_2_541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52" name="Google Shape;9152;g3681a448973_2_541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153" name="Google Shape;9153;g3681a448973_2_5418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54" name="Google Shape;9154;g3681a448973_2_541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55" name="Google Shape;9155;g3681a448973_2_5418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56" name="Google Shape;9156;g3681a448973_2_541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57" name="Google Shape;9157;g3681a448973_2_541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158" name="Google Shape;9158;g3681a448973_2_5418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678377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ver">
  <p:cSld name="9_Cover">
    <p:spTree>
      <p:nvGrpSpPr>
        <p:cNvPr id="1" name="Shape 9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60" name="Google Shape;9160;g3681a448973_2_54200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61" name="Google Shape;9161;g3681a448973_2_5420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62" name="Google Shape;9162;g3681a448973_2_5420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163" name="Google Shape;9163;g3681a448973_2_542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164" name="Google Shape;9164;g3681a448973_2_5420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165" name="Google Shape;9165;g3681a448973_2_542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66" name="Google Shape;9166;g3681a448973_2_542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167" name="Google Shape;9167;g3681a448973_2_54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343379469"/>
      </p:ext>
    </p:extLst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Divider">
  <p:cSld name="9_Divider">
    <p:bg>
      <p:bgPr>
        <a:solidFill>
          <a:schemeClr val="lt2"/>
        </a:solidFill>
        <a:effectLst/>
      </p:bgPr>
    </p:bg>
    <p:spTree>
      <p:nvGrpSpPr>
        <p:cNvPr id="1" name="Shape 9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69" name="Google Shape;9169;g3681a448973_2_5420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170" name="Google Shape;9170;g3681a448973_2_542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71" name="Google Shape;9171;g3681a448973_2_542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72" name="Google Shape;9172;g3681a448973_2_542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173" name="Google Shape;9173;g3681a448973_2_542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174" name="Google Shape;9174;g3681a448973_2_5420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5" name="Google Shape;9175;g3681a448973_2_5420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85789132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Photo Slide">
  <p:cSld name="9_Photo Slide">
    <p:spTree>
      <p:nvGrpSpPr>
        <p:cNvPr id="1" name="Shape 9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7" name="Google Shape;9177;g3681a448973_2_54217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178" name="Google Shape;9178;g3681a448973_2_54217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179" name="Google Shape;9179;g3681a448973_2_54217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180" name="Google Shape;9180;g3681a448973_2_542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81" name="Google Shape;9181;g3681a448973_2_542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82" name="Google Shape;9182;g3681a448973_2_542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183" name="Google Shape;9183;g3681a448973_2_542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0531335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spTree>
      <p:nvGrpSpPr>
        <p:cNvPr id="1" name="Shape 9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85" name="Google Shape;9185;g3681a448973_2_5422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86" name="Google Shape;9186;g3681a448973_2_542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87" name="Google Shape;9187;g3681a448973_2_5422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188" name="Google Shape;9188;g3681a448973_2_542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89" name="Google Shape;9189;g3681a448973_2_542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90" name="Google Shape;9190;g3681a448973_2_542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1" name="Google Shape;9191;g3681a448973_2_542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92" name="Google Shape;9192;g3681a448973_2_5422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93" name="Google Shape;9193;g3681a448973_2_542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94" name="Google Shape;9194;g3681a448973_2_54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79540732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Content">
  <p:cSld name="9_Two Content">
    <p:spTree>
      <p:nvGrpSpPr>
        <p:cNvPr id="1" name="Shape 9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6" name="Google Shape;9196;g3681a448973_2_542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7" name="Google Shape;9197;g3681a448973_2_5423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198" name="Google Shape;9198;g3681a448973_2_5423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199" name="Google Shape;9199;g3681a448973_2_542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00" name="Google Shape;9200;g3681a448973_2_5423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01" name="Google Shape;9201;g3681a448973_2_542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02" name="Google Shape;9202;g3681a448973_2_542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03" name="Google Shape;9203;g3681a448973_2_54236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04" name="Google Shape;9204;g3681a448973_2_54236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05" name="Google Shape;9205;g3681a448973_2_542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06" name="Google Shape;9206;g3681a448973_2_542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51873186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mparison">
  <p:cSld name="9_Comparison">
    <p:spTree>
      <p:nvGrpSpPr>
        <p:cNvPr id="1" name="Shape 9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08" name="Google Shape;9208;g3681a448973_2_5424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209" name="Google Shape;9209;g3681a448973_2_542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10" name="Google Shape;9210;g3681a448973_2_5424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11" name="Google Shape;9211;g3681a448973_2_542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12" name="Google Shape;9212;g3681a448973_2_542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13" name="Google Shape;9213;g3681a448973_2_54248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4" name="Google Shape;9214;g3681a448973_2_54248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215" name="Google Shape;9215;g3681a448973_2_54248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16" name="Google Shape;9216;g3681a448973_2_542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217" name="Google Shape;9217;g3681a448973_2_542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18" name="Google Shape;9218;g3681a448973_2_5424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9" name="Google Shape;9219;g3681a448973_2_542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0" name="Google Shape;9220;g3681a448973_2_542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885159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End">
  <p:cSld name="8_End">
    <p:spTree>
      <p:nvGrpSpPr>
        <p:cNvPr id="1" name="Shape 9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0" name="Google Shape;990;g374da0147aa_0_509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91" name="Google Shape;991;g374da0147aa_0_509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2" name="Google Shape;992;g374da0147aa_0_509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93" name="Google Shape;993;g374da0147aa_0_5090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4" name="Google Shape;994;g374da0147aa_0_5090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5" name="Google Shape;995;g374da0147aa_0_509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6" name="Google Shape;996;g374da0147aa_0_50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97" name="Google Shape;997;g374da0147aa_0_50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Only">
  <p:cSld name="9_Title Only">
    <p:spTree>
      <p:nvGrpSpPr>
        <p:cNvPr id="1" name="Shape 9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2" name="Google Shape;9222;g3681a448973_2_5426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223" name="Google Shape;9223;g3681a448973_2_542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24" name="Google Shape;9224;g3681a448973_2_5426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25" name="Google Shape;9225;g3681a448973_2_542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26" name="Google Shape;9226;g3681a448973_2_542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27" name="Google Shape;9227;g3681a448973_2_542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28" name="Google Shape;9228;g3681a448973_2_5426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29" name="Google Shape;9229;g3681a448973_2_542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30" name="Google Shape;9230;g3681a448973_2_542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46646714"/>
      </p:ext>
    </p:extLst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End">
  <p:cSld name="8_End">
    <p:spTree>
      <p:nvGrpSpPr>
        <p:cNvPr id="1" name="Shape 9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32" name="Google Shape;9232;g3681a448973_2_5427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233" name="Google Shape;9233;g3681a448973_2_5427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34" name="Google Shape;9234;g3681a448973_2_5427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35" name="Google Shape;9235;g3681a448973_2_54272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36" name="Google Shape;9236;g3681a448973_2_54272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37" name="Google Shape;9237;g3681a448973_2_5427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238" name="Google Shape;9238;g3681a448973_2_542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239" name="Google Shape;9239;g3681a448973_2_542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726437802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Blank">
  <p:cSld name="7_Blank">
    <p:spTree>
      <p:nvGrpSpPr>
        <p:cNvPr id="1" name="Shape 9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1" name="Google Shape;9241;g3681a448973_2_5428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42" name="Google Shape;9242;g3681a448973_2_542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3" name="Google Shape;9243;g3681a448973_2_54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44" name="Google Shape;9244;g3681a448973_2_5428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245" name="Google Shape;9245;g3681a448973_2_542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46" name="Google Shape;9246;g3681a448973_2_5428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47" name="Google Shape;9247;g3681a448973_2_542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48" name="Google Shape;9248;g3681a448973_2_542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7211394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ver">
  <p:cSld name="10_Cover">
    <p:spTree>
      <p:nvGrpSpPr>
        <p:cNvPr id="1" name="Shape 9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50" name="Google Shape;9250;g3681a448973_2_54290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51" name="Google Shape;9251;g3681a448973_2_54290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52" name="Google Shape;9252;g3681a448973_2_54290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253" name="Google Shape;9253;g3681a448973_2_542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254" name="Google Shape;9254;g3681a448973_2_54290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255" name="Google Shape;9255;g3681a448973_2_542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56" name="Google Shape;9256;g3681a448973_2_5429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57" name="Google Shape;9257;g3681a448973_2_542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2211469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Divider">
  <p:cSld name="10_Divider">
    <p:bg>
      <p:bgPr>
        <a:solidFill>
          <a:schemeClr val="lt2"/>
        </a:solidFill>
        <a:effectLst/>
      </p:bgPr>
    </p:bg>
    <p:spTree>
      <p:nvGrpSpPr>
        <p:cNvPr id="1" name="Shape 9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59" name="Google Shape;9259;g3681a448973_2_54299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260" name="Google Shape;9260;g3681a448973_2_542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61" name="Google Shape;9261;g3681a448973_2_542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62" name="Google Shape;9262;g3681a448973_2_542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63" name="Google Shape;9263;g3681a448973_2_542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4" name="Google Shape;9264;g3681a448973_2_54299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65" name="Google Shape;9265;g3681a448973_2_54299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89694456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Quotation">
  <p:cSld name="19_Quotation">
    <p:spTree>
      <p:nvGrpSpPr>
        <p:cNvPr id="1" name="Shape 9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7" name="Google Shape;9267;g3681a448973_2_54307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68" name="Google Shape;9268;g3681a448973_2_54307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69" name="Google Shape;9269;g3681a448973_2_543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70" name="Google Shape;9270;g3681a448973_2_5430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71" name="Google Shape;9271;g3681a448973_2_543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72" name="Google Shape;9272;g3681a448973_2_543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73" name="Google Shape;9273;g3681a448973_2_5430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274" name="Google Shape;9274;g3681a448973_2_543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5" name="Google Shape;9275;g3681a448973_2_5430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76" name="Google Shape;9276;g3681a448973_2_543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7" name="Google Shape;9277;g3681a448973_2_543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78" name="Google Shape;9278;g3681a448973_2_543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14905918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Photo Slide">
  <p:cSld name="10_Photo Slide">
    <p:spTree>
      <p:nvGrpSpPr>
        <p:cNvPr id="1" name="Shape 9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80" name="Google Shape;9280;g3681a448973_2_54320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281" name="Google Shape;9281;g3681a448973_2_54320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282" name="Google Shape;9282;g3681a448973_2_54320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283" name="Google Shape;9283;g3681a448973_2_5432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84" name="Google Shape;9284;g3681a448973_2_5432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85" name="Google Shape;9285;g3681a448973_2_5432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286" name="Google Shape;9286;g3681a448973_2_543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80319973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Quotation">
  <p:cSld name="20_Quotation">
    <p:spTree>
      <p:nvGrpSpPr>
        <p:cNvPr id="1" name="Shape 9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88" name="Google Shape;9288;g3681a448973_2_5432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89" name="Google Shape;9289;g3681a448973_2_5432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90" name="Google Shape;9290;g3681a448973_2_543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91" name="Google Shape;9291;g3681a448973_2_5432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92" name="Google Shape;9292;g3681a448973_2_543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93" name="Google Shape;9293;g3681a448973_2_543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94" name="Google Shape;9294;g3681a448973_2_5432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295" name="Google Shape;9295;g3681a448973_2_543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96" name="Google Shape;9296;g3681a448973_2_543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297" name="Google Shape;9297;g3681a448973_2_543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8" name="Google Shape;9298;g3681a448973_2_543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99" name="Google Shape;9299;g3681a448973_2_5432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207592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spTree>
      <p:nvGrpSpPr>
        <p:cNvPr id="1" name="Shape 9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01" name="Google Shape;9301;g3681a448973_2_54341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02" name="Google Shape;9302;g3681a448973_2_543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03" name="Google Shape;9303;g3681a448973_2_54341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04" name="Google Shape;9304;g3681a448973_2_543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05" name="Google Shape;9305;g3681a448973_2_543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06" name="Google Shape;9306;g3681a448973_2_543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07" name="Google Shape;9307;g3681a448973_2_5434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08" name="Google Shape;9308;g3681a448973_2_54341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09" name="Google Shape;9309;g3681a448973_2_543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10" name="Google Shape;9310;g3681a448973_2_543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46812576"/>
      </p:ext>
    </p:extLst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Content">
  <p:cSld name="10_Two Content">
    <p:spTree>
      <p:nvGrpSpPr>
        <p:cNvPr id="1" name="Shape 9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2" name="Google Shape;9312;g3681a448973_2_543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13" name="Google Shape;9313;g3681a448973_2_54352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314" name="Google Shape;9314;g3681a448973_2_54352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15" name="Google Shape;9315;g3681a448973_2_54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16" name="Google Shape;9316;g3681a448973_2_54352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17" name="Google Shape;9317;g3681a448973_2_54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18" name="Google Shape;9318;g3681a448973_2_54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19" name="Google Shape;9319;g3681a448973_2_54352"/>
          <p:cNvSpPr txBox="1">
            <a:spLocks noGrp="1"/>
          </p:cNvSpPr>
          <p:nvPr>
            <p:ph type="body" idx="2"/>
          </p:nvPr>
        </p:nvSpPr>
        <p:spPr>
          <a:xfrm>
            <a:off x="6172200" y="1825626"/>
            <a:ext cx="5410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20" name="Google Shape;9320;g3681a448973_2_54352"/>
          <p:cNvSpPr txBox="1">
            <a:spLocks noGrp="1"/>
          </p:cNvSpPr>
          <p:nvPr>
            <p:ph type="sldNum" idx="12"/>
          </p:nvPr>
        </p:nvSpPr>
        <p:spPr>
          <a:xfrm>
            <a:off x="8839198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21" name="Google Shape;9321;g3681a448973_2_54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22" name="Google Shape;9322;g3681a448973_2_54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4040358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Blank">
  <p:cSld name="7_Blank">
    <p:spTree>
      <p:nvGrpSpPr>
        <p:cNvPr id="1" name="Shape 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" name="Google Shape;999;g374da0147aa_0_5099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0" name="Google Shape;1000;g374da0147aa_0_50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1" name="Google Shape;1001;g374da0147aa_0_50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2" name="Google Shape;1002;g374da0147aa_0_5099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1003" name="Google Shape;1003;g374da0147aa_0_50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" name="Google Shape;1004;g374da0147aa_0_5099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05" name="Google Shape;1005;g374da0147aa_0_50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6" name="Google Shape;1006;g374da0147aa_0_50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mparison">
  <p:cSld name="10_Comparison">
    <p:spTree>
      <p:nvGrpSpPr>
        <p:cNvPr id="1" name="Shape 9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24" name="Google Shape;9324;g3681a448973_2_54364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25" name="Google Shape;9325;g3681a448973_2_543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26" name="Google Shape;9326;g3681a448973_2_54364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27" name="Google Shape;9327;g3681a448973_2_543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28" name="Google Shape;9328;g3681a448973_2_543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29" name="Google Shape;9329;g3681a448973_2_5436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30" name="Google Shape;9330;g3681a448973_2_54364"/>
          <p:cNvSpPr txBox="1">
            <a:spLocks noGrp="1"/>
          </p:cNvSpPr>
          <p:nvPr>
            <p:ph type="body" idx="1"/>
          </p:nvPr>
        </p:nvSpPr>
        <p:spPr>
          <a:xfrm>
            <a:off x="609601" y="1681163"/>
            <a:ext cx="53880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31" name="Google Shape;9331;g3681a448973_2_54364"/>
          <p:cNvSpPr txBox="1">
            <a:spLocks noGrp="1"/>
          </p:cNvSpPr>
          <p:nvPr>
            <p:ph type="body" idx="2"/>
          </p:nvPr>
        </p:nvSpPr>
        <p:spPr>
          <a:xfrm>
            <a:off x="609601" y="2505075"/>
            <a:ext cx="53880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32" name="Google Shape;9332;g3681a448973_2_5436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33" name="Google Shape;9333;g3681a448973_2_5436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34" name="Google Shape;9334;g3681a448973_2_5436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35" name="Google Shape;9335;g3681a448973_2_543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36" name="Google Shape;9336;g3681a448973_2_543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58042055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Only">
  <p:cSld name="10_Title Only">
    <p:spTree>
      <p:nvGrpSpPr>
        <p:cNvPr id="1" name="Shape 9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38" name="Google Shape;9338;g3681a448973_2_5437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39" name="Google Shape;9339;g3681a448973_2_543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40" name="Google Shape;9340;g3681a448973_2_5437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41" name="Google Shape;9341;g3681a448973_2_543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42" name="Google Shape;9342;g3681a448973_2_543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43" name="Google Shape;9343;g3681a448973_2_543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4" name="Google Shape;9344;g3681a448973_2_5437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45" name="Google Shape;9345;g3681a448973_2_543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46" name="Google Shape;9346;g3681a448973_2_543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6176188"/>
      </p:ext>
    </p:extLst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End">
  <p:cSld name="9_End">
    <p:spTree>
      <p:nvGrpSpPr>
        <p:cNvPr id="1" name="Shape 9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48" name="Google Shape;9348;g3681a448973_2_5438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49" name="Google Shape;9349;g3681a448973_2_5438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50" name="Google Shape;9350;g3681a448973_2_5438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51" name="Google Shape;9351;g3681a448973_2_54388"/>
          <p:cNvSpPr/>
          <p:nvPr/>
        </p:nvSpPr>
        <p:spPr>
          <a:xfrm>
            <a:off x="902368" y="1517698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52" name="Google Shape;9352;g3681a448973_2_54388"/>
          <p:cNvSpPr txBox="1">
            <a:spLocks noGrp="1"/>
          </p:cNvSpPr>
          <p:nvPr>
            <p:ph type="body" idx="1"/>
          </p:nvPr>
        </p:nvSpPr>
        <p:spPr>
          <a:xfrm>
            <a:off x="1219201" y="3429001"/>
            <a:ext cx="5582700" cy="1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3" name="Google Shape;9353;g3681a448973_2_5438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700" cy="10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54" name="Google Shape;9354;g3681a448973_2_543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55" name="Google Shape;9355;g3681a448973_2_5438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210195289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lank">
  <p:cSld name="8_Blank">
    <p:spTree>
      <p:nvGrpSpPr>
        <p:cNvPr id="1" name="Shape 9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57" name="Google Shape;9357;g3681a448973_2_5439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58" name="Google Shape;9358;g3681a448973_2_543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59" name="Google Shape;9359;g3681a448973_2_543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60" name="Google Shape;9360;g3681a448973_2_54397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61" name="Google Shape;9361;g3681a448973_2_543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62" name="Google Shape;9362;g3681a448973_2_5439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63" name="Google Shape;9363;g3681a448973_2_543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64" name="Google Shape;9364;g3681a448973_2_543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6979720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Blank">
  <p:cSld name="11_Blank">
    <p:spTree>
      <p:nvGrpSpPr>
        <p:cNvPr id="1" name="Shape 9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6" name="Google Shape;9366;g3681a448973_2_5440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7" name="Google Shape;9367;g3681a448973_2_544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68" name="Google Shape;9368;g3681a448973_2_544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69" name="Google Shape;9369;g3681a448973_2_54406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70" name="Google Shape;9370;g3681a448973_2_544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71" name="Google Shape;9371;g3681a448973_2_54406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72" name="Google Shape;9372;g3681a448973_2_544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73" name="Google Shape;9373;g3681a448973_2_544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71952776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Quotation">
  <p:cSld name="26_Quotation">
    <p:spTree>
      <p:nvGrpSpPr>
        <p:cNvPr id="1" name="Shape 9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75" name="Google Shape;9375;g3681a448973_2_54415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76" name="Google Shape;9376;g3681a448973_2_54415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77" name="Google Shape;9377;g3681a448973_2_5441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78" name="Google Shape;9378;g3681a448973_2_544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79" name="Google Shape;9379;g3681a448973_2_544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80" name="Google Shape;9380;g3681a448973_2_544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1" name="Google Shape;9381;g3681a448973_2_54415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82" name="Google Shape;9382;g3681a448973_2_54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83" name="Google Shape;9383;g3681a448973_2_54415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84" name="Google Shape;9384;g3681a448973_2_544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85" name="Google Shape;9385;g3681a448973_2_544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86" name="Google Shape;9386;g3681a448973_2_5441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11600217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Quotation">
  <p:cSld name="28_Quotation">
    <p:spTree>
      <p:nvGrpSpPr>
        <p:cNvPr id="1" name="Shape 9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88" name="Google Shape;9388;g3681a448973_2_54428"/>
          <p:cNvSpPr/>
          <p:nvPr/>
        </p:nvSpPr>
        <p:spPr>
          <a:xfrm>
            <a:off x="1427357" y="1387869"/>
            <a:ext cx="10155000" cy="350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89" name="Google Shape;9389;g3681a448973_2_54428"/>
          <p:cNvSpPr txBox="1">
            <a:spLocks noGrp="1"/>
          </p:cNvSpPr>
          <p:nvPr>
            <p:ph type="title"/>
          </p:nvPr>
        </p:nvSpPr>
        <p:spPr>
          <a:xfrm>
            <a:off x="1427357" y="1377235"/>
            <a:ext cx="10155000" cy="350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90" name="Google Shape;9390;g3681a448973_2_544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00" cy="8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91" name="Google Shape;9391;g3681a448973_2_54428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92" name="Google Shape;9392;g3681a448973_2_544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93" name="Google Shape;9393;g3681a448973_2_544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94" name="Google Shape;9394;g3681a448973_2_54428"/>
          <p:cNvGrpSpPr/>
          <p:nvPr/>
        </p:nvGrpSpPr>
        <p:grpSpPr>
          <a:xfrm>
            <a:off x="7191204" y="1"/>
            <a:ext cx="5000223" cy="1425925"/>
            <a:chOff x="7191203" y="1"/>
            <a:chExt cx="5000223" cy="1425925"/>
          </a:xfrm>
        </p:grpSpPr>
        <p:pic>
          <p:nvPicPr>
            <p:cNvPr id="9395" name="Google Shape;9395;g3681a448973_2_544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96" name="Google Shape;9396;g3681a448973_2_54428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9397" name="Google Shape;9397;g3681a448973_2_544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98" name="Google Shape;9398;g3681a448973_2_544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99" name="Google Shape;9399;g3681a448973_2_5442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287610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over">
  <p:cSld name="14_Cover">
    <p:spTree>
      <p:nvGrpSpPr>
        <p:cNvPr id="1" name="Shape 9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01" name="Google Shape;9401;g3681a448973_2_54441"/>
          <p:cNvSpPr/>
          <p:nvPr/>
        </p:nvSpPr>
        <p:spPr>
          <a:xfrm>
            <a:off x="902368" y="1294414"/>
            <a:ext cx="11289600" cy="3822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02" name="Google Shape;9402;g3681a448973_2_54441"/>
          <p:cNvSpPr txBox="1">
            <a:spLocks noGrp="1"/>
          </p:cNvSpPr>
          <p:nvPr>
            <p:ph type="ctrTitle"/>
          </p:nvPr>
        </p:nvSpPr>
        <p:spPr>
          <a:xfrm>
            <a:off x="1413311" y="1561332"/>
            <a:ext cx="5194500" cy="18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03" name="Google Shape;9403;g3681a448973_2_54441"/>
          <p:cNvSpPr txBox="1">
            <a:spLocks noGrp="1"/>
          </p:cNvSpPr>
          <p:nvPr>
            <p:ph type="subTitle" idx="1"/>
          </p:nvPr>
        </p:nvSpPr>
        <p:spPr>
          <a:xfrm>
            <a:off x="1413311" y="3766863"/>
            <a:ext cx="51945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404" name="Google Shape;9404;g3681a448973_2_544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00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405" name="Google Shape;9405;g3681a448973_2_54441"/>
          <p:cNvGrpSpPr/>
          <p:nvPr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9406" name="Google Shape;9406;g3681a448973_2_544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07" name="Google Shape;9407;g3681a448973_2_544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408" name="Google Shape;9408;g3681a448973_2_544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749074676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Divider">
  <p:cSld name="14_Divider">
    <p:bg>
      <p:bgPr>
        <a:solidFill>
          <a:schemeClr val="lt2"/>
        </a:solidFill>
        <a:effectLst/>
      </p:bgPr>
    </p:bg>
    <p:spTree>
      <p:nvGrpSpPr>
        <p:cNvPr id="1" name="Shape 9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10" name="Google Shape;9410;g3681a448973_2_54450"/>
          <p:cNvGrpSpPr/>
          <p:nvPr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9411" name="Google Shape;9411;g3681a448973_2_544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12" name="Google Shape;9412;g3681a448973_2_544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13" name="Google Shape;9413;g3681a448973_2_544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414" name="Google Shape;9414;g3681a448973_2_544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415" name="Google Shape;9415;g3681a448973_2_54450"/>
          <p:cNvSpPr txBox="1">
            <a:spLocks noGrp="1"/>
          </p:cNvSpPr>
          <p:nvPr>
            <p:ph type="title"/>
          </p:nvPr>
        </p:nvSpPr>
        <p:spPr>
          <a:xfrm>
            <a:off x="1413310" y="701749"/>
            <a:ext cx="93654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16" name="Google Shape;9416;g3681a448973_2_54450"/>
          <p:cNvSpPr txBox="1">
            <a:spLocks noGrp="1"/>
          </p:cNvSpPr>
          <p:nvPr>
            <p:ph type="subTitle" idx="1"/>
          </p:nvPr>
        </p:nvSpPr>
        <p:spPr>
          <a:xfrm>
            <a:off x="1413310" y="3081640"/>
            <a:ext cx="9365400" cy="9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7374160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Photo Slide">
  <p:cSld name="14_Photo Slide">
    <p:spTree>
      <p:nvGrpSpPr>
        <p:cNvPr id="1" name="Shape 9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8" name="Google Shape;9418;g3681a448973_2_54458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200" cy="29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419" name="Google Shape;9419;g3681a448973_2_54458"/>
          <p:cNvCxnSpPr/>
          <p:nvPr/>
        </p:nvCxnSpPr>
        <p:spPr>
          <a:xfrm>
            <a:off x="457200" y="947987"/>
            <a:ext cx="23502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420" name="Google Shape;9420;g3681a448973_2_54458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421" name="Google Shape;9421;g3681a448973_2_5445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22" name="Google Shape;9422;g3681a448973_2_5445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423" name="Google Shape;9423;g3681a448973_2_5445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9424" name="Google Shape;9424;g3681a448973_2_544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3936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23.xml"/><Relationship Id="rId299" Type="http://schemas.openxmlformats.org/officeDocument/2006/relationships/slideLayout" Target="../slideLayouts/slideLayout305.xml"/><Relationship Id="rId21" Type="http://schemas.openxmlformats.org/officeDocument/2006/relationships/slideLayout" Target="../slideLayouts/slideLayout27.xml"/><Relationship Id="rId63" Type="http://schemas.openxmlformats.org/officeDocument/2006/relationships/slideLayout" Target="../slideLayouts/slideLayout69.xml"/><Relationship Id="rId159" Type="http://schemas.openxmlformats.org/officeDocument/2006/relationships/slideLayout" Target="../slideLayouts/slideLayout165.xml"/><Relationship Id="rId324" Type="http://schemas.openxmlformats.org/officeDocument/2006/relationships/slideLayout" Target="../slideLayouts/slideLayout330.xml"/><Relationship Id="rId366" Type="http://schemas.openxmlformats.org/officeDocument/2006/relationships/slideLayout" Target="../slideLayouts/slideLayout372.xml"/><Relationship Id="rId170" Type="http://schemas.openxmlformats.org/officeDocument/2006/relationships/slideLayout" Target="../slideLayouts/slideLayout176.xml"/><Relationship Id="rId226" Type="http://schemas.openxmlformats.org/officeDocument/2006/relationships/slideLayout" Target="../slideLayouts/slideLayout232.xml"/><Relationship Id="rId268" Type="http://schemas.openxmlformats.org/officeDocument/2006/relationships/slideLayout" Target="../slideLayouts/slideLayout274.xml"/><Relationship Id="rId32" Type="http://schemas.openxmlformats.org/officeDocument/2006/relationships/slideLayout" Target="../slideLayouts/slideLayout38.xml"/><Relationship Id="rId74" Type="http://schemas.openxmlformats.org/officeDocument/2006/relationships/slideLayout" Target="../slideLayouts/slideLayout80.xml"/><Relationship Id="rId128" Type="http://schemas.openxmlformats.org/officeDocument/2006/relationships/slideLayout" Target="../slideLayouts/slideLayout134.xml"/><Relationship Id="rId335" Type="http://schemas.openxmlformats.org/officeDocument/2006/relationships/slideLayout" Target="../slideLayouts/slideLayout341.xml"/><Relationship Id="rId377" Type="http://schemas.openxmlformats.org/officeDocument/2006/relationships/slideLayout" Target="../slideLayouts/slideLayout383.xml"/><Relationship Id="rId5" Type="http://schemas.openxmlformats.org/officeDocument/2006/relationships/slideLayout" Target="../slideLayouts/slideLayout11.xml"/><Relationship Id="rId181" Type="http://schemas.openxmlformats.org/officeDocument/2006/relationships/slideLayout" Target="../slideLayouts/slideLayout187.xml"/><Relationship Id="rId237" Type="http://schemas.openxmlformats.org/officeDocument/2006/relationships/slideLayout" Target="../slideLayouts/slideLayout243.xml"/><Relationship Id="rId402" Type="http://schemas.openxmlformats.org/officeDocument/2006/relationships/slideLayout" Target="../slideLayouts/slideLayout408.xml"/><Relationship Id="rId279" Type="http://schemas.openxmlformats.org/officeDocument/2006/relationships/slideLayout" Target="../slideLayouts/slideLayout285.xml"/><Relationship Id="rId43" Type="http://schemas.openxmlformats.org/officeDocument/2006/relationships/slideLayout" Target="../slideLayouts/slideLayout49.xml"/><Relationship Id="rId139" Type="http://schemas.openxmlformats.org/officeDocument/2006/relationships/slideLayout" Target="../slideLayouts/slideLayout145.xml"/><Relationship Id="rId290" Type="http://schemas.openxmlformats.org/officeDocument/2006/relationships/slideLayout" Target="../slideLayouts/slideLayout296.xml"/><Relationship Id="rId304" Type="http://schemas.openxmlformats.org/officeDocument/2006/relationships/slideLayout" Target="../slideLayouts/slideLayout310.xml"/><Relationship Id="rId346" Type="http://schemas.openxmlformats.org/officeDocument/2006/relationships/slideLayout" Target="../slideLayouts/slideLayout352.xml"/><Relationship Id="rId388" Type="http://schemas.openxmlformats.org/officeDocument/2006/relationships/slideLayout" Target="../slideLayouts/slideLayout394.xml"/><Relationship Id="rId85" Type="http://schemas.openxmlformats.org/officeDocument/2006/relationships/slideLayout" Target="../slideLayouts/slideLayout91.xml"/><Relationship Id="rId150" Type="http://schemas.openxmlformats.org/officeDocument/2006/relationships/slideLayout" Target="../slideLayouts/slideLayout156.xml"/><Relationship Id="rId192" Type="http://schemas.openxmlformats.org/officeDocument/2006/relationships/slideLayout" Target="../slideLayouts/slideLayout198.xml"/><Relationship Id="rId206" Type="http://schemas.openxmlformats.org/officeDocument/2006/relationships/slideLayout" Target="../slideLayouts/slideLayout212.xml"/><Relationship Id="rId413" Type="http://schemas.openxmlformats.org/officeDocument/2006/relationships/slideLayout" Target="../slideLayouts/slideLayout419.xml"/><Relationship Id="rId248" Type="http://schemas.openxmlformats.org/officeDocument/2006/relationships/slideLayout" Target="../slideLayouts/slideLayout254.xml"/><Relationship Id="rId12" Type="http://schemas.openxmlformats.org/officeDocument/2006/relationships/slideLayout" Target="../slideLayouts/slideLayout18.xml"/><Relationship Id="rId108" Type="http://schemas.openxmlformats.org/officeDocument/2006/relationships/slideLayout" Target="../slideLayouts/slideLayout114.xml"/><Relationship Id="rId315" Type="http://schemas.openxmlformats.org/officeDocument/2006/relationships/slideLayout" Target="../slideLayouts/slideLayout321.xml"/><Relationship Id="rId357" Type="http://schemas.openxmlformats.org/officeDocument/2006/relationships/slideLayout" Target="../slideLayouts/slideLayout363.xml"/><Relationship Id="rId54" Type="http://schemas.openxmlformats.org/officeDocument/2006/relationships/slideLayout" Target="../slideLayouts/slideLayout60.xml"/><Relationship Id="rId96" Type="http://schemas.openxmlformats.org/officeDocument/2006/relationships/slideLayout" Target="../slideLayouts/slideLayout102.xml"/><Relationship Id="rId161" Type="http://schemas.openxmlformats.org/officeDocument/2006/relationships/slideLayout" Target="../slideLayouts/slideLayout167.xml"/><Relationship Id="rId217" Type="http://schemas.openxmlformats.org/officeDocument/2006/relationships/slideLayout" Target="../slideLayouts/slideLayout223.xml"/><Relationship Id="rId399" Type="http://schemas.openxmlformats.org/officeDocument/2006/relationships/slideLayout" Target="../slideLayouts/slideLayout405.xml"/><Relationship Id="rId259" Type="http://schemas.openxmlformats.org/officeDocument/2006/relationships/slideLayout" Target="../slideLayouts/slideLayout265.xml"/><Relationship Id="rId424" Type="http://schemas.openxmlformats.org/officeDocument/2006/relationships/slideLayout" Target="../slideLayouts/slideLayout430.xml"/><Relationship Id="rId23" Type="http://schemas.openxmlformats.org/officeDocument/2006/relationships/slideLayout" Target="../slideLayouts/slideLayout29.xml"/><Relationship Id="rId119" Type="http://schemas.openxmlformats.org/officeDocument/2006/relationships/slideLayout" Target="../slideLayouts/slideLayout125.xml"/><Relationship Id="rId270" Type="http://schemas.openxmlformats.org/officeDocument/2006/relationships/slideLayout" Target="../slideLayouts/slideLayout276.xml"/><Relationship Id="rId326" Type="http://schemas.openxmlformats.org/officeDocument/2006/relationships/slideLayout" Target="../slideLayouts/slideLayout332.xml"/><Relationship Id="rId65" Type="http://schemas.openxmlformats.org/officeDocument/2006/relationships/slideLayout" Target="../slideLayouts/slideLayout71.xml"/><Relationship Id="rId130" Type="http://schemas.openxmlformats.org/officeDocument/2006/relationships/slideLayout" Target="../slideLayouts/slideLayout136.xml"/><Relationship Id="rId368" Type="http://schemas.openxmlformats.org/officeDocument/2006/relationships/slideLayout" Target="../slideLayouts/slideLayout374.xml"/><Relationship Id="rId172" Type="http://schemas.openxmlformats.org/officeDocument/2006/relationships/slideLayout" Target="../slideLayouts/slideLayout178.xml"/><Relationship Id="rId228" Type="http://schemas.openxmlformats.org/officeDocument/2006/relationships/slideLayout" Target="../slideLayouts/slideLayout234.xml"/><Relationship Id="rId281" Type="http://schemas.openxmlformats.org/officeDocument/2006/relationships/slideLayout" Target="../slideLayouts/slideLayout287.xml"/><Relationship Id="rId337" Type="http://schemas.openxmlformats.org/officeDocument/2006/relationships/slideLayout" Target="../slideLayouts/slideLayout343.xml"/><Relationship Id="rId34" Type="http://schemas.openxmlformats.org/officeDocument/2006/relationships/slideLayout" Target="../slideLayouts/slideLayout40.xml"/><Relationship Id="rId76" Type="http://schemas.openxmlformats.org/officeDocument/2006/relationships/slideLayout" Target="../slideLayouts/slideLayout82.xml"/><Relationship Id="rId141" Type="http://schemas.openxmlformats.org/officeDocument/2006/relationships/slideLayout" Target="../slideLayouts/slideLayout147.xml"/><Relationship Id="rId379" Type="http://schemas.openxmlformats.org/officeDocument/2006/relationships/slideLayout" Target="../slideLayouts/slideLayout385.xml"/><Relationship Id="rId7" Type="http://schemas.openxmlformats.org/officeDocument/2006/relationships/slideLayout" Target="../slideLayouts/slideLayout13.xml"/><Relationship Id="rId183" Type="http://schemas.openxmlformats.org/officeDocument/2006/relationships/slideLayout" Target="../slideLayouts/slideLayout189.xml"/><Relationship Id="rId239" Type="http://schemas.openxmlformats.org/officeDocument/2006/relationships/slideLayout" Target="../slideLayouts/slideLayout245.xml"/><Relationship Id="rId390" Type="http://schemas.openxmlformats.org/officeDocument/2006/relationships/slideLayout" Target="../slideLayouts/slideLayout396.xml"/><Relationship Id="rId404" Type="http://schemas.openxmlformats.org/officeDocument/2006/relationships/slideLayout" Target="../slideLayouts/slideLayout410.xml"/><Relationship Id="rId250" Type="http://schemas.openxmlformats.org/officeDocument/2006/relationships/slideLayout" Target="../slideLayouts/slideLayout256.xml"/><Relationship Id="rId292" Type="http://schemas.openxmlformats.org/officeDocument/2006/relationships/slideLayout" Target="../slideLayouts/slideLayout298.xml"/><Relationship Id="rId306" Type="http://schemas.openxmlformats.org/officeDocument/2006/relationships/slideLayout" Target="../slideLayouts/slideLayout312.xml"/><Relationship Id="rId45" Type="http://schemas.openxmlformats.org/officeDocument/2006/relationships/slideLayout" Target="../slideLayouts/slideLayout51.xml"/><Relationship Id="rId87" Type="http://schemas.openxmlformats.org/officeDocument/2006/relationships/slideLayout" Target="../slideLayouts/slideLayout93.xml"/><Relationship Id="rId110" Type="http://schemas.openxmlformats.org/officeDocument/2006/relationships/slideLayout" Target="../slideLayouts/slideLayout116.xml"/><Relationship Id="rId348" Type="http://schemas.openxmlformats.org/officeDocument/2006/relationships/slideLayout" Target="../slideLayouts/slideLayout354.xml"/><Relationship Id="rId152" Type="http://schemas.openxmlformats.org/officeDocument/2006/relationships/slideLayout" Target="../slideLayouts/slideLayout158.xml"/><Relationship Id="rId194" Type="http://schemas.openxmlformats.org/officeDocument/2006/relationships/slideLayout" Target="../slideLayouts/slideLayout200.xml"/><Relationship Id="rId208" Type="http://schemas.openxmlformats.org/officeDocument/2006/relationships/slideLayout" Target="../slideLayouts/slideLayout214.xml"/><Relationship Id="rId415" Type="http://schemas.openxmlformats.org/officeDocument/2006/relationships/slideLayout" Target="../slideLayouts/slideLayout421.xml"/><Relationship Id="rId261" Type="http://schemas.openxmlformats.org/officeDocument/2006/relationships/slideLayout" Target="../slideLayouts/slideLayout267.xml"/><Relationship Id="rId14" Type="http://schemas.openxmlformats.org/officeDocument/2006/relationships/slideLayout" Target="../slideLayouts/slideLayout20.xml"/><Relationship Id="rId56" Type="http://schemas.openxmlformats.org/officeDocument/2006/relationships/slideLayout" Target="../slideLayouts/slideLayout62.xml"/><Relationship Id="rId317" Type="http://schemas.openxmlformats.org/officeDocument/2006/relationships/slideLayout" Target="../slideLayouts/slideLayout323.xml"/><Relationship Id="rId359" Type="http://schemas.openxmlformats.org/officeDocument/2006/relationships/slideLayout" Target="../slideLayouts/slideLayout365.xml"/><Relationship Id="rId98" Type="http://schemas.openxmlformats.org/officeDocument/2006/relationships/slideLayout" Target="../slideLayouts/slideLayout104.xml"/><Relationship Id="rId121" Type="http://schemas.openxmlformats.org/officeDocument/2006/relationships/slideLayout" Target="../slideLayouts/slideLayout127.xml"/><Relationship Id="rId163" Type="http://schemas.openxmlformats.org/officeDocument/2006/relationships/slideLayout" Target="../slideLayouts/slideLayout169.xml"/><Relationship Id="rId219" Type="http://schemas.openxmlformats.org/officeDocument/2006/relationships/slideLayout" Target="../slideLayouts/slideLayout225.xml"/><Relationship Id="rId370" Type="http://schemas.openxmlformats.org/officeDocument/2006/relationships/slideLayout" Target="../slideLayouts/slideLayout376.xml"/><Relationship Id="rId426" Type="http://schemas.openxmlformats.org/officeDocument/2006/relationships/slideLayout" Target="../slideLayouts/slideLayout432.xml"/><Relationship Id="rId230" Type="http://schemas.openxmlformats.org/officeDocument/2006/relationships/slideLayout" Target="../slideLayouts/slideLayout236.xml"/><Relationship Id="rId25" Type="http://schemas.openxmlformats.org/officeDocument/2006/relationships/slideLayout" Target="../slideLayouts/slideLayout31.xml"/><Relationship Id="rId67" Type="http://schemas.openxmlformats.org/officeDocument/2006/relationships/slideLayout" Target="../slideLayouts/slideLayout73.xml"/><Relationship Id="rId272" Type="http://schemas.openxmlformats.org/officeDocument/2006/relationships/slideLayout" Target="../slideLayouts/slideLayout278.xml"/><Relationship Id="rId328" Type="http://schemas.openxmlformats.org/officeDocument/2006/relationships/slideLayout" Target="../slideLayouts/slideLayout334.xml"/><Relationship Id="rId132" Type="http://schemas.openxmlformats.org/officeDocument/2006/relationships/slideLayout" Target="../slideLayouts/slideLayout138.xml"/><Relationship Id="rId174" Type="http://schemas.openxmlformats.org/officeDocument/2006/relationships/slideLayout" Target="../slideLayouts/slideLayout180.xml"/><Relationship Id="rId381" Type="http://schemas.openxmlformats.org/officeDocument/2006/relationships/slideLayout" Target="../slideLayouts/slideLayout387.xml"/><Relationship Id="rId241" Type="http://schemas.openxmlformats.org/officeDocument/2006/relationships/slideLayout" Target="../slideLayouts/slideLayout247.xml"/><Relationship Id="rId36" Type="http://schemas.openxmlformats.org/officeDocument/2006/relationships/slideLayout" Target="../slideLayouts/slideLayout42.xml"/><Relationship Id="rId283" Type="http://schemas.openxmlformats.org/officeDocument/2006/relationships/slideLayout" Target="../slideLayouts/slideLayout289.xml"/><Relationship Id="rId339" Type="http://schemas.openxmlformats.org/officeDocument/2006/relationships/slideLayout" Target="../slideLayouts/slideLayout345.xml"/><Relationship Id="rId78" Type="http://schemas.openxmlformats.org/officeDocument/2006/relationships/slideLayout" Target="../slideLayouts/slideLayout84.xml"/><Relationship Id="rId101" Type="http://schemas.openxmlformats.org/officeDocument/2006/relationships/slideLayout" Target="../slideLayouts/slideLayout107.xml"/><Relationship Id="rId143" Type="http://schemas.openxmlformats.org/officeDocument/2006/relationships/slideLayout" Target="../slideLayouts/slideLayout149.xml"/><Relationship Id="rId185" Type="http://schemas.openxmlformats.org/officeDocument/2006/relationships/slideLayout" Target="../slideLayouts/slideLayout191.xml"/><Relationship Id="rId350" Type="http://schemas.openxmlformats.org/officeDocument/2006/relationships/slideLayout" Target="../slideLayouts/slideLayout356.xml"/><Relationship Id="rId406" Type="http://schemas.openxmlformats.org/officeDocument/2006/relationships/slideLayout" Target="../slideLayouts/slideLayout412.xml"/><Relationship Id="rId9" Type="http://schemas.openxmlformats.org/officeDocument/2006/relationships/slideLayout" Target="../slideLayouts/slideLayout15.xml"/><Relationship Id="rId210" Type="http://schemas.openxmlformats.org/officeDocument/2006/relationships/slideLayout" Target="../slideLayouts/slideLayout216.xml"/><Relationship Id="rId392" Type="http://schemas.openxmlformats.org/officeDocument/2006/relationships/slideLayout" Target="../slideLayouts/slideLayout398.xml"/><Relationship Id="rId252" Type="http://schemas.openxmlformats.org/officeDocument/2006/relationships/slideLayout" Target="../slideLayouts/slideLayout258.xml"/><Relationship Id="rId294" Type="http://schemas.openxmlformats.org/officeDocument/2006/relationships/slideLayout" Target="../slideLayouts/slideLayout300.xml"/><Relationship Id="rId308" Type="http://schemas.openxmlformats.org/officeDocument/2006/relationships/slideLayout" Target="../slideLayouts/slideLayout314.xml"/><Relationship Id="rId47" Type="http://schemas.openxmlformats.org/officeDocument/2006/relationships/slideLayout" Target="../slideLayouts/slideLayout53.xml"/><Relationship Id="rId89" Type="http://schemas.openxmlformats.org/officeDocument/2006/relationships/slideLayout" Target="../slideLayouts/slideLayout95.xml"/><Relationship Id="rId112" Type="http://schemas.openxmlformats.org/officeDocument/2006/relationships/slideLayout" Target="../slideLayouts/slideLayout118.xml"/><Relationship Id="rId154" Type="http://schemas.openxmlformats.org/officeDocument/2006/relationships/slideLayout" Target="../slideLayouts/slideLayout160.xml"/><Relationship Id="rId361" Type="http://schemas.openxmlformats.org/officeDocument/2006/relationships/slideLayout" Target="../slideLayouts/slideLayout367.xml"/><Relationship Id="rId196" Type="http://schemas.openxmlformats.org/officeDocument/2006/relationships/slideLayout" Target="../slideLayouts/slideLayout202.xml"/><Relationship Id="rId417" Type="http://schemas.openxmlformats.org/officeDocument/2006/relationships/slideLayout" Target="../slideLayouts/slideLayout423.xml"/><Relationship Id="rId16" Type="http://schemas.openxmlformats.org/officeDocument/2006/relationships/slideLayout" Target="../slideLayouts/slideLayout22.xml"/><Relationship Id="rId221" Type="http://schemas.openxmlformats.org/officeDocument/2006/relationships/slideLayout" Target="../slideLayouts/slideLayout227.xml"/><Relationship Id="rId263" Type="http://schemas.openxmlformats.org/officeDocument/2006/relationships/slideLayout" Target="../slideLayouts/slideLayout269.xml"/><Relationship Id="rId319" Type="http://schemas.openxmlformats.org/officeDocument/2006/relationships/slideLayout" Target="../slideLayouts/slideLayout325.xml"/><Relationship Id="rId58" Type="http://schemas.openxmlformats.org/officeDocument/2006/relationships/slideLayout" Target="../slideLayouts/slideLayout64.xml"/><Relationship Id="rId123" Type="http://schemas.openxmlformats.org/officeDocument/2006/relationships/slideLayout" Target="../slideLayouts/slideLayout129.xml"/><Relationship Id="rId330" Type="http://schemas.openxmlformats.org/officeDocument/2006/relationships/slideLayout" Target="../slideLayouts/slideLayout336.xml"/><Relationship Id="rId165" Type="http://schemas.openxmlformats.org/officeDocument/2006/relationships/slideLayout" Target="../slideLayouts/slideLayout171.xml"/><Relationship Id="rId372" Type="http://schemas.openxmlformats.org/officeDocument/2006/relationships/slideLayout" Target="../slideLayouts/slideLayout378.xml"/><Relationship Id="rId428" Type="http://schemas.openxmlformats.org/officeDocument/2006/relationships/slideLayout" Target="../slideLayouts/slideLayout434.xml"/><Relationship Id="rId232" Type="http://schemas.openxmlformats.org/officeDocument/2006/relationships/slideLayout" Target="../slideLayouts/slideLayout238.xml"/><Relationship Id="rId274" Type="http://schemas.openxmlformats.org/officeDocument/2006/relationships/slideLayout" Target="../slideLayouts/slideLayout280.xml"/><Relationship Id="rId27" Type="http://schemas.openxmlformats.org/officeDocument/2006/relationships/slideLayout" Target="../slideLayouts/slideLayout33.xml"/><Relationship Id="rId69" Type="http://schemas.openxmlformats.org/officeDocument/2006/relationships/slideLayout" Target="../slideLayouts/slideLayout75.xml"/><Relationship Id="rId134" Type="http://schemas.openxmlformats.org/officeDocument/2006/relationships/slideLayout" Target="../slideLayouts/slideLayout140.xml"/><Relationship Id="rId80" Type="http://schemas.openxmlformats.org/officeDocument/2006/relationships/slideLayout" Target="../slideLayouts/slideLayout86.xml"/><Relationship Id="rId176" Type="http://schemas.openxmlformats.org/officeDocument/2006/relationships/slideLayout" Target="../slideLayouts/slideLayout182.xml"/><Relationship Id="rId341" Type="http://schemas.openxmlformats.org/officeDocument/2006/relationships/slideLayout" Target="../slideLayouts/slideLayout347.xml"/><Relationship Id="rId383" Type="http://schemas.openxmlformats.org/officeDocument/2006/relationships/slideLayout" Target="../slideLayouts/slideLayout389.xml"/><Relationship Id="rId201" Type="http://schemas.openxmlformats.org/officeDocument/2006/relationships/slideLayout" Target="../slideLayouts/slideLayout207.xml"/><Relationship Id="rId243" Type="http://schemas.openxmlformats.org/officeDocument/2006/relationships/slideLayout" Target="../slideLayouts/slideLayout249.xml"/><Relationship Id="rId285" Type="http://schemas.openxmlformats.org/officeDocument/2006/relationships/slideLayout" Target="../slideLayouts/slideLayout291.xml"/><Relationship Id="rId38" Type="http://schemas.openxmlformats.org/officeDocument/2006/relationships/slideLayout" Target="../slideLayouts/slideLayout44.xml"/><Relationship Id="rId103" Type="http://schemas.openxmlformats.org/officeDocument/2006/relationships/slideLayout" Target="../slideLayouts/slideLayout109.xml"/><Relationship Id="rId310" Type="http://schemas.openxmlformats.org/officeDocument/2006/relationships/slideLayout" Target="../slideLayouts/slideLayout316.xml"/><Relationship Id="rId91" Type="http://schemas.openxmlformats.org/officeDocument/2006/relationships/slideLayout" Target="../slideLayouts/slideLayout97.xml"/><Relationship Id="rId145" Type="http://schemas.openxmlformats.org/officeDocument/2006/relationships/slideLayout" Target="../slideLayouts/slideLayout151.xml"/><Relationship Id="rId187" Type="http://schemas.openxmlformats.org/officeDocument/2006/relationships/slideLayout" Target="../slideLayouts/slideLayout193.xml"/><Relationship Id="rId352" Type="http://schemas.openxmlformats.org/officeDocument/2006/relationships/slideLayout" Target="../slideLayouts/slideLayout358.xml"/><Relationship Id="rId394" Type="http://schemas.openxmlformats.org/officeDocument/2006/relationships/slideLayout" Target="../slideLayouts/slideLayout400.xml"/><Relationship Id="rId408" Type="http://schemas.openxmlformats.org/officeDocument/2006/relationships/slideLayout" Target="../slideLayouts/slideLayout414.xml"/><Relationship Id="rId1" Type="http://schemas.openxmlformats.org/officeDocument/2006/relationships/slideLayout" Target="../slideLayouts/slideLayout7.xml"/><Relationship Id="rId212" Type="http://schemas.openxmlformats.org/officeDocument/2006/relationships/slideLayout" Target="../slideLayouts/slideLayout218.xml"/><Relationship Id="rId233" Type="http://schemas.openxmlformats.org/officeDocument/2006/relationships/slideLayout" Target="../slideLayouts/slideLayout239.xml"/><Relationship Id="rId254" Type="http://schemas.openxmlformats.org/officeDocument/2006/relationships/slideLayout" Target="../slideLayouts/slideLayout260.xml"/><Relationship Id="rId28" Type="http://schemas.openxmlformats.org/officeDocument/2006/relationships/slideLayout" Target="../slideLayouts/slideLayout34.xml"/><Relationship Id="rId49" Type="http://schemas.openxmlformats.org/officeDocument/2006/relationships/slideLayout" Target="../slideLayouts/slideLayout55.xml"/><Relationship Id="rId114" Type="http://schemas.openxmlformats.org/officeDocument/2006/relationships/slideLayout" Target="../slideLayouts/slideLayout120.xml"/><Relationship Id="rId275" Type="http://schemas.openxmlformats.org/officeDocument/2006/relationships/slideLayout" Target="../slideLayouts/slideLayout281.xml"/><Relationship Id="rId296" Type="http://schemas.openxmlformats.org/officeDocument/2006/relationships/slideLayout" Target="../slideLayouts/slideLayout302.xml"/><Relationship Id="rId300" Type="http://schemas.openxmlformats.org/officeDocument/2006/relationships/slideLayout" Target="../slideLayouts/slideLayout306.xml"/><Relationship Id="rId60" Type="http://schemas.openxmlformats.org/officeDocument/2006/relationships/slideLayout" Target="../slideLayouts/slideLayout66.xml"/><Relationship Id="rId81" Type="http://schemas.openxmlformats.org/officeDocument/2006/relationships/slideLayout" Target="../slideLayouts/slideLayout87.xml"/><Relationship Id="rId135" Type="http://schemas.openxmlformats.org/officeDocument/2006/relationships/slideLayout" Target="../slideLayouts/slideLayout141.xml"/><Relationship Id="rId156" Type="http://schemas.openxmlformats.org/officeDocument/2006/relationships/slideLayout" Target="../slideLayouts/slideLayout162.xml"/><Relationship Id="rId177" Type="http://schemas.openxmlformats.org/officeDocument/2006/relationships/slideLayout" Target="../slideLayouts/slideLayout183.xml"/><Relationship Id="rId198" Type="http://schemas.openxmlformats.org/officeDocument/2006/relationships/slideLayout" Target="../slideLayouts/slideLayout204.xml"/><Relationship Id="rId321" Type="http://schemas.openxmlformats.org/officeDocument/2006/relationships/slideLayout" Target="../slideLayouts/slideLayout327.xml"/><Relationship Id="rId342" Type="http://schemas.openxmlformats.org/officeDocument/2006/relationships/slideLayout" Target="../slideLayouts/slideLayout348.xml"/><Relationship Id="rId363" Type="http://schemas.openxmlformats.org/officeDocument/2006/relationships/slideLayout" Target="../slideLayouts/slideLayout369.xml"/><Relationship Id="rId384" Type="http://schemas.openxmlformats.org/officeDocument/2006/relationships/slideLayout" Target="../slideLayouts/slideLayout390.xml"/><Relationship Id="rId419" Type="http://schemas.openxmlformats.org/officeDocument/2006/relationships/slideLayout" Target="../slideLayouts/slideLayout425.xml"/><Relationship Id="rId202" Type="http://schemas.openxmlformats.org/officeDocument/2006/relationships/slideLayout" Target="../slideLayouts/slideLayout208.xml"/><Relationship Id="rId223" Type="http://schemas.openxmlformats.org/officeDocument/2006/relationships/slideLayout" Target="../slideLayouts/slideLayout229.xml"/><Relationship Id="rId244" Type="http://schemas.openxmlformats.org/officeDocument/2006/relationships/slideLayout" Target="../slideLayouts/slideLayout250.xml"/><Relationship Id="rId430" Type="http://schemas.openxmlformats.org/officeDocument/2006/relationships/theme" Target="../theme/theme2.xml"/><Relationship Id="rId18" Type="http://schemas.openxmlformats.org/officeDocument/2006/relationships/slideLayout" Target="../slideLayouts/slideLayout24.xml"/><Relationship Id="rId39" Type="http://schemas.openxmlformats.org/officeDocument/2006/relationships/slideLayout" Target="../slideLayouts/slideLayout45.xml"/><Relationship Id="rId265" Type="http://schemas.openxmlformats.org/officeDocument/2006/relationships/slideLayout" Target="../slideLayouts/slideLayout271.xml"/><Relationship Id="rId286" Type="http://schemas.openxmlformats.org/officeDocument/2006/relationships/slideLayout" Target="../slideLayouts/slideLayout292.xml"/><Relationship Id="rId50" Type="http://schemas.openxmlformats.org/officeDocument/2006/relationships/slideLayout" Target="../slideLayouts/slideLayout56.xml"/><Relationship Id="rId104" Type="http://schemas.openxmlformats.org/officeDocument/2006/relationships/slideLayout" Target="../slideLayouts/slideLayout110.xml"/><Relationship Id="rId125" Type="http://schemas.openxmlformats.org/officeDocument/2006/relationships/slideLayout" Target="../slideLayouts/slideLayout131.xml"/><Relationship Id="rId146" Type="http://schemas.openxmlformats.org/officeDocument/2006/relationships/slideLayout" Target="../slideLayouts/slideLayout152.xml"/><Relationship Id="rId167" Type="http://schemas.openxmlformats.org/officeDocument/2006/relationships/slideLayout" Target="../slideLayouts/slideLayout173.xml"/><Relationship Id="rId188" Type="http://schemas.openxmlformats.org/officeDocument/2006/relationships/slideLayout" Target="../slideLayouts/slideLayout194.xml"/><Relationship Id="rId311" Type="http://schemas.openxmlformats.org/officeDocument/2006/relationships/slideLayout" Target="../slideLayouts/slideLayout317.xml"/><Relationship Id="rId332" Type="http://schemas.openxmlformats.org/officeDocument/2006/relationships/slideLayout" Target="../slideLayouts/slideLayout338.xml"/><Relationship Id="rId353" Type="http://schemas.openxmlformats.org/officeDocument/2006/relationships/slideLayout" Target="../slideLayouts/slideLayout359.xml"/><Relationship Id="rId374" Type="http://schemas.openxmlformats.org/officeDocument/2006/relationships/slideLayout" Target="../slideLayouts/slideLayout380.xml"/><Relationship Id="rId395" Type="http://schemas.openxmlformats.org/officeDocument/2006/relationships/slideLayout" Target="../slideLayouts/slideLayout401.xml"/><Relationship Id="rId409" Type="http://schemas.openxmlformats.org/officeDocument/2006/relationships/slideLayout" Target="../slideLayouts/slideLayout415.xml"/><Relationship Id="rId71" Type="http://schemas.openxmlformats.org/officeDocument/2006/relationships/slideLayout" Target="../slideLayouts/slideLayout77.xml"/><Relationship Id="rId92" Type="http://schemas.openxmlformats.org/officeDocument/2006/relationships/slideLayout" Target="../slideLayouts/slideLayout98.xml"/><Relationship Id="rId213" Type="http://schemas.openxmlformats.org/officeDocument/2006/relationships/slideLayout" Target="../slideLayouts/slideLayout219.xml"/><Relationship Id="rId234" Type="http://schemas.openxmlformats.org/officeDocument/2006/relationships/slideLayout" Target="../slideLayouts/slideLayout240.xml"/><Relationship Id="rId420" Type="http://schemas.openxmlformats.org/officeDocument/2006/relationships/slideLayout" Target="../slideLayouts/slideLayout426.xml"/><Relationship Id="rId2" Type="http://schemas.openxmlformats.org/officeDocument/2006/relationships/slideLayout" Target="../slideLayouts/slideLayout8.xml"/><Relationship Id="rId29" Type="http://schemas.openxmlformats.org/officeDocument/2006/relationships/slideLayout" Target="../slideLayouts/slideLayout35.xml"/><Relationship Id="rId255" Type="http://schemas.openxmlformats.org/officeDocument/2006/relationships/slideLayout" Target="../slideLayouts/slideLayout261.xml"/><Relationship Id="rId276" Type="http://schemas.openxmlformats.org/officeDocument/2006/relationships/slideLayout" Target="../slideLayouts/slideLayout282.xml"/><Relationship Id="rId29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46.xml"/><Relationship Id="rId115" Type="http://schemas.openxmlformats.org/officeDocument/2006/relationships/slideLayout" Target="../slideLayouts/slideLayout121.xml"/><Relationship Id="rId136" Type="http://schemas.openxmlformats.org/officeDocument/2006/relationships/slideLayout" Target="../slideLayouts/slideLayout142.xml"/><Relationship Id="rId157" Type="http://schemas.openxmlformats.org/officeDocument/2006/relationships/slideLayout" Target="../slideLayouts/slideLayout163.xml"/><Relationship Id="rId178" Type="http://schemas.openxmlformats.org/officeDocument/2006/relationships/slideLayout" Target="../slideLayouts/slideLayout184.xml"/><Relationship Id="rId301" Type="http://schemas.openxmlformats.org/officeDocument/2006/relationships/slideLayout" Target="../slideLayouts/slideLayout307.xml"/><Relationship Id="rId322" Type="http://schemas.openxmlformats.org/officeDocument/2006/relationships/slideLayout" Target="../slideLayouts/slideLayout328.xml"/><Relationship Id="rId343" Type="http://schemas.openxmlformats.org/officeDocument/2006/relationships/slideLayout" Target="../slideLayouts/slideLayout349.xml"/><Relationship Id="rId364" Type="http://schemas.openxmlformats.org/officeDocument/2006/relationships/slideLayout" Target="../slideLayouts/slideLayout370.xml"/><Relationship Id="rId61" Type="http://schemas.openxmlformats.org/officeDocument/2006/relationships/slideLayout" Target="../slideLayouts/slideLayout67.xml"/><Relationship Id="rId82" Type="http://schemas.openxmlformats.org/officeDocument/2006/relationships/slideLayout" Target="../slideLayouts/slideLayout88.xml"/><Relationship Id="rId199" Type="http://schemas.openxmlformats.org/officeDocument/2006/relationships/slideLayout" Target="../slideLayouts/slideLayout205.xml"/><Relationship Id="rId203" Type="http://schemas.openxmlformats.org/officeDocument/2006/relationships/slideLayout" Target="../slideLayouts/slideLayout209.xml"/><Relationship Id="rId385" Type="http://schemas.openxmlformats.org/officeDocument/2006/relationships/slideLayout" Target="../slideLayouts/slideLayout391.xml"/><Relationship Id="rId19" Type="http://schemas.openxmlformats.org/officeDocument/2006/relationships/slideLayout" Target="../slideLayouts/slideLayout25.xml"/><Relationship Id="rId224" Type="http://schemas.openxmlformats.org/officeDocument/2006/relationships/slideLayout" Target="../slideLayouts/slideLayout230.xml"/><Relationship Id="rId245" Type="http://schemas.openxmlformats.org/officeDocument/2006/relationships/slideLayout" Target="../slideLayouts/slideLayout251.xml"/><Relationship Id="rId266" Type="http://schemas.openxmlformats.org/officeDocument/2006/relationships/slideLayout" Target="../slideLayouts/slideLayout272.xml"/><Relationship Id="rId287" Type="http://schemas.openxmlformats.org/officeDocument/2006/relationships/slideLayout" Target="../slideLayouts/slideLayout293.xml"/><Relationship Id="rId410" Type="http://schemas.openxmlformats.org/officeDocument/2006/relationships/slideLayout" Target="../slideLayouts/slideLayout416.xml"/><Relationship Id="rId30" Type="http://schemas.openxmlformats.org/officeDocument/2006/relationships/slideLayout" Target="../slideLayouts/slideLayout36.xml"/><Relationship Id="rId105" Type="http://schemas.openxmlformats.org/officeDocument/2006/relationships/slideLayout" Target="../slideLayouts/slideLayout111.xml"/><Relationship Id="rId126" Type="http://schemas.openxmlformats.org/officeDocument/2006/relationships/slideLayout" Target="../slideLayouts/slideLayout132.xml"/><Relationship Id="rId147" Type="http://schemas.openxmlformats.org/officeDocument/2006/relationships/slideLayout" Target="../slideLayouts/slideLayout153.xml"/><Relationship Id="rId168" Type="http://schemas.openxmlformats.org/officeDocument/2006/relationships/slideLayout" Target="../slideLayouts/slideLayout174.xml"/><Relationship Id="rId312" Type="http://schemas.openxmlformats.org/officeDocument/2006/relationships/slideLayout" Target="../slideLayouts/slideLayout318.xml"/><Relationship Id="rId333" Type="http://schemas.openxmlformats.org/officeDocument/2006/relationships/slideLayout" Target="../slideLayouts/slideLayout339.xml"/><Relationship Id="rId354" Type="http://schemas.openxmlformats.org/officeDocument/2006/relationships/slideLayout" Target="../slideLayouts/slideLayout360.xml"/><Relationship Id="rId51" Type="http://schemas.openxmlformats.org/officeDocument/2006/relationships/slideLayout" Target="../slideLayouts/slideLayout57.xml"/><Relationship Id="rId72" Type="http://schemas.openxmlformats.org/officeDocument/2006/relationships/slideLayout" Target="../slideLayouts/slideLayout78.xml"/><Relationship Id="rId93" Type="http://schemas.openxmlformats.org/officeDocument/2006/relationships/slideLayout" Target="../slideLayouts/slideLayout99.xml"/><Relationship Id="rId189" Type="http://schemas.openxmlformats.org/officeDocument/2006/relationships/slideLayout" Target="../slideLayouts/slideLayout195.xml"/><Relationship Id="rId375" Type="http://schemas.openxmlformats.org/officeDocument/2006/relationships/slideLayout" Target="../slideLayouts/slideLayout381.xml"/><Relationship Id="rId396" Type="http://schemas.openxmlformats.org/officeDocument/2006/relationships/slideLayout" Target="../slideLayouts/slideLayout402.xml"/><Relationship Id="rId3" Type="http://schemas.openxmlformats.org/officeDocument/2006/relationships/slideLayout" Target="../slideLayouts/slideLayout9.xml"/><Relationship Id="rId214" Type="http://schemas.openxmlformats.org/officeDocument/2006/relationships/slideLayout" Target="../slideLayouts/slideLayout220.xml"/><Relationship Id="rId235" Type="http://schemas.openxmlformats.org/officeDocument/2006/relationships/slideLayout" Target="../slideLayouts/slideLayout241.xml"/><Relationship Id="rId256" Type="http://schemas.openxmlformats.org/officeDocument/2006/relationships/slideLayout" Target="../slideLayouts/slideLayout262.xml"/><Relationship Id="rId277" Type="http://schemas.openxmlformats.org/officeDocument/2006/relationships/slideLayout" Target="../slideLayouts/slideLayout283.xml"/><Relationship Id="rId298" Type="http://schemas.openxmlformats.org/officeDocument/2006/relationships/slideLayout" Target="../slideLayouts/slideLayout304.xml"/><Relationship Id="rId400" Type="http://schemas.openxmlformats.org/officeDocument/2006/relationships/slideLayout" Target="../slideLayouts/slideLayout406.xml"/><Relationship Id="rId421" Type="http://schemas.openxmlformats.org/officeDocument/2006/relationships/slideLayout" Target="../slideLayouts/slideLayout427.xml"/><Relationship Id="rId116" Type="http://schemas.openxmlformats.org/officeDocument/2006/relationships/slideLayout" Target="../slideLayouts/slideLayout122.xml"/><Relationship Id="rId137" Type="http://schemas.openxmlformats.org/officeDocument/2006/relationships/slideLayout" Target="../slideLayouts/slideLayout143.xml"/><Relationship Id="rId158" Type="http://schemas.openxmlformats.org/officeDocument/2006/relationships/slideLayout" Target="../slideLayouts/slideLayout164.xml"/><Relationship Id="rId302" Type="http://schemas.openxmlformats.org/officeDocument/2006/relationships/slideLayout" Target="../slideLayouts/slideLayout308.xml"/><Relationship Id="rId323" Type="http://schemas.openxmlformats.org/officeDocument/2006/relationships/slideLayout" Target="../slideLayouts/slideLayout329.xml"/><Relationship Id="rId344" Type="http://schemas.openxmlformats.org/officeDocument/2006/relationships/slideLayout" Target="../slideLayouts/slideLayout350.xml"/><Relationship Id="rId20" Type="http://schemas.openxmlformats.org/officeDocument/2006/relationships/slideLayout" Target="../slideLayouts/slideLayout26.xml"/><Relationship Id="rId41" Type="http://schemas.openxmlformats.org/officeDocument/2006/relationships/slideLayout" Target="../slideLayouts/slideLayout47.xml"/><Relationship Id="rId62" Type="http://schemas.openxmlformats.org/officeDocument/2006/relationships/slideLayout" Target="../slideLayouts/slideLayout68.xml"/><Relationship Id="rId83" Type="http://schemas.openxmlformats.org/officeDocument/2006/relationships/slideLayout" Target="../slideLayouts/slideLayout89.xml"/><Relationship Id="rId179" Type="http://schemas.openxmlformats.org/officeDocument/2006/relationships/slideLayout" Target="../slideLayouts/slideLayout185.xml"/><Relationship Id="rId365" Type="http://schemas.openxmlformats.org/officeDocument/2006/relationships/slideLayout" Target="../slideLayouts/slideLayout371.xml"/><Relationship Id="rId386" Type="http://schemas.openxmlformats.org/officeDocument/2006/relationships/slideLayout" Target="../slideLayouts/slideLayout392.xml"/><Relationship Id="rId190" Type="http://schemas.openxmlformats.org/officeDocument/2006/relationships/slideLayout" Target="../slideLayouts/slideLayout196.xml"/><Relationship Id="rId204" Type="http://schemas.openxmlformats.org/officeDocument/2006/relationships/slideLayout" Target="../slideLayouts/slideLayout210.xml"/><Relationship Id="rId225" Type="http://schemas.openxmlformats.org/officeDocument/2006/relationships/slideLayout" Target="../slideLayouts/slideLayout231.xml"/><Relationship Id="rId246" Type="http://schemas.openxmlformats.org/officeDocument/2006/relationships/slideLayout" Target="../slideLayouts/slideLayout252.xml"/><Relationship Id="rId267" Type="http://schemas.openxmlformats.org/officeDocument/2006/relationships/slideLayout" Target="../slideLayouts/slideLayout273.xml"/><Relationship Id="rId288" Type="http://schemas.openxmlformats.org/officeDocument/2006/relationships/slideLayout" Target="../slideLayouts/slideLayout294.xml"/><Relationship Id="rId411" Type="http://schemas.openxmlformats.org/officeDocument/2006/relationships/slideLayout" Target="../slideLayouts/slideLayout417.xml"/><Relationship Id="rId106" Type="http://schemas.openxmlformats.org/officeDocument/2006/relationships/slideLayout" Target="../slideLayouts/slideLayout112.xml"/><Relationship Id="rId127" Type="http://schemas.openxmlformats.org/officeDocument/2006/relationships/slideLayout" Target="../slideLayouts/slideLayout133.xml"/><Relationship Id="rId313" Type="http://schemas.openxmlformats.org/officeDocument/2006/relationships/slideLayout" Target="../slideLayouts/slideLayout319.xml"/><Relationship Id="rId10" Type="http://schemas.openxmlformats.org/officeDocument/2006/relationships/slideLayout" Target="../slideLayouts/slideLayout16.xml"/><Relationship Id="rId31" Type="http://schemas.openxmlformats.org/officeDocument/2006/relationships/slideLayout" Target="../slideLayouts/slideLayout37.xml"/><Relationship Id="rId52" Type="http://schemas.openxmlformats.org/officeDocument/2006/relationships/slideLayout" Target="../slideLayouts/slideLayout58.xml"/><Relationship Id="rId73" Type="http://schemas.openxmlformats.org/officeDocument/2006/relationships/slideLayout" Target="../slideLayouts/slideLayout79.xml"/><Relationship Id="rId94" Type="http://schemas.openxmlformats.org/officeDocument/2006/relationships/slideLayout" Target="../slideLayouts/slideLayout100.xml"/><Relationship Id="rId148" Type="http://schemas.openxmlformats.org/officeDocument/2006/relationships/slideLayout" Target="../slideLayouts/slideLayout154.xml"/><Relationship Id="rId169" Type="http://schemas.openxmlformats.org/officeDocument/2006/relationships/slideLayout" Target="../slideLayouts/slideLayout175.xml"/><Relationship Id="rId334" Type="http://schemas.openxmlformats.org/officeDocument/2006/relationships/slideLayout" Target="../slideLayouts/slideLayout340.xml"/><Relationship Id="rId355" Type="http://schemas.openxmlformats.org/officeDocument/2006/relationships/slideLayout" Target="../slideLayouts/slideLayout361.xml"/><Relationship Id="rId376" Type="http://schemas.openxmlformats.org/officeDocument/2006/relationships/slideLayout" Target="../slideLayouts/slideLayout382.xml"/><Relationship Id="rId397" Type="http://schemas.openxmlformats.org/officeDocument/2006/relationships/slideLayout" Target="../slideLayouts/slideLayout403.xml"/><Relationship Id="rId4" Type="http://schemas.openxmlformats.org/officeDocument/2006/relationships/slideLayout" Target="../slideLayouts/slideLayout10.xml"/><Relationship Id="rId180" Type="http://schemas.openxmlformats.org/officeDocument/2006/relationships/slideLayout" Target="../slideLayouts/slideLayout186.xml"/><Relationship Id="rId215" Type="http://schemas.openxmlformats.org/officeDocument/2006/relationships/slideLayout" Target="../slideLayouts/slideLayout221.xml"/><Relationship Id="rId236" Type="http://schemas.openxmlformats.org/officeDocument/2006/relationships/slideLayout" Target="../slideLayouts/slideLayout242.xml"/><Relationship Id="rId257" Type="http://schemas.openxmlformats.org/officeDocument/2006/relationships/slideLayout" Target="../slideLayouts/slideLayout263.xml"/><Relationship Id="rId278" Type="http://schemas.openxmlformats.org/officeDocument/2006/relationships/slideLayout" Target="../slideLayouts/slideLayout284.xml"/><Relationship Id="rId401" Type="http://schemas.openxmlformats.org/officeDocument/2006/relationships/slideLayout" Target="../slideLayouts/slideLayout407.xml"/><Relationship Id="rId422" Type="http://schemas.openxmlformats.org/officeDocument/2006/relationships/slideLayout" Target="../slideLayouts/slideLayout428.xml"/><Relationship Id="rId303" Type="http://schemas.openxmlformats.org/officeDocument/2006/relationships/slideLayout" Target="../slideLayouts/slideLayout309.xml"/><Relationship Id="rId42" Type="http://schemas.openxmlformats.org/officeDocument/2006/relationships/slideLayout" Target="../slideLayouts/slideLayout48.xml"/><Relationship Id="rId84" Type="http://schemas.openxmlformats.org/officeDocument/2006/relationships/slideLayout" Target="../slideLayouts/slideLayout90.xml"/><Relationship Id="rId138" Type="http://schemas.openxmlformats.org/officeDocument/2006/relationships/slideLayout" Target="../slideLayouts/slideLayout144.xml"/><Relationship Id="rId345" Type="http://schemas.openxmlformats.org/officeDocument/2006/relationships/slideLayout" Target="../slideLayouts/slideLayout351.xml"/><Relationship Id="rId387" Type="http://schemas.openxmlformats.org/officeDocument/2006/relationships/slideLayout" Target="../slideLayouts/slideLayout393.xml"/><Relationship Id="rId191" Type="http://schemas.openxmlformats.org/officeDocument/2006/relationships/slideLayout" Target="../slideLayouts/slideLayout197.xml"/><Relationship Id="rId205" Type="http://schemas.openxmlformats.org/officeDocument/2006/relationships/slideLayout" Target="../slideLayouts/slideLayout211.xml"/><Relationship Id="rId247" Type="http://schemas.openxmlformats.org/officeDocument/2006/relationships/slideLayout" Target="../slideLayouts/slideLayout253.xml"/><Relationship Id="rId412" Type="http://schemas.openxmlformats.org/officeDocument/2006/relationships/slideLayout" Target="../slideLayouts/slideLayout418.xml"/><Relationship Id="rId107" Type="http://schemas.openxmlformats.org/officeDocument/2006/relationships/slideLayout" Target="../slideLayouts/slideLayout113.xml"/><Relationship Id="rId289" Type="http://schemas.openxmlformats.org/officeDocument/2006/relationships/slideLayout" Target="../slideLayouts/slideLayout295.xml"/><Relationship Id="rId11" Type="http://schemas.openxmlformats.org/officeDocument/2006/relationships/slideLayout" Target="../slideLayouts/slideLayout17.xml"/><Relationship Id="rId53" Type="http://schemas.openxmlformats.org/officeDocument/2006/relationships/slideLayout" Target="../slideLayouts/slideLayout59.xml"/><Relationship Id="rId149" Type="http://schemas.openxmlformats.org/officeDocument/2006/relationships/slideLayout" Target="../slideLayouts/slideLayout155.xml"/><Relationship Id="rId314" Type="http://schemas.openxmlformats.org/officeDocument/2006/relationships/slideLayout" Target="../slideLayouts/slideLayout320.xml"/><Relationship Id="rId356" Type="http://schemas.openxmlformats.org/officeDocument/2006/relationships/slideLayout" Target="../slideLayouts/slideLayout362.xml"/><Relationship Id="rId398" Type="http://schemas.openxmlformats.org/officeDocument/2006/relationships/slideLayout" Target="../slideLayouts/slideLayout404.xml"/><Relationship Id="rId95" Type="http://schemas.openxmlformats.org/officeDocument/2006/relationships/slideLayout" Target="../slideLayouts/slideLayout101.xml"/><Relationship Id="rId160" Type="http://schemas.openxmlformats.org/officeDocument/2006/relationships/slideLayout" Target="../slideLayouts/slideLayout166.xml"/><Relationship Id="rId216" Type="http://schemas.openxmlformats.org/officeDocument/2006/relationships/slideLayout" Target="../slideLayouts/slideLayout222.xml"/><Relationship Id="rId423" Type="http://schemas.openxmlformats.org/officeDocument/2006/relationships/slideLayout" Target="../slideLayouts/slideLayout429.xml"/><Relationship Id="rId258" Type="http://schemas.openxmlformats.org/officeDocument/2006/relationships/slideLayout" Target="../slideLayouts/slideLayout264.xml"/><Relationship Id="rId22" Type="http://schemas.openxmlformats.org/officeDocument/2006/relationships/slideLayout" Target="../slideLayouts/slideLayout28.xml"/><Relationship Id="rId64" Type="http://schemas.openxmlformats.org/officeDocument/2006/relationships/slideLayout" Target="../slideLayouts/slideLayout70.xml"/><Relationship Id="rId118" Type="http://schemas.openxmlformats.org/officeDocument/2006/relationships/slideLayout" Target="../slideLayouts/slideLayout124.xml"/><Relationship Id="rId325" Type="http://schemas.openxmlformats.org/officeDocument/2006/relationships/slideLayout" Target="../slideLayouts/slideLayout331.xml"/><Relationship Id="rId367" Type="http://schemas.openxmlformats.org/officeDocument/2006/relationships/slideLayout" Target="../slideLayouts/slideLayout373.xml"/><Relationship Id="rId171" Type="http://schemas.openxmlformats.org/officeDocument/2006/relationships/slideLayout" Target="../slideLayouts/slideLayout177.xml"/><Relationship Id="rId227" Type="http://schemas.openxmlformats.org/officeDocument/2006/relationships/slideLayout" Target="../slideLayouts/slideLayout233.xml"/><Relationship Id="rId269" Type="http://schemas.openxmlformats.org/officeDocument/2006/relationships/slideLayout" Target="../slideLayouts/slideLayout275.xml"/><Relationship Id="rId33" Type="http://schemas.openxmlformats.org/officeDocument/2006/relationships/slideLayout" Target="../slideLayouts/slideLayout39.xml"/><Relationship Id="rId129" Type="http://schemas.openxmlformats.org/officeDocument/2006/relationships/slideLayout" Target="../slideLayouts/slideLayout135.xml"/><Relationship Id="rId280" Type="http://schemas.openxmlformats.org/officeDocument/2006/relationships/slideLayout" Target="../slideLayouts/slideLayout286.xml"/><Relationship Id="rId336" Type="http://schemas.openxmlformats.org/officeDocument/2006/relationships/slideLayout" Target="../slideLayouts/slideLayout342.xml"/><Relationship Id="rId75" Type="http://schemas.openxmlformats.org/officeDocument/2006/relationships/slideLayout" Target="../slideLayouts/slideLayout81.xml"/><Relationship Id="rId140" Type="http://schemas.openxmlformats.org/officeDocument/2006/relationships/slideLayout" Target="../slideLayouts/slideLayout146.xml"/><Relationship Id="rId182" Type="http://schemas.openxmlformats.org/officeDocument/2006/relationships/slideLayout" Target="../slideLayouts/slideLayout188.xml"/><Relationship Id="rId378" Type="http://schemas.openxmlformats.org/officeDocument/2006/relationships/slideLayout" Target="../slideLayouts/slideLayout384.xml"/><Relationship Id="rId403" Type="http://schemas.openxmlformats.org/officeDocument/2006/relationships/slideLayout" Target="../slideLayouts/slideLayout409.xml"/><Relationship Id="rId6" Type="http://schemas.openxmlformats.org/officeDocument/2006/relationships/slideLayout" Target="../slideLayouts/slideLayout12.xml"/><Relationship Id="rId238" Type="http://schemas.openxmlformats.org/officeDocument/2006/relationships/slideLayout" Target="../slideLayouts/slideLayout244.xml"/><Relationship Id="rId291" Type="http://schemas.openxmlformats.org/officeDocument/2006/relationships/slideLayout" Target="../slideLayouts/slideLayout297.xml"/><Relationship Id="rId305" Type="http://schemas.openxmlformats.org/officeDocument/2006/relationships/slideLayout" Target="../slideLayouts/slideLayout311.xml"/><Relationship Id="rId347" Type="http://schemas.openxmlformats.org/officeDocument/2006/relationships/slideLayout" Target="../slideLayouts/slideLayout353.xml"/><Relationship Id="rId44" Type="http://schemas.openxmlformats.org/officeDocument/2006/relationships/slideLayout" Target="../slideLayouts/slideLayout50.xml"/><Relationship Id="rId86" Type="http://schemas.openxmlformats.org/officeDocument/2006/relationships/slideLayout" Target="../slideLayouts/slideLayout92.xml"/><Relationship Id="rId151" Type="http://schemas.openxmlformats.org/officeDocument/2006/relationships/slideLayout" Target="../slideLayouts/slideLayout157.xml"/><Relationship Id="rId389" Type="http://schemas.openxmlformats.org/officeDocument/2006/relationships/slideLayout" Target="../slideLayouts/slideLayout395.xml"/><Relationship Id="rId193" Type="http://schemas.openxmlformats.org/officeDocument/2006/relationships/slideLayout" Target="../slideLayouts/slideLayout199.xml"/><Relationship Id="rId207" Type="http://schemas.openxmlformats.org/officeDocument/2006/relationships/slideLayout" Target="../slideLayouts/slideLayout213.xml"/><Relationship Id="rId249" Type="http://schemas.openxmlformats.org/officeDocument/2006/relationships/slideLayout" Target="../slideLayouts/slideLayout255.xml"/><Relationship Id="rId414" Type="http://schemas.openxmlformats.org/officeDocument/2006/relationships/slideLayout" Target="../slideLayouts/slideLayout420.xml"/><Relationship Id="rId13" Type="http://schemas.openxmlformats.org/officeDocument/2006/relationships/slideLayout" Target="../slideLayouts/slideLayout19.xml"/><Relationship Id="rId109" Type="http://schemas.openxmlformats.org/officeDocument/2006/relationships/slideLayout" Target="../slideLayouts/slideLayout115.xml"/><Relationship Id="rId260" Type="http://schemas.openxmlformats.org/officeDocument/2006/relationships/slideLayout" Target="../slideLayouts/slideLayout266.xml"/><Relationship Id="rId316" Type="http://schemas.openxmlformats.org/officeDocument/2006/relationships/slideLayout" Target="../slideLayouts/slideLayout322.xml"/><Relationship Id="rId55" Type="http://schemas.openxmlformats.org/officeDocument/2006/relationships/slideLayout" Target="../slideLayouts/slideLayout61.xml"/><Relationship Id="rId97" Type="http://schemas.openxmlformats.org/officeDocument/2006/relationships/slideLayout" Target="../slideLayouts/slideLayout103.xml"/><Relationship Id="rId120" Type="http://schemas.openxmlformats.org/officeDocument/2006/relationships/slideLayout" Target="../slideLayouts/slideLayout126.xml"/><Relationship Id="rId358" Type="http://schemas.openxmlformats.org/officeDocument/2006/relationships/slideLayout" Target="../slideLayouts/slideLayout364.xml"/><Relationship Id="rId162" Type="http://schemas.openxmlformats.org/officeDocument/2006/relationships/slideLayout" Target="../slideLayouts/slideLayout168.xml"/><Relationship Id="rId218" Type="http://schemas.openxmlformats.org/officeDocument/2006/relationships/slideLayout" Target="../slideLayouts/slideLayout224.xml"/><Relationship Id="rId425" Type="http://schemas.openxmlformats.org/officeDocument/2006/relationships/slideLayout" Target="../slideLayouts/slideLayout431.xml"/><Relationship Id="rId27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30.xml"/><Relationship Id="rId66" Type="http://schemas.openxmlformats.org/officeDocument/2006/relationships/slideLayout" Target="../slideLayouts/slideLayout72.xml"/><Relationship Id="rId131" Type="http://schemas.openxmlformats.org/officeDocument/2006/relationships/slideLayout" Target="../slideLayouts/slideLayout137.xml"/><Relationship Id="rId327" Type="http://schemas.openxmlformats.org/officeDocument/2006/relationships/slideLayout" Target="../slideLayouts/slideLayout333.xml"/><Relationship Id="rId369" Type="http://schemas.openxmlformats.org/officeDocument/2006/relationships/slideLayout" Target="../slideLayouts/slideLayout375.xml"/><Relationship Id="rId173" Type="http://schemas.openxmlformats.org/officeDocument/2006/relationships/slideLayout" Target="../slideLayouts/slideLayout179.xml"/><Relationship Id="rId229" Type="http://schemas.openxmlformats.org/officeDocument/2006/relationships/slideLayout" Target="../slideLayouts/slideLayout235.xml"/><Relationship Id="rId380" Type="http://schemas.openxmlformats.org/officeDocument/2006/relationships/slideLayout" Target="../slideLayouts/slideLayout386.xml"/><Relationship Id="rId240" Type="http://schemas.openxmlformats.org/officeDocument/2006/relationships/slideLayout" Target="../slideLayouts/slideLayout246.xml"/><Relationship Id="rId35" Type="http://schemas.openxmlformats.org/officeDocument/2006/relationships/slideLayout" Target="../slideLayouts/slideLayout41.xml"/><Relationship Id="rId77" Type="http://schemas.openxmlformats.org/officeDocument/2006/relationships/slideLayout" Target="../slideLayouts/slideLayout83.xml"/><Relationship Id="rId100" Type="http://schemas.openxmlformats.org/officeDocument/2006/relationships/slideLayout" Target="../slideLayouts/slideLayout106.xml"/><Relationship Id="rId282" Type="http://schemas.openxmlformats.org/officeDocument/2006/relationships/slideLayout" Target="../slideLayouts/slideLayout288.xml"/><Relationship Id="rId338" Type="http://schemas.openxmlformats.org/officeDocument/2006/relationships/slideLayout" Target="../slideLayouts/slideLayout344.xml"/><Relationship Id="rId8" Type="http://schemas.openxmlformats.org/officeDocument/2006/relationships/slideLayout" Target="../slideLayouts/slideLayout14.xml"/><Relationship Id="rId142" Type="http://schemas.openxmlformats.org/officeDocument/2006/relationships/slideLayout" Target="../slideLayouts/slideLayout148.xml"/><Relationship Id="rId184" Type="http://schemas.openxmlformats.org/officeDocument/2006/relationships/slideLayout" Target="../slideLayouts/slideLayout190.xml"/><Relationship Id="rId391" Type="http://schemas.openxmlformats.org/officeDocument/2006/relationships/slideLayout" Target="../slideLayouts/slideLayout397.xml"/><Relationship Id="rId405" Type="http://schemas.openxmlformats.org/officeDocument/2006/relationships/slideLayout" Target="../slideLayouts/slideLayout411.xml"/><Relationship Id="rId251" Type="http://schemas.openxmlformats.org/officeDocument/2006/relationships/slideLayout" Target="../slideLayouts/slideLayout257.xml"/><Relationship Id="rId46" Type="http://schemas.openxmlformats.org/officeDocument/2006/relationships/slideLayout" Target="../slideLayouts/slideLayout52.xml"/><Relationship Id="rId293" Type="http://schemas.openxmlformats.org/officeDocument/2006/relationships/slideLayout" Target="../slideLayouts/slideLayout299.xml"/><Relationship Id="rId307" Type="http://schemas.openxmlformats.org/officeDocument/2006/relationships/slideLayout" Target="../slideLayouts/slideLayout313.xml"/><Relationship Id="rId349" Type="http://schemas.openxmlformats.org/officeDocument/2006/relationships/slideLayout" Target="../slideLayouts/slideLayout355.xml"/><Relationship Id="rId88" Type="http://schemas.openxmlformats.org/officeDocument/2006/relationships/slideLayout" Target="../slideLayouts/slideLayout94.xml"/><Relationship Id="rId111" Type="http://schemas.openxmlformats.org/officeDocument/2006/relationships/slideLayout" Target="../slideLayouts/slideLayout117.xml"/><Relationship Id="rId153" Type="http://schemas.openxmlformats.org/officeDocument/2006/relationships/slideLayout" Target="../slideLayouts/slideLayout159.xml"/><Relationship Id="rId195" Type="http://schemas.openxmlformats.org/officeDocument/2006/relationships/slideLayout" Target="../slideLayouts/slideLayout201.xml"/><Relationship Id="rId209" Type="http://schemas.openxmlformats.org/officeDocument/2006/relationships/slideLayout" Target="../slideLayouts/slideLayout215.xml"/><Relationship Id="rId360" Type="http://schemas.openxmlformats.org/officeDocument/2006/relationships/slideLayout" Target="../slideLayouts/slideLayout366.xml"/><Relationship Id="rId416" Type="http://schemas.openxmlformats.org/officeDocument/2006/relationships/slideLayout" Target="../slideLayouts/slideLayout422.xml"/><Relationship Id="rId220" Type="http://schemas.openxmlformats.org/officeDocument/2006/relationships/slideLayout" Target="../slideLayouts/slideLayout226.xml"/><Relationship Id="rId15" Type="http://schemas.openxmlformats.org/officeDocument/2006/relationships/slideLayout" Target="../slideLayouts/slideLayout21.xml"/><Relationship Id="rId57" Type="http://schemas.openxmlformats.org/officeDocument/2006/relationships/slideLayout" Target="../slideLayouts/slideLayout63.xml"/><Relationship Id="rId262" Type="http://schemas.openxmlformats.org/officeDocument/2006/relationships/slideLayout" Target="../slideLayouts/slideLayout268.xml"/><Relationship Id="rId318" Type="http://schemas.openxmlformats.org/officeDocument/2006/relationships/slideLayout" Target="../slideLayouts/slideLayout324.xml"/><Relationship Id="rId99" Type="http://schemas.openxmlformats.org/officeDocument/2006/relationships/slideLayout" Target="../slideLayouts/slideLayout105.xml"/><Relationship Id="rId122" Type="http://schemas.openxmlformats.org/officeDocument/2006/relationships/slideLayout" Target="../slideLayouts/slideLayout128.xml"/><Relationship Id="rId164" Type="http://schemas.openxmlformats.org/officeDocument/2006/relationships/slideLayout" Target="../slideLayouts/slideLayout170.xml"/><Relationship Id="rId371" Type="http://schemas.openxmlformats.org/officeDocument/2006/relationships/slideLayout" Target="../slideLayouts/slideLayout377.xml"/><Relationship Id="rId427" Type="http://schemas.openxmlformats.org/officeDocument/2006/relationships/slideLayout" Target="../slideLayouts/slideLayout433.xml"/><Relationship Id="rId26" Type="http://schemas.openxmlformats.org/officeDocument/2006/relationships/slideLayout" Target="../slideLayouts/slideLayout32.xml"/><Relationship Id="rId231" Type="http://schemas.openxmlformats.org/officeDocument/2006/relationships/slideLayout" Target="../slideLayouts/slideLayout237.xml"/><Relationship Id="rId273" Type="http://schemas.openxmlformats.org/officeDocument/2006/relationships/slideLayout" Target="../slideLayouts/slideLayout279.xml"/><Relationship Id="rId329" Type="http://schemas.openxmlformats.org/officeDocument/2006/relationships/slideLayout" Target="../slideLayouts/slideLayout335.xml"/><Relationship Id="rId68" Type="http://schemas.openxmlformats.org/officeDocument/2006/relationships/slideLayout" Target="../slideLayouts/slideLayout74.xml"/><Relationship Id="rId133" Type="http://schemas.openxmlformats.org/officeDocument/2006/relationships/slideLayout" Target="../slideLayouts/slideLayout139.xml"/><Relationship Id="rId175" Type="http://schemas.openxmlformats.org/officeDocument/2006/relationships/slideLayout" Target="../slideLayouts/slideLayout181.xml"/><Relationship Id="rId340" Type="http://schemas.openxmlformats.org/officeDocument/2006/relationships/slideLayout" Target="../slideLayouts/slideLayout346.xml"/><Relationship Id="rId200" Type="http://schemas.openxmlformats.org/officeDocument/2006/relationships/slideLayout" Target="../slideLayouts/slideLayout206.xml"/><Relationship Id="rId382" Type="http://schemas.openxmlformats.org/officeDocument/2006/relationships/slideLayout" Target="../slideLayouts/slideLayout388.xml"/><Relationship Id="rId242" Type="http://schemas.openxmlformats.org/officeDocument/2006/relationships/slideLayout" Target="../slideLayouts/slideLayout248.xml"/><Relationship Id="rId284" Type="http://schemas.openxmlformats.org/officeDocument/2006/relationships/slideLayout" Target="../slideLayouts/slideLayout290.xml"/><Relationship Id="rId37" Type="http://schemas.openxmlformats.org/officeDocument/2006/relationships/slideLayout" Target="../slideLayouts/slideLayout43.xml"/><Relationship Id="rId79" Type="http://schemas.openxmlformats.org/officeDocument/2006/relationships/slideLayout" Target="../slideLayouts/slideLayout85.xml"/><Relationship Id="rId102" Type="http://schemas.openxmlformats.org/officeDocument/2006/relationships/slideLayout" Target="../slideLayouts/slideLayout108.xml"/><Relationship Id="rId144" Type="http://schemas.openxmlformats.org/officeDocument/2006/relationships/slideLayout" Target="../slideLayouts/slideLayout150.xml"/><Relationship Id="rId90" Type="http://schemas.openxmlformats.org/officeDocument/2006/relationships/slideLayout" Target="../slideLayouts/slideLayout96.xml"/><Relationship Id="rId186" Type="http://schemas.openxmlformats.org/officeDocument/2006/relationships/slideLayout" Target="../slideLayouts/slideLayout192.xml"/><Relationship Id="rId351" Type="http://schemas.openxmlformats.org/officeDocument/2006/relationships/slideLayout" Target="../slideLayouts/slideLayout357.xml"/><Relationship Id="rId393" Type="http://schemas.openxmlformats.org/officeDocument/2006/relationships/slideLayout" Target="../slideLayouts/slideLayout399.xml"/><Relationship Id="rId407" Type="http://schemas.openxmlformats.org/officeDocument/2006/relationships/slideLayout" Target="../slideLayouts/slideLayout413.xml"/><Relationship Id="rId211" Type="http://schemas.openxmlformats.org/officeDocument/2006/relationships/slideLayout" Target="../slideLayouts/slideLayout217.xml"/><Relationship Id="rId253" Type="http://schemas.openxmlformats.org/officeDocument/2006/relationships/slideLayout" Target="../slideLayouts/slideLayout259.xml"/><Relationship Id="rId295" Type="http://schemas.openxmlformats.org/officeDocument/2006/relationships/slideLayout" Target="../slideLayouts/slideLayout301.xml"/><Relationship Id="rId309" Type="http://schemas.openxmlformats.org/officeDocument/2006/relationships/slideLayout" Target="../slideLayouts/slideLayout315.xml"/><Relationship Id="rId48" Type="http://schemas.openxmlformats.org/officeDocument/2006/relationships/slideLayout" Target="../slideLayouts/slideLayout54.xml"/><Relationship Id="rId113" Type="http://schemas.openxmlformats.org/officeDocument/2006/relationships/slideLayout" Target="../slideLayouts/slideLayout119.xml"/><Relationship Id="rId320" Type="http://schemas.openxmlformats.org/officeDocument/2006/relationships/slideLayout" Target="../slideLayouts/slideLayout326.xml"/><Relationship Id="rId155" Type="http://schemas.openxmlformats.org/officeDocument/2006/relationships/slideLayout" Target="../slideLayouts/slideLayout161.xml"/><Relationship Id="rId197" Type="http://schemas.openxmlformats.org/officeDocument/2006/relationships/slideLayout" Target="../slideLayouts/slideLayout203.xml"/><Relationship Id="rId362" Type="http://schemas.openxmlformats.org/officeDocument/2006/relationships/slideLayout" Target="../slideLayouts/slideLayout368.xml"/><Relationship Id="rId418" Type="http://schemas.openxmlformats.org/officeDocument/2006/relationships/slideLayout" Target="../slideLayouts/slideLayout424.xml"/><Relationship Id="rId222" Type="http://schemas.openxmlformats.org/officeDocument/2006/relationships/slideLayout" Target="../slideLayouts/slideLayout228.xml"/><Relationship Id="rId264" Type="http://schemas.openxmlformats.org/officeDocument/2006/relationships/slideLayout" Target="../slideLayouts/slideLayout270.xml"/><Relationship Id="rId17" Type="http://schemas.openxmlformats.org/officeDocument/2006/relationships/slideLayout" Target="../slideLayouts/slideLayout23.xml"/><Relationship Id="rId59" Type="http://schemas.openxmlformats.org/officeDocument/2006/relationships/slideLayout" Target="../slideLayouts/slideLayout65.xml"/><Relationship Id="rId124" Type="http://schemas.openxmlformats.org/officeDocument/2006/relationships/slideLayout" Target="../slideLayouts/slideLayout130.xml"/><Relationship Id="rId70" Type="http://schemas.openxmlformats.org/officeDocument/2006/relationships/slideLayout" Target="../slideLayouts/slideLayout76.xml"/><Relationship Id="rId166" Type="http://schemas.openxmlformats.org/officeDocument/2006/relationships/slideLayout" Target="../slideLayouts/slideLayout172.xml"/><Relationship Id="rId331" Type="http://schemas.openxmlformats.org/officeDocument/2006/relationships/slideLayout" Target="../slideLayouts/slideLayout337.xml"/><Relationship Id="rId373" Type="http://schemas.openxmlformats.org/officeDocument/2006/relationships/slideLayout" Target="../slideLayouts/slideLayout379.xml"/><Relationship Id="rId429" Type="http://schemas.openxmlformats.org/officeDocument/2006/relationships/slideLayout" Target="../slideLayouts/slideLayout435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552.xml"/><Relationship Id="rId299" Type="http://schemas.openxmlformats.org/officeDocument/2006/relationships/slideLayout" Target="../slideLayouts/slideLayout734.xml"/><Relationship Id="rId21" Type="http://schemas.openxmlformats.org/officeDocument/2006/relationships/slideLayout" Target="../slideLayouts/slideLayout456.xml"/><Relationship Id="rId63" Type="http://schemas.openxmlformats.org/officeDocument/2006/relationships/slideLayout" Target="../slideLayouts/slideLayout498.xml"/><Relationship Id="rId159" Type="http://schemas.openxmlformats.org/officeDocument/2006/relationships/slideLayout" Target="../slideLayouts/slideLayout594.xml"/><Relationship Id="rId324" Type="http://schemas.openxmlformats.org/officeDocument/2006/relationships/slideLayout" Target="../slideLayouts/slideLayout759.xml"/><Relationship Id="rId366" Type="http://schemas.openxmlformats.org/officeDocument/2006/relationships/slideLayout" Target="../slideLayouts/slideLayout801.xml"/><Relationship Id="rId170" Type="http://schemas.openxmlformats.org/officeDocument/2006/relationships/slideLayout" Target="../slideLayouts/slideLayout605.xml"/><Relationship Id="rId226" Type="http://schemas.openxmlformats.org/officeDocument/2006/relationships/slideLayout" Target="../slideLayouts/slideLayout661.xml"/><Relationship Id="rId433" Type="http://schemas.openxmlformats.org/officeDocument/2006/relationships/slideLayout" Target="../slideLayouts/slideLayout868.xml"/><Relationship Id="rId268" Type="http://schemas.openxmlformats.org/officeDocument/2006/relationships/slideLayout" Target="../slideLayouts/slideLayout703.xml"/><Relationship Id="rId32" Type="http://schemas.openxmlformats.org/officeDocument/2006/relationships/slideLayout" Target="../slideLayouts/slideLayout467.xml"/><Relationship Id="rId74" Type="http://schemas.openxmlformats.org/officeDocument/2006/relationships/slideLayout" Target="../slideLayouts/slideLayout509.xml"/><Relationship Id="rId128" Type="http://schemas.openxmlformats.org/officeDocument/2006/relationships/slideLayout" Target="../slideLayouts/slideLayout563.xml"/><Relationship Id="rId335" Type="http://schemas.openxmlformats.org/officeDocument/2006/relationships/slideLayout" Target="../slideLayouts/slideLayout770.xml"/><Relationship Id="rId377" Type="http://schemas.openxmlformats.org/officeDocument/2006/relationships/slideLayout" Target="../slideLayouts/slideLayout812.xml"/><Relationship Id="rId5" Type="http://schemas.openxmlformats.org/officeDocument/2006/relationships/slideLayout" Target="../slideLayouts/slideLayout440.xml"/><Relationship Id="rId181" Type="http://schemas.openxmlformats.org/officeDocument/2006/relationships/slideLayout" Target="../slideLayouts/slideLayout616.xml"/><Relationship Id="rId237" Type="http://schemas.openxmlformats.org/officeDocument/2006/relationships/slideLayout" Target="../slideLayouts/slideLayout672.xml"/><Relationship Id="rId402" Type="http://schemas.openxmlformats.org/officeDocument/2006/relationships/slideLayout" Target="../slideLayouts/slideLayout837.xml"/><Relationship Id="rId279" Type="http://schemas.openxmlformats.org/officeDocument/2006/relationships/slideLayout" Target="../slideLayouts/slideLayout714.xml"/><Relationship Id="rId43" Type="http://schemas.openxmlformats.org/officeDocument/2006/relationships/slideLayout" Target="../slideLayouts/slideLayout478.xml"/><Relationship Id="rId139" Type="http://schemas.openxmlformats.org/officeDocument/2006/relationships/slideLayout" Target="../slideLayouts/slideLayout574.xml"/><Relationship Id="rId290" Type="http://schemas.openxmlformats.org/officeDocument/2006/relationships/slideLayout" Target="../slideLayouts/slideLayout725.xml"/><Relationship Id="rId304" Type="http://schemas.openxmlformats.org/officeDocument/2006/relationships/slideLayout" Target="../slideLayouts/slideLayout739.xml"/><Relationship Id="rId346" Type="http://schemas.openxmlformats.org/officeDocument/2006/relationships/slideLayout" Target="../slideLayouts/slideLayout781.xml"/><Relationship Id="rId388" Type="http://schemas.openxmlformats.org/officeDocument/2006/relationships/slideLayout" Target="../slideLayouts/slideLayout823.xml"/><Relationship Id="rId85" Type="http://schemas.openxmlformats.org/officeDocument/2006/relationships/slideLayout" Target="../slideLayouts/slideLayout520.xml"/><Relationship Id="rId150" Type="http://schemas.openxmlformats.org/officeDocument/2006/relationships/slideLayout" Target="../slideLayouts/slideLayout585.xml"/><Relationship Id="rId192" Type="http://schemas.openxmlformats.org/officeDocument/2006/relationships/slideLayout" Target="../slideLayouts/slideLayout627.xml"/><Relationship Id="rId206" Type="http://schemas.openxmlformats.org/officeDocument/2006/relationships/slideLayout" Target="../slideLayouts/slideLayout641.xml"/><Relationship Id="rId413" Type="http://schemas.openxmlformats.org/officeDocument/2006/relationships/slideLayout" Target="../slideLayouts/slideLayout848.xml"/><Relationship Id="rId248" Type="http://schemas.openxmlformats.org/officeDocument/2006/relationships/slideLayout" Target="../slideLayouts/slideLayout683.xml"/><Relationship Id="rId12" Type="http://schemas.openxmlformats.org/officeDocument/2006/relationships/slideLayout" Target="../slideLayouts/slideLayout447.xml"/><Relationship Id="rId108" Type="http://schemas.openxmlformats.org/officeDocument/2006/relationships/slideLayout" Target="../slideLayouts/slideLayout543.xml"/><Relationship Id="rId315" Type="http://schemas.openxmlformats.org/officeDocument/2006/relationships/slideLayout" Target="../slideLayouts/slideLayout750.xml"/><Relationship Id="rId357" Type="http://schemas.openxmlformats.org/officeDocument/2006/relationships/slideLayout" Target="../slideLayouts/slideLayout792.xml"/><Relationship Id="rId54" Type="http://schemas.openxmlformats.org/officeDocument/2006/relationships/slideLayout" Target="../slideLayouts/slideLayout489.xml"/><Relationship Id="rId96" Type="http://schemas.openxmlformats.org/officeDocument/2006/relationships/slideLayout" Target="../slideLayouts/slideLayout531.xml"/><Relationship Id="rId161" Type="http://schemas.openxmlformats.org/officeDocument/2006/relationships/slideLayout" Target="../slideLayouts/slideLayout596.xml"/><Relationship Id="rId217" Type="http://schemas.openxmlformats.org/officeDocument/2006/relationships/slideLayout" Target="../slideLayouts/slideLayout652.xml"/><Relationship Id="rId399" Type="http://schemas.openxmlformats.org/officeDocument/2006/relationships/slideLayout" Target="../slideLayouts/slideLayout834.xml"/><Relationship Id="rId259" Type="http://schemas.openxmlformats.org/officeDocument/2006/relationships/slideLayout" Target="../slideLayouts/slideLayout694.xml"/><Relationship Id="rId424" Type="http://schemas.openxmlformats.org/officeDocument/2006/relationships/slideLayout" Target="../slideLayouts/slideLayout859.xml"/><Relationship Id="rId23" Type="http://schemas.openxmlformats.org/officeDocument/2006/relationships/slideLayout" Target="../slideLayouts/slideLayout458.xml"/><Relationship Id="rId119" Type="http://schemas.openxmlformats.org/officeDocument/2006/relationships/slideLayout" Target="../slideLayouts/slideLayout554.xml"/><Relationship Id="rId270" Type="http://schemas.openxmlformats.org/officeDocument/2006/relationships/slideLayout" Target="../slideLayouts/slideLayout705.xml"/><Relationship Id="rId326" Type="http://schemas.openxmlformats.org/officeDocument/2006/relationships/slideLayout" Target="../slideLayouts/slideLayout761.xml"/><Relationship Id="rId65" Type="http://schemas.openxmlformats.org/officeDocument/2006/relationships/slideLayout" Target="../slideLayouts/slideLayout500.xml"/><Relationship Id="rId130" Type="http://schemas.openxmlformats.org/officeDocument/2006/relationships/slideLayout" Target="../slideLayouts/slideLayout565.xml"/><Relationship Id="rId368" Type="http://schemas.openxmlformats.org/officeDocument/2006/relationships/slideLayout" Target="../slideLayouts/slideLayout803.xml"/><Relationship Id="rId172" Type="http://schemas.openxmlformats.org/officeDocument/2006/relationships/slideLayout" Target="../slideLayouts/slideLayout607.xml"/><Relationship Id="rId228" Type="http://schemas.openxmlformats.org/officeDocument/2006/relationships/slideLayout" Target="../slideLayouts/slideLayout663.xml"/><Relationship Id="rId435" Type="http://schemas.openxmlformats.org/officeDocument/2006/relationships/slideLayout" Target="../slideLayouts/slideLayout870.xml"/><Relationship Id="rId281" Type="http://schemas.openxmlformats.org/officeDocument/2006/relationships/slideLayout" Target="../slideLayouts/slideLayout716.xml"/><Relationship Id="rId337" Type="http://schemas.openxmlformats.org/officeDocument/2006/relationships/slideLayout" Target="../slideLayouts/slideLayout772.xml"/><Relationship Id="rId34" Type="http://schemas.openxmlformats.org/officeDocument/2006/relationships/slideLayout" Target="../slideLayouts/slideLayout469.xml"/><Relationship Id="rId76" Type="http://schemas.openxmlformats.org/officeDocument/2006/relationships/slideLayout" Target="../slideLayouts/slideLayout511.xml"/><Relationship Id="rId141" Type="http://schemas.openxmlformats.org/officeDocument/2006/relationships/slideLayout" Target="../slideLayouts/slideLayout576.xml"/><Relationship Id="rId379" Type="http://schemas.openxmlformats.org/officeDocument/2006/relationships/slideLayout" Target="../slideLayouts/slideLayout814.xml"/><Relationship Id="rId7" Type="http://schemas.openxmlformats.org/officeDocument/2006/relationships/slideLayout" Target="../slideLayouts/slideLayout442.xml"/><Relationship Id="rId183" Type="http://schemas.openxmlformats.org/officeDocument/2006/relationships/slideLayout" Target="../slideLayouts/slideLayout618.xml"/><Relationship Id="rId239" Type="http://schemas.openxmlformats.org/officeDocument/2006/relationships/slideLayout" Target="../slideLayouts/slideLayout674.xml"/><Relationship Id="rId390" Type="http://schemas.openxmlformats.org/officeDocument/2006/relationships/slideLayout" Target="../slideLayouts/slideLayout825.xml"/><Relationship Id="rId404" Type="http://schemas.openxmlformats.org/officeDocument/2006/relationships/slideLayout" Target="../slideLayouts/slideLayout839.xml"/><Relationship Id="rId250" Type="http://schemas.openxmlformats.org/officeDocument/2006/relationships/slideLayout" Target="../slideLayouts/slideLayout685.xml"/><Relationship Id="rId292" Type="http://schemas.openxmlformats.org/officeDocument/2006/relationships/slideLayout" Target="../slideLayouts/slideLayout727.xml"/><Relationship Id="rId306" Type="http://schemas.openxmlformats.org/officeDocument/2006/relationships/slideLayout" Target="../slideLayouts/slideLayout741.xml"/><Relationship Id="rId45" Type="http://schemas.openxmlformats.org/officeDocument/2006/relationships/slideLayout" Target="../slideLayouts/slideLayout480.xml"/><Relationship Id="rId87" Type="http://schemas.openxmlformats.org/officeDocument/2006/relationships/slideLayout" Target="../slideLayouts/slideLayout522.xml"/><Relationship Id="rId110" Type="http://schemas.openxmlformats.org/officeDocument/2006/relationships/slideLayout" Target="../slideLayouts/slideLayout545.xml"/><Relationship Id="rId348" Type="http://schemas.openxmlformats.org/officeDocument/2006/relationships/slideLayout" Target="../slideLayouts/slideLayout783.xml"/><Relationship Id="rId152" Type="http://schemas.openxmlformats.org/officeDocument/2006/relationships/slideLayout" Target="../slideLayouts/slideLayout587.xml"/><Relationship Id="rId194" Type="http://schemas.openxmlformats.org/officeDocument/2006/relationships/slideLayout" Target="../slideLayouts/slideLayout629.xml"/><Relationship Id="rId208" Type="http://schemas.openxmlformats.org/officeDocument/2006/relationships/slideLayout" Target="../slideLayouts/slideLayout643.xml"/><Relationship Id="rId415" Type="http://schemas.openxmlformats.org/officeDocument/2006/relationships/slideLayout" Target="../slideLayouts/slideLayout850.xml"/><Relationship Id="rId261" Type="http://schemas.openxmlformats.org/officeDocument/2006/relationships/slideLayout" Target="../slideLayouts/slideLayout696.xml"/><Relationship Id="rId14" Type="http://schemas.openxmlformats.org/officeDocument/2006/relationships/slideLayout" Target="../slideLayouts/slideLayout449.xml"/><Relationship Id="rId56" Type="http://schemas.openxmlformats.org/officeDocument/2006/relationships/slideLayout" Target="../slideLayouts/slideLayout491.xml"/><Relationship Id="rId317" Type="http://schemas.openxmlformats.org/officeDocument/2006/relationships/slideLayout" Target="../slideLayouts/slideLayout752.xml"/><Relationship Id="rId359" Type="http://schemas.openxmlformats.org/officeDocument/2006/relationships/slideLayout" Target="../slideLayouts/slideLayout794.xml"/><Relationship Id="rId98" Type="http://schemas.openxmlformats.org/officeDocument/2006/relationships/slideLayout" Target="../slideLayouts/slideLayout533.xml"/><Relationship Id="rId121" Type="http://schemas.openxmlformats.org/officeDocument/2006/relationships/slideLayout" Target="../slideLayouts/slideLayout556.xml"/><Relationship Id="rId163" Type="http://schemas.openxmlformats.org/officeDocument/2006/relationships/slideLayout" Target="../slideLayouts/slideLayout598.xml"/><Relationship Id="rId219" Type="http://schemas.openxmlformats.org/officeDocument/2006/relationships/slideLayout" Target="../slideLayouts/slideLayout654.xml"/><Relationship Id="rId370" Type="http://schemas.openxmlformats.org/officeDocument/2006/relationships/slideLayout" Target="../slideLayouts/slideLayout805.xml"/><Relationship Id="rId426" Type="http://schemas.openxmlformats.org/officeDocument/2006/relationships/slideLayout" Target="../slideLayouts/slideLayout861.xml"/><Relationship Id="rId230" Type="http://schemas.openxmlformats.org/officeDocument/2006/relationships/slideLayout" Target="../slideLayouts/slideLayout665.xml"/><Relationship Id="rId25" Type="http://schemas.openxmlformats.org/officeDocument/2006/relationships/slideLayout" Target="../slideLayouts/slideLayout460.xml"/><Relationship Id="rId67" Type="http://schemas.openxmlformats.org/officeDocument/2006/relationships/slideLayout" Target="../slideLayouts/slideLayout502.xml"/><Relationship Id="rId272" Type="http://schemas.openxmlformats.org/officeDocument/2006/relationships/slideLayout" Target="../slideLayouts/slideLayout707.xml"/><Relationship Id="rId328" Type="http://schemas.openxmlformats.org/officeDocument/2006/relationships/slideLayout" Target="../slideLayouts/slideLayout763.xml"/><Relationship Id="rId132" Type="http://schemas.openxmlformats.org/officeDocument/2006/relationships/slideLayout" Target="../slideLayouts/slideLayout567.xml"/><Relationship Id="rId174" Type="http://schemas.openxmlformats.org/officeDocument/2006/relationships/slideLayout" Target="../slideLayouts/slideLayout609.xml"/><Relationship Id="rId381" Type="http://schemas.openxmlformats.org/officeDocument/2006/relationships/slideLayout" Target="../slideLayouts/slideLayout816.xml"/><Relationship Id="rId241" Type="http://schemas.openxmlformats.org/officeDocument/2006/relationships/slideLayout" Target="../slideLayouts/slideLayout676.xml"/><Relationship Id="rId437" Type="http://schemas.openxmlformats.org/officeDocument/2006/relationships/slideLayout" Target="../slideLayouts/slideLayout872.xml"/><Relationship Id="rId36" Type="http://schemas.openxmlformats.org/officeDocument/2006/relationships/slideLayout" Target="../slideLayouts/slideLayout471.xml"/><Relationship Id="rId283" Type="http://schemas.openxmlformats.org/officeDocument/2006/relationships/slideLayout" Target="../slideLayouts/slideLayout718.xml"/><Relationship Id="rId339" Type="http://schemas.openxmlformats.org/officeDocument/2006/relationships/slideLayout" Target="../slideLayouts/slideLayout774.xml"/><Relationship Id="rId78" Type="http://schemas.openxmlformats.org/officeDocument/2006/relationships/slideLayout" Target="../slideLayouts/slideLayout513.xml"/><Relationship Id="rId101" Type="http://schemas.openxmlformats.org/officeDocument/2006/relationships/slideLayout" Target="../slideLayouts/slideLayout536.xml"/><Relationship Id="rId143" Type="http://schemas.openxmlformats.org/officeDocument/2006/relationships/slideLayout" Target="../slideLayouts/slideLayout578.xml"/><Relationship Id="rId185" Type="http://schemas.openxmlformats.org/officeDocument/2006/relationships/slideLayout" Target="../slideLayouts/slideLayout620.xml"/><Relationship Id="rId350" Type="http://schemas.openxmlformats.org/officeDocument/2006/relationships/slideLayout" Target="../slideLayouts/slideLayout785.xml"/><Relationship Id="rId406" Type="http://schemas.openxmlformats.org/officeDocument/2006/relationships/slideLayout" Target="../slideLayouts/slideLayout841.xml"/><Relationship Id="rId9" Type="http://schemas.openxmlformats.org/officeDocument/2006/relationships/slideLayout" Target="../slideLayouts/slideLayout444.xml"/><Relationship Id="rId210" Type="http://schemas.openxmlformats.org/officeDocument/2006/relationships/slideLayout" Target="../slideLayouts/slideLayout645.xml"/><Relationship Id="rId392" Type="http://schemas.openxmlformats.org/officeDocument/2006/relationships/slideLayout" Target="../slideLayouts/slideLayout827.xml"/><Relationship Id="rId252" Type="http://schemas.openxmlformats.org/officeDocument/2006/relationships/slideLayout" Target="../slideLayouts/slideLayout687.xml"/><Relationship Id="rId294" Type="http://schemas.openxmlformats.org/officeDocument/2006/relationships/slideLayout" Target="../slideLayouts/slideLayout729.xml"/><Relationship Id="rId308" Type="http://schemas.openxmlformats.org/officeDocument/2006/relationships/slideLayout" Target="../slideLayouts/slideLayout743.xml"/><Relationship Id="rId47" Type="http://schemas.openxmlformats.org/officeDocument/2006/relationships/slideLayout" Target="../slideLayouts/slideLayout482.xml"/><Relationship Id="rId89" Type="http://schemas.openxmlformats.org/officeDocument/2006/relationships/slideLayout" Target="../slideLayouts/slideLayout524.xml"/><Relationship Id="rId112" Type="http://schemas.openxmlformats.org/officeDocument/2006/relationships/slideLayout" Target="../slideLayouts/slideLayout547.xml"/><Relationship Id="rId154" Type="http://schemas.openxmlformats.org/officeDocument/2006/relationships/slideLayout" Target="../slideLayouts/slideLayout589.xml"/><Relationship Id="rId361" Type="http://schemas.openxmlformats.org/officeDocument/2006/relationships/slideLayout" Target="../slideLayouts/slideLayout796.xml"/><Relationship Id="rId196" Type="http://schemas.openxmlformats.org/officeDocument/2006/relationships/slideLayout" Target="../slideLayouts/slideLayout631.xml"/><Relationship Id="rId417" Type="http://schemas.openxmlformats.org/officeDocument/2006/relationships/slideLayout" Target="../slideLayouts/slideLayout852.xml"/><Relationship Id="rId16" Type="http://schemas.openxmlformats.org/officeDocument/2006/relationships/slideLayout" Target="../slideLayouts/slideLayout451.xml"/><Relationship Id="rId221" Type="http://schemas.openxmlformats.org/officeDocument/2006/relationships/slideLayout" Target="../slideLayouts/slideLayout656.xml"/><Relationship Id="rId263" Type="http://schemas.openxmlformats.org/officeDocument/2006/relationships/slideLayout" Target="../slideLayouts/slideLayout698.xml"/><Relationship Id="rId319" Type="http://schemas.openxmlformats.org/officeDocument/2006/relationships/slideLayout" Target="../slideLayouts/slideLayout754.xml"/><Relationship Id="rId58" Type="http://schemas.openxmlformats.org/officeDocument/2006/relationships/slideLayout" Target="../slideLayouts/slideLayout493.xml"/><Relationship Id="rId123" Type="http://schemas.openxmlformats.org/officeDocument/2006/relationships/slideLayout" Target="../slideLayouts/slideLayout558.xml"/><Relationship Id="rId330" Type="http://schemas.openxmlformats.org/officeDocument/2006/relationships/slideLayout" Target="../slideLayouts/slideLayout765.xml"/><Relationship Id="rId165" Type="http://schemas.openxmlformats.org/officeDocument/2006/relationships/slideLayout" Target="../slideLayouts/slideLayout600.xml"/><Relationship Id="rId372" Type="http://schemas.openxmlformats.org/officeDocument/2006/relationships/slideLayout" Target="../slideLayouts/slideLayout807.xml"/><Relationship Id="rId428" Type="http://schemas.openxmlformats.org/officeDocument/2006/relationships/slideLayout" Target="../slideLayouts/slideLayout863.xml"/><Relationship Id="rId232" Type="http://schemas.openxmlformats.org/officeDocument/2006/relationships/slideLayout" Target="../slideLayouts/slideLayout667.xml"/><Relationship Id="rId274" Type="http://schemas.openxmlformats.org/officeDocument/2006/relationships/slideLayout" Target="../slideLayouts/slideLayout709.xml"/><Relationship Id="rId27" Type="http://schemas.openxmlformats.org/officeDocument/2006/relationships/slideLayout" Target="../slideLayouts/slideLayout462.xml"/><Relationship Id="rId69" Type="http://schemas.openxmlformats.org/officeDocument/2006/relationships/slideLayout" Target="../slideLayouts/slideLayout504.xml"/><Relationship Id="rId134" Type="http://schemas.openxmlformats.org/officeDocument/2006/relationships/slideLayout" Target="../slideLayouts/slideLayout569.xml"/><Relationship Id="rId80" Type="http://schemas.openxmlformats.org/officeDocument/2006/relationships/slideLayout" Target="../slideLayouts/slideLayout515.xml"/><Relationship Id="rId176" Type="http://schemas.openxmlformats.org/officeDocument/2006/relationships/slideLayout" Target="../slideLayouts/slideLayout611.xml"/><Relationship Id="rId341" Type="http://schemas.openxmlformats.org/officeDocument/2006/relationships/slideLayout" Target="../slideLayouts/slideLayout776.xml"/><Relationship Id="rId383" Type="http://schemas.openxmlformats.org/officeDocument/2006/relationships/slideLayout" Target="../slideLayouts/slideLayout818.xml"/><Relationship Id="rId201" Type="http://schemas.openxmlformats.org/officeDocument/2006/relationships/slideLayout" Target="../slideLayouts/slideLayout636.xml"/><Relationship Id="rId243" Type="http://schemas.openxmlformats.org/officeDocument/2006/relationships/slideLayout" Target="../slideLayouts/slideLayout678.xml"/><Relationship Id="rId285" Type="http://schemas.openxmlformats.org/officeDocument/2006/relationships/slideLayout" Target="../slideLayouts/slideLayout720.xml"/><Relationship Id="rId38" Type="http://schemas.openxmlformats.org/officeDocument/2006/relationships/slideLayout" Target="../slideLayouts/slideLayout473.xml"/><Relationship Id="rId103" Type="http://schemas.openxmlformats.org/officeDocument/2006/relationships/slideLayout" Target="../slideLayouts/slideLayout538.xml"/><Relationship Id="rId310" Type="http://schemas.openxmlformats.org/officeDocument/2006/relationships/slideLayout" Target="../slideLayouts/slideLayout745.xml"/><Relationship Id="rId91" Type="http://schemas.openxmlformats.org/officeDocument/2006/relationships/slideLayout" Target="../slideLayouts/slideLayout526.xml"/><Relationship Id="rId145" Type="http://schemas.openxmlformats.org/officeDocument/2006/relationships/slideLayout" Target="../slideLayouts/slideLayout580.xml"/><Relationship Id="rId187" Type="http://schemas.openxmlformats.org/officeDocument/2006/relationships/slideLayout" Target="../slideLayouts/slideLayout622.xml"/><Relationship Id="rId352" Type="http://schemas.openxmlformats.org/officeDocument/2006/relationships/slideLayout" Target="../slideLayouts/slideLayout787.xml"/><Relationship Id="rId394" Type="http://schemas.openxmlformats.org/officeDocument/2006/relationships/slideLayout" Target="../slideLayouts/slideLayout829.xml"/><Relationship Id="rId408" Type="http://schemas.openxmlformats.org/officeDocument/2006/relationships/slideLayout" Target="../slideLayouts/slideLayout843.xml"/><Relationship Id="rId212" Type="http://schemas.openxmlformats.org/officeDocument/2006/relationships/slideLayout" Target="../slideLayouts/slideLayout647.xml"/><Relationship Id="rId254" Type="http://schemas.openxmlformats.org/officeDocument/2006/relationships/slideLayout" Target="../slideLayouts/slideLayout689.xml"/><Relationship Id="rId49" Type="http://schemas.openxmlformats.org/officeDocument/2006/relationships/slideLayout" Target="../slideLayouts/slideLayout484.xml"/><Relationship Id="rId114" Type="http://schemas.openxmlformats.org/officeDocument/2006/relationships/slideLayout" Target="../slideLayouts/slideLayout549.xml"/><Relationship Id="rId296" Type="http://schemas.openxmlformats.org/officeDocument/2006/relationships/slideLayout" Target="../slideLayouts/slideLayout731.xml"/><Relationship Id="rId60" Type="http://schemas.openxmlformats.org/officeDocument/2006/relationships/slideLayout" Target="../slideLayouts/slideLayout495.xml"/><Relationship Id="rId81" Type="http://schemas.openxmlformats.org/officeDocument/2006/relationships/slideLayout" Target="../slideLayouts/slideLayout516.xml"/><Relationship Id="rId135" Type="http://schemas.openxmlformats.org/officeDocument/2006/relationships/slideLayout" Target="../slideLayouts/slideLayout570.xml"/><Relationship Id="rId156" Type="http://schemas.openxmlformats.org/officeDocument/2006/relationships/slideLayout" Target="../slideLayouts/slideLayout591.xml"/><Relationship Id="rId177" Type="http://schemas.openxmlformats.org/officeDocument/2006/relationships/slideLayout" Target="../slideLayouts/slideLayout612.xml"/><Relationship Id="rId198" Type="http://schemas.openxmlformats.org/officeDocument/2006/relationships/slideLayout" Target="../slideLayouts/slideLayout633.xml"/><Relationship Id="rId321" Type="http://schemas.openxmlformats.org/officeDocument/2006/relationships/slideLayout" Target="../slideLayouts/slideLayout756.xml"/><Relationship Id="rId342" Type="http://schemas.openxmlformats.org/officeDocument/2006/relationships/slideLayout" Target="../slideLayouts/slideLayout777.xml"/><Relationship Id="rId363" Type="http://schemas.openxmlformats.org/officeDocument/2006/relationships/slideLayout" Target="../slideLayouts/slideLayout798.xml"/><Relationship Id="rId384" Type="http://schemas.openxmlformats.org/officeDocument/2006/relationships/slideLayout" Target="../slideLayouts/slideLayout819.xml"/><Relationship Id="rId419" Type="http://schemas.openxmlformats.org/officeDocument/2006/relationships/slideLayout" Target="../slideLayouts/slideLayout854.xml"/><Relationship Id="rId202" Type="http://schemas.openxmlformats.org/officeDocument/2006/relationships/slideLayout" Target="../slideLayouts/slideLayout637.xml"/><Relationship Id="rId223" Type="http://schemas.openxmlformats.org/officeDocument/2006/relationships/slideLayout" Target="../slideLayouts/slideLayout658.xml"/><Relationship Id="rId244" Type="http://schemas.openxmlformats.org/officeDocument/2006/relationships/slideLayout" Target="../slideLayouts/slideLayout679.xml"/><Relationship Id="rId430" Type="http://schemas.openxmlformats.org/officeDocument/2006/relationships/slideLayout" Target="../slideLayouts/slideLayout865.xml"/><Relationship Id="rId18" Type="http://schemas.openxmlformats.org/officeDocument/2006/relationships/slideLayout" Target="../slideLayouts/slideLayout453.xml"/><Relationship Id="rId39" Type="http://schemas.openxmlformats.org/officeDocument/2006/relationships/slideLayout" Target="../slideLayouts/slideLayout474.xml"/><Relationship Id="rId265" Type="http://schemas.openxmlformats.org/officeDocument/2006/relationships/slideLayout" Target="../slideLayouts/slideLayout700.xml"/><Relationship Id="rId286" Type="http://schemas.openxmlformats.org/officeDocument/2006/relationships/slideLayout" Target="../slideLayouts/slideLayout721.xml"/><Relationship Id="rId50" Type="http://schemas.openxmlformats.org/officeDocument/2006/relationships/slideLayout" Target="../slideLayouts/slideLayout485.xml"/><Relationship Id="rId104" Type="http://schemas.openxmlformats.org/officeDocument/2006/relationships/slideLayout" Target="../slideLayouts/slideLayout539.xml"/><Relationship Id="rId125" Type="http://schemas.openxmlformats.org/officeDocument/2006/relationships/slideLayout" Target="../slideLayouts/slideLayout560.xml"/><Relationship Id="rId146" Type="http://schemas.openxmlformats.org/officeDocument/2006/relationships/slideLayout" Target="../slideLayouts/slideLayout581.xml"/><Relationship Id="rId167" Type="http://schemas.openxmlformats.org/officeDocument/2006/relationships/slideLayout" Target="../slideLayouts/slideLayout602.xml"/><Relationship Id="rId188" Type="http://schemas.openxmlformats.org/officeDocument/2006/relationships/slideLayout" Target="../slideLayouts/slideLayout623.xml"/><Relationship Id="rId311" Type="http://schemas.openxmlformats.org/officeDocument/2006/relationships/slideLayout" Target="../slideLayouts/slideLayout746.xml"/><Relationship Id="rId332" Type="http://schemas.openxmlformats.org/officeDocument/2006/relationships/slideLayout" Target="../slideLayouts/slideLayout767.xml"/><Relationship Id="rId353" Type="http://schemas.openxmlformats.org/officeDocument/2006/relationships/slideLayout" Target="../slideLayouts/slideLayout788.xml"/><Relationship Id="rId374" Type="http://schemas.openxmlformats.org/officeDocument/2006/relationships/slideLayout" Target="../slideLayouts/slideLayout809.xml"/><Relationship Id="rId395" Type="http://schemas.openxmlformats.org/officeDocument/2006/relationships/slideLayout" Target="../slideLayouts/slideLayout830.xml"/><Relationship Id="rId409" Type="http://schemas.openxmlformats.org/officeDocument/2006/relationships/slideLayout" Target="../slideLayouts/slideLayout844.xml"/><Relationship Id="rId71" Type="http://schemas.openxmlformats.org/officeDocument/2006/relationships/slideLayout" Target="../slideLayouts/slideLayout506.xml"/><Relationship Id="rId92" Type="http://schemas.openxmlformats.org/officeDocument/2006/relationships/slideLayout" Target="../slideLayouts/slideLayout527.xml"/><Relationship Id="rId213" Type="http://schemas.openxmlformats.org/officeDocument/2006/relationships/slideLayout" Target="../slideLayouts/slideLayout648.xml"/><Relationship Id="rId234" Type="http://schemas.openxmlformats.org/officeDocument/2006/relationships/slideLayout" Target="../slideLayouts/slideLayout669.xml"/><Relationship Id="rId420" Type="http://schemas.openxmlformats.org/officeDocument/2006/relationships/slideLayout" Target="../slideLayouts/slideLayout855.xml"/><Relationship Id="rId2" Type="http://schemas.openxmlformats.org/officeDocument/2006/relationships/slideLayout" Target="../slideLayouts/slideLayout437.xml"/><Relationship Id="rId29" Type="http://schemas.openxmlformats.org/officeDocument/2006/relationships/slideLayout" Target="../slideLayouts/slideLayout464.xml"/><Relationship Id="rId255" Type="http://schemas.openxmlformats.org/officeDocument/2006/relationships/slideLayout" Target="../slideLayouts/slideLayout690.xml"/><Relationship Id="rId276" Type="http://schemas.openxmlformats.org/officeDocument/2006/relationships/slideLayout" Target="../slideLayouts/slideLayout711.xml"/><Relationship Id="rId297" Type="http://schemas.openxmlformats.org/officeDocument/2006/relationships/slideLayout" Target="../slideLayouts/slideLayout732.xml"/><Relationship Id="rId40" Type="http://schemas.openxmlformats.org/officeDocument/2006/relationships/slideLayout" Target="../slideLayouts/slideLayout475.xml"/><Relationship Id="rId115" Type="http://schemas.openxmlformats.org/officeDocument/2006/relationships/slideLayout" Target="../slideLayouts/slideLayout550.xml"/><Relationship Id="rId136" Type="http://schemas.openxmlformats.org/officeDocument/2006/relationships/slideLayout" Target="../slideLayouts/slideLayout571.xml"/><Relationship Id="rId157" Type="http://schemas.openxmlformats.org/officeDocument/2006/relationships/slideLayout" Target="../slideLayouts/slideLayout592.xml"/><Relationship Id="rId178" Type="http://schemas.openxmlformats.org/officeDocument/2006/relationships/slideLayout" Target="../slideLayouts/slideLayout613.xml"/><Relationship Id="rId301" Type="http://schemas.openxmlformats.org/officeDocument/2006/relationships/slideLayout" Target="../slideLayouts/slideLayout736.xml"/><Relationship Id="rId322" Type="http://schemas.openxmlformats.org/officeDocument/2006/relationships/slideLayout" Target="../slideLayouts/slideLayout757.xml"/><Relationship Id="rId343" Type="http://schemas.openxmlformats.org/officeDocument/2006/relationships/slideLayout" Target="../slideLayouts/slideLayout778.xml"/><Relationship Id="rId364" Type="http://schemas.openxmlformats.org/officeDocument/2006/relationships/slideLayout" Target="../slideLayouts/slideLayout799.xml"/><Relationship Id="rId61" Type="http://schemas.openxmlformats.org/officeDocument/2006/relationships/slideLayout" Target="../slideLayouts/slideLayout496.xml"/><Relationship Id="rId82" Type="http://schemas.openxmlformats.org/officeDocument/2006/relationships/slideLayout" Target="../slideLayouts/slideLayout517.xml"/><Relationship Id="rId199" Type="http://schemas.openxmlformats.org/officeDocument/2006/relationships/slideLayout" Target="../slideLayouts/slideLayout634.xml"/><Relationship Id="rId203" Type="http://schemas.openxmlformats.org/officeDocument/2006/relationships/slideLayout" Target="../slideLayouts/slideLayout638.xml"/><Relationship Id="rId385" Type="http://schemas.openxmlformats.org/officeDocument/2006/relationships/slideLayout" Target="../slideLayouts/slideLayout820.xml"/><Relationship Id="rId19" Type="http://schemas.openxmlformats.org/officeDocument/2006/relationships/slideLayout" Target="../slideLayouts/slideLayout454.xml"/><Relationship Id="rId224" Type="http://schemas.openxmlformats.org/officeDocument/2006/relationships/slideLayout" Target="../slideLayouts/slideLayout659.xml"/><Relationship Id="rId245" Type="http://schemas.openxmlformats.org/officeDocument/2006/relationships/slideLayout" Target="../slideLayouts/slideLayout680.xml"/><Relationship Id="rId266" Type="http://schemas.openxmlformats.org/officeDocument/2006/relationships/slideLayout" Target="../slideLayouts/slideLayout701.xml"/><Relationship Id="rId287" Type="http://schemas.openxmlformats.org/officeDocument/2006/relationships/slideLayout" Target="../slideLayouts/slideLayout722.xml"/><Relationship Id="rId410" Type="http://schemas.openxmlformats.org/officeDocument/2006/relationships/slideLayout" Target="../slideLayouts/slideLayout845.xml"/><Relationship Id="rId431" Type="http://schemas.openxmlformats.org/officeDocument/2006/relationships/slideLayout" Target="../slideLayouts/slideLayout866.xml"/><Relationship Id="rId30" Type="http://schemas.openxmlformats.org/officeDocument/2006/relationships/slideLayout" Target="../slideLayouts/slideLayout465.xml"/><Relationship Id="rId105" Type="http://schemas.openxmlformats.org/officeDocument/2006/relationships/slideLayout" Target="../slideLayouts/slideLayout540.xml"/><Relationship Id="rId126" Type="http://schemas.openxmlformats.org/officeDocument/2006/relationships/slideLayout" Target="../slideLayouts/slideLayout561.xml"/><Relationship Id="rId147" Type="http://schemas.openxmlformats.org/officeDocument/2006/relationships/slideLayout" Target="../slideLayouts/slideLayout582.xml"/><Relationship Id="rId168" Type="http://schemas.openxmlformats.org/officeDocument/2006/relationships/slideLayout" Target="../slideLayouts/slideLayout603.xml"/><Relationship Id="rId312" Type="http://schemas.openxmlformats.org/officeDocument/2006/relationships/slideLayout" Target="../slideLayouts/slideLayout747.xml"/><Relationship Id="rId333" Type="http://schemas.openxmlformats.org/officeDocument/2006/relationships/slideLayout" Target="../slideLayouts/slideLayout768.xml"/><Relationship Id="rId354" Type="http://schemas.openxmlformats.org/officeDocument/2006/relationships/slideLayout" Target="../slideLayouts/slideLayout789.xml"/><Relationship Id="rId51" Type="http://schemas.openxmlformats.org/officeDocument/2006/relationships/slideLayout" Target="../slideLayouts/slideLayout486.xml"/><Relationship Id="rId72" Type="http://schemas.openxmlformats.org/officeDocument/2006/relationships/slideLayout" Target="../slideLayouts/slideLayout507.xml"/><Relationship Id="rId93" Type="http://schemas.openxmlformats.org/officeDocument/2006/relationships/slideLayout" Target="../slideLayouts/slideLayout528.xml"/><Relationship Id="rId189" Type="http://schemas.openxmlformats.org/officeDocument/2006/relationships/slideLayout" Target="../slideLayouts/slideLayout624.xml"/><Relationship Id="rId375" Type="http://schemas.openxmlformats.org/officeDocument/2006/relationships/slideLayout" Target="../slideLayouts/slideLayout810.xml"/><Relationship Id="rId396" Type="http://schemas.openxmlformats.org/officeDocument/2006/relationships/slideLayout" Target="../slideLayouts/slideLayout831.xml"/><Relationship Id="rId3" Type="http://schemas.openxmlformats.org/officeDocument/2006/relationships/slideLayout" Target="../slideLayouts/slideLayout438.xml"/><Relationship Id="rId214" Type="http://schemas.openxmlformats.org/officeDocument/2006/relationships/slideLayout" Target="../slideLayouts/slideLayout649.xml"/><Relationship Id="rId235" Type="http://schemas.openxmlformats.org/officeDocument/2006/relationships/slideLayout" Target="../slideLayouts/slideLayout670.xml"/><Relationship Id="rId256" Type="http://schemas.openxmlformats.org/officeDocument/2006/relationships/slideLayout" Target="../slideLayouts/slideLayout691.xml"/><Relationship Id="rId277" Type="http://schemas.openxmlformats.org/officeDocument/2006/relationships/slideLayout" Target="../slideLayouts/slideLayout712.xml"/><Relationship Id="rId298" Type="http://schemas.openxmlformats.org/officeDocument/2006/relationships/slideLayout" Target="../slideLayouts/slideLayout733.xml"/><Relationship Id="rId400" Type="http://schemas.openxmlformats.org/officeDocument/2006/relationships/slideLayout" Target="../slideLayouts/slideLayout835.xml"/><Relationship Id="rId421" Type="http://schemas.openxmlformats.org/officeDocument/2006/relationships/slideLayout" Target="../slideLayouts/slideLayout856.xml"/><Relationship Id="rId116" Type="http://schemas.openxmlformats.org/officeDocument/2006/relationships/slideLayout" Target="../slideLayouts/slideLayout551.xml"/><Relationship Id="rId137" Type="http://schemas.openxmlformats.org/officeDocument/2006/relationships/slideLayout" Target="../slideLayouts/slideLayout572.xml"/><Relationship Id="rId158" Type="http://schemas.openxmlformats.org/officeDocument/2006/relationships/slideLayout" Target="../slideLayouts/slideLayout593.xml"/><Relationship Id="rId302" Type="http://schemas.openxmlformats.org/officeDocument/2006/relationships/slideLayout" Target="../slideLayouts/slideLayout737.xml"/><Relationship Id="rId323" Type="http://schemas.openxmlformats.org/officeDocument/2006/relationships/slideLayout" Target="../slideLayouts/slideLayout758.xml"/><Relationship Id="rId344" Type="http://schemas.openxmlformats.org/officeDocument/2006/relationships/slideLayout" Target="../slideLayouts/slideLayout779.xml"/><Relationship Id="rId20" Type="http://schemas.openxmlformats.org/officeDocument/2006/relationships/slideLayout" Target="../slideLayouts/slideLayout455.xml"/><Relationship Id="rId41" Type="http://schemas.openxmlformats.org/officeDocument/2006/relationships/slideLayout" Target="../slideLayouts/slideLayout476.xml"/><Relationship Id="rId62" Type="http://schemas.openxmlformats.org/officeDocument/2006/relationships/slideLayout" Target="../slideLayouts/slideLayout497.xml"/><Relationship Id="rId83" Type="http://schemas.openxmlformats.org/officeDocument/2006/relationships/slideLayout" Target="../slideLayouts/slideLayout518.xml"/><Relationship Id="rId179" Type="http://schemas.openxmlformats.org/officeDocument/2006/relationships/slideLayout" Target="../slideLayouts/slideLayout614.xml"/><Relationship Id="rId365" Type="http://schemas.openxmlformats.org/officeDocument/2006/relationships/slideLayout" Target="../slideLayouts/slideLayout800.xml"/><Relationship Id="rId386" Type="http://schemas.openxmlformats.org/officeDocument/2006/relationships/slideLayout" Target="../slideLayouts/slideLayout821.xml"/><Relationship Id="rId190" Type="http://schemas.openxmlformats.org/officeDocument/2006/relationships/slideLayout" Target="../slideLayouts/slideLayout625.xml"/><Relationship Id="rId204" Type="http://schemas.openxmlformats.org/officeDocument/2006/relationships/slideLayout" Target="../slideLayouts/slideLayout639.xml"/><Relationship Id="rId225" Type="http://schemas.openxmlformats.org/officeDocument/2006/relationships/slideLayout" Target="../slideLayouts/slideLayout660.xml"/><Relationship Id="rId246" Type="http://schemas.openxmlformats.org/officeDocument/2006/relationships/slideLayout" Target="../slideLayouts/slideLayout681.xml"/><Relationship Id="rId267" Type="http://schemas.openxmlformats.org/officeDocument/2006/relationships/slideLayout" Target="../slideLayouts/slideLayout702.xml"/><Relationship Id="rId288" Type="http://schemas.openxmlformats.org/officeDocument/2006/relationships/slideLayout" Target="../slideLayouts/slideLayout723.xml"/><Relationship Id="rId411" Type="http://schemas.openxmlformats.org/officeDocument/2006/relationships/slideLayout" Target="../slideLayouts/slideLayout846.xml"/><Relationship Id="rId432" Type="http://schemas.openxmlformats.org/officeDocument/2006/relationships/slideLayout" Target="../slideLayouts/slideLayout867.xml"/><Relationship Id="rId106" Type="http://schemas.openxmlformats.org/officeDocument/2006/relationships/slideLayout" Target="../slideLayouts/slideLayout541.xml"/><Relationship Id="rId127" Type="http://schemas.openxmlformats.org/officeDocument/2006/relationships/slideLayout" Target="../slideLayouts/slideLayout562.xml"/><Relationship Id="rId313" Type="http://schemas.openxmlformats.org/officeDocument/2006/relationships/slideLayout" Target="../slideLayouts/slideLayout748.xml"/><Relationship Id="rId10" Type="http://schemas.openxmlformats.org/officeDocument/2006/relationships/slideLayout" Target="../slideLayouts/slideLayout445.xml"/><Relationship Id="rId31" Type="http://schemas.openxmlformats.org/officeDocument/2006/relationships/slideLayout" Target="../slideLayouts/slideLayout466.xml"/><Relationship Id="rId52" Type="http://schemas.openxmlformats.org/officeDocument/2006/relationships/slideLayout" Target="../slideLayouts/slideLayout487.xml"/><Relationship Id="rId73" Type="http://schemas.openxmlformats.org/officeDocument/2006/relationships/slideLayout" Target="../slideLayouts/slideLayout508.xml"/><Relationship Id="rId94" Type="http://schemas.openxmlformats.org/officeDocument/2006/relationships/slideLayout" Target="../slideLayouts/slideLayout529.xml"/><Relationship Id="rId148" Type="http://schemas.openxmlformats.org/officeDocument/2006/relationships/slideLayout" Target="../slideLayouts/slideLayout583.xml"/><Relationship Id="rId169" Type="http://schemas.openxmlformats.org/officeDocument/2006/relationships/slideLayout" Target="../slideLayouts/slideLayout604.xml"/><Relationship Id="rId334" Type="http://schemas.openxmlformats.org/officeDocument/2006/relationships/slideLayout" Target="../slideLayouts/slideLayout769.xml"/><Relationship Id="rId355" Type="http://schemas.openxmlformats.org/officeDocument/2006/relationships/slideLayout" Target="../slideLayouts/slideLayout790.xml"/><Relationship Id="rId376" Type="http://schemas.openxmlformats.org/officeDocument/2006/relationships/slideLayout" Target="../slideLayouts/slideLayout811.xml"/><Relationship Id="rId397" Type="http://schemas.openxmlformats.org/officeDocument/2006/relationships/slideLayout" Target="../slideLayouts/slideLayout832.xml"/><Relationship Id="rId4" Type="http://schemas.openxmlformats.org/officeDocument/2006/relationships/slideLayout" Target="../slideLayouts/slideLayout439.xml"/><Relationship Id="rId180" Type="http://schemas.openxmlformats.org/officeDocument/2006/relationships/slideLayout" Target="../slideLayouts/slideLayout615.xml"/><Relationship Id="rId215" Type="http://schemas.openxmlformats.org/officeDocument/2006/relationships/slideLayout" Target="../slideLayouts/slideLayout650.xml"/><Relationship Id="rId236" Type="http://schemas.openxmlformats.org/officeDocument/2006/relationships/slideLayout" Target="../slideLayouts/slideLayout671.xml"/><Relationship Id="rId257" Type="http://schemas.openxmlformats.org/officeDocument/2006/relationships/slideLayout" Target="../slideLayouts/slideLayout692.xml"/><Relationship Id="rId278" Type="http://schemas.openxmlformats.org/officeDocument/2006/relationships/slideLayout" Target="../slideLayouts/slideLayout713.xml"/><Relationship Id="rId401" Type="http://schemas.openxmlformats.org/officeDocument/2006/relationships/slideLayout" Target="../slideLayouts/slideLayout836.xml"/><Relationship Id="rId422" Type="http://schemas.openxmlformats.org/officeDocument/2006/relationships/slideLayout" Target="../slideLayouts/slideLayout857.xml"/><Relationship Id="rId303" Type="http://schemas.openxmlformats.org/officeDocument/2006/relationships/slideLayout" Target="../slideLayouts/slideLayout738.xml"/><Relationship Id="rId42" Type="http://schemas.openxmlformats.org/officeDocument/2006/relationships/slideLayout" Target="../slideLayouts/slideLayout477.xml"/><Relationship Id="rId84" Type="http://schemas.openxmlformats.org/officeDocument/2006/relationships/slideLayout" Target="../slideLayouts/slideLayout519.xml"/><Relationship Id="rId138" Type="http://schemas.openxmlformats.org/officeDocument/2006/relationships/slideLayout" Target="../slideLayouts/slideLayout573.xml"/><Relationship Id="rId345" Type="http://schemas.openxmlformats.org/officeDocument/2006/relationships/slideLayout" Target="../slideLayouts/slideLayout780.xml"/><Relationship Id="rId387" Type="http://schemas.openxmlformats.org/officeDocument/2006/relationships/slideLayout" Target="../slideLayouts/slideLayout822.xml"/><Relationship Id="rId191" Type="http://schemas.openxmlformats.org/officeDocument/2006/relationships/slideLayout" Target="../slideLayouts/slideLayout626.xml"/><Relationship Id="rId205" Type="http://schemas.openxmlformats.org/officeDocument/2006/relationships/slideLayout" Target="../slideLayouts/slideLayout640.xml"/><Relationship Id="rId247" Type="http://schemas.openxmlformats.org/officeDocument/2006/relationships/slideLayout" Target="../slideLayouts/slideLayout682.xml"/><Relationship Id="rId412" Type="http://schemas.openxmlformats.org/officeDocument/2006/relationships/slideLayout" Target="../slideLayouts/slideLayout847.xml"/><Relationship Id="rId107" Type="http://schemas.openxmlformats.org/officeDocument/2006/relationships/slideLayout" Target="../slideLayouts/slideLayout542.xml"/><Relationship Id="rId289" Type="http://schemas.openxmlformats.org/officeDocument/2006/relationships/slideLayout" Target="../slideLayouts/slideLayout724.xml"/><Relationship Id="rId11" Type="http://schemas.openxmlformats.org/officeDocument/2006/relationships/slideLayout" Target="../slideLayouts/slideLayout446.xml"/><Relationship Id="rId53" Type="http://schemas.openxmlformats.org/officeDocument/2006/relationships/slideLayout" Target="../slideLayouts/slideLayout488.xml"/><Relationship Id="rId149" Type="http://schemas.openxmlformats.org/officeDocument/2006/relationships/slideLayout" Target="../slideLayouts/slideLayout584.xml"/><Relationship Id="rId314" Type="http://schemas.openxmlformats.org/officeDocument/2006/relationships/slideLayout" Target="../slideLayouts/slideLayout749.xml"/><Relationship Id="rId356" Type="http://schemas.openxmlformats.org/officeDocument/2006/relationships/slideLayout" Target="../slideLayouts/slideLayout791.xml"/><Relationship Id="rId398" Type="http://schemas.openxmlformats.org/officeDocument/2006/relationships/slideLayout" Target="../slideLayouts/slideLayout833.xml"/><Relationship Id="rId95" Type="http://schemas.openxmlformats.org/officeDocument/2006/relationships/slideLayout" Target="../slideLayouts/slideLayout530.xml"/><Relationship Id="rId160" Type="http://schemas.openxmlformats.org/officeDocument/2006/relationships/slideLayout" Target="../slideLayouts/slideLayout595.xml"/><Relationship Id="rId216" Type="http://schemas.openxmlformats.org/officeDocument/2006/relationships/slideLayout" Target="../slideLayouts/slideLayout651.xml"/><Relationship Id="rId423" Type="http://schemas.openxmlformats.org/officeDocument/2006/relationships/slideLayout" Target="../slideLayouts/slideLayout858.xml"/><Relationship Id="rId258" Type="http://schemas.openxmlformats.org/officeDocument/2006/relationships/slideLayout" Target="../slideLayouts/slideLayout693.xml"/><Relationship Id="rId22" Type="http://schemas.openxmlformats.org/officeDocument/2006/relationships/slideLayout" Target="../slideLayouts/slideLayout457.xml"/><Relationship Id="rId64" Type="http://schemas.openxmlformats.org/officeDocument/2006/relationships/slideLayout" Target="../slideLayouts/slideLayout499.xml"/><Relationship Id="rId118" Type="http://schemas.openxmlformats.org/officeDocument/2006/relationships/slideLayout" Target="../slideLayouts/slideLayout553.xml"/><Relationship Id="rId325" Type="http://schemas.openxmlformats.org/officeDocument/2006/relationships/slideLayout" Target="../slideLayouts/slideLayout760.xml"/><Relationship Id="rId367" Type="http://schemas.openxmlformats.org/officeDocument/2006/relationships/slideLayout" Target="../slideLayouts/slideLayout802.xml"/><Relationship Id="rId171" Type="http://schemas.openxmlformats.org/officeDocument/2006/relationships/slideLayout" Target="../slideLayouts/slideLayout606.xml"/><Relationship Id="rId227" Type="http://schemas.openxmlformats.org/officeDocument/2006/relationships/slideLayout" Target="../slideLayouts/slideLayout662.xml"/><Relationship Id="rId269" Type="http://schemas.openxmlformats.org/officeDocument/2006/relationships/slideLayout" Target="../slideLayouts/slideLayout704.xml"/><Relationship Id="rId434" Type="http://schemas.openxmlformats.org/officeDocument/2006/relationships/slideLayout" Target="../slideLayouts/slideLayout869.xml"/><Relationship Id="rId33" Type="http://schemas.openxmlformats.org/officeDocument/2006/relationships/slideLayout" Target="../slideLayouts/slideLayout468.xml"/><Relationship Id="rId129" Type="http://schemas.openxmlformats.org/officeDocument/2006/relationships/slideLayout" Target="../slideLayouts/slideLayout564.xml"/><Relationship Id="rId280" Type="http://schemas.openxmlformats.org/officeDocument/2006/relationships/slideLayout" Target="../slideLayouts/slideLayout715.xml"/><Relationship Id="rId336" Type="http://schemas.openxmlformats.org/officeDocument/2006/relationships/slideLayout" Target="../slideLayouts/slideLayout771.xml"/><Relationship Id="rId75" Type="http://schemas.openxmlformats.org/officeDocument/2006/relationships/slideLayout" Target="../slideLayouts/slideLayout510.xml"/><Relationship Id="rId140" Type="http://schemas.openxmlformats.org/officeDocument/2006/relationships/slideLayout" Target="../slideLayouts/slideLayout575.xml"/><Relationship Id="rId182" Type="http://schemas.openxmlformats.org/officeDocument/2006/relationships/slideLayout" Target="../slideLayouts/slideLayout617.xml"/><Relationship Id="rId378" Type="http://schemas.openxmlformats.org/officeDocument/2006/relationships/slideLayout" Target="../slideLayouts/slideLayout813.xml"/><Relationship Id="rId403" Type="http://schemas.openxmlformats.org/officeDocument/2006/relationships/slideLayout" Target="../slideLayouts/slideLayout838.xml"/><Relationship Id="rId6" Type="http://schemas.openxmlformats.org/officeDocument/2006/relationships/slideLayout" Target="../slideLayouts/slideLayout441.xml"/><Relationship Id="rId238" Type="http://schemas.openxmlformats.org/officeDocument/2006/relationships/slideLayout" Target="../slideLayouts/slideLayout673.xml"/><Relationship Id="rId291" Type="http://schemas.openxmlformats.org/officeDocument/2006/relationships/slideLayout" Target="../slideLayouts/slideLayout726.xml"/><Relationship Id="rId305" Type="http://schemas.openxmlformats.org/officeDocument/2006/relationships/slideLayout" Target="../slideLayouts/slideLayout740.xml"/><Relationship Id="rId347" Type="http://schemas.openxmlformats.org/officeDocument/2006/relationships/slideLayout" Target="../slideLayouts/slideLayout782.xml"/><Relationship Id="rId44" Type="http://schemas.openxmlformats.org/officeDocument/2006/relationships/slideLayout" Target="../slideLayouts/slideLayout479.xml"/><Relationship Id="rId86" Type="http://schemas.openxmlformats.org/officeDocument/2006/relationships/slideLayout" Target="../slideLayouts/slideLayout521.xml"/><Relationship Id="rId151" Type="http://schemas.openxmlformats.org/officeDocument/2006/relationships/slideLayout" Target="../slideLayouts/slideLayout586.xml"/><Relationship Id="rId389" Type="http://schemas.openxmlformats.org/officeDocument/2006/relationships/slideLayout" Target="../slideLayouts/slideLayout824.xml"/><Relationship Id="rId193" Type="http://schemas.openxmlformats.org/officeDocument/2006/relationships/slideLayout" Target="../slideLayouts/slideLayout628.xml"/><Relationship Id="rId207" Type="http://schemas.openxmlformats.org/officeDocument/2006/relationships/slideLayout" Target="../slideLayouts/slideLayout642.xml"/><Relationship Id="rId249" Type="http://schemas.openxmlformats.org/officeDocument/2006/relationships/slideLayout" Target="../slideLayouts/slideLayout684.xml"/><Relationship Id="rId414" Type="http://schemas.openxmlformats.org/officeDocument/2006/relationships/slideLayout" Target="../slideLayouts/slideLayout849.xml"/><Relationship Id="rId13" Type="http://schemas.openxmlformats.org/officeDocument/2006/relationships/slideLayout" Target="../slideLayouts/slideLayout448.xml"/><Relationship Id="rId109" Type="http://schemas.openxmlformats.org/officeDocument/2006/relationships/slideLayout" Target="../slideLayouts/slideLayout544.xml"/><Relationship Id="rId260" Type="http://schemas.openxmlformats.org/officeDocument/2006/relationships/slideLayout" Target="../slideLayouts/slideLayout695.xml"/><Relationship Id="rId316" Type="http://schemas.openxmlformats.org/officeDocument/2006/relationships/slideLayout" Target="../slideLayouts/slideLayout751.xml"/><Relationship Id="rId55" Type="http://schemas.openxmlformats.org/officeDocument/2006/relationships/slideLayout" Target="../slideLayouts/slideLayout490.xml"/><Relationship Id="rId97" Type="http://schemas.openxmlformats.org/officeDocument/2006/relationships/slideLayout" Target="../slideLayouts/slideLayout532.xml"/><Relationship Id="rId120" Type="http://schemas.openxmlformats.org/officeDocument/2006/relationships/slideLayout" Target="../slideLayouts/slideLayout555.xml"/><Relationship Id="rId358" Type="http://schemas.openxmlformats.org/officeDocument/2006/relationships/slideLayout" Target="../slideLayouts/slideLayout793.xml"/><Relationship Id="rId162" Type="http://schemas.openxmlformats.org/officeDocument/2006/relationships/slideLayout" Target="../slideLayouts/slideLayout597.xml"/><Relationship Id="rId218" Type="http://schemas.openxmlformats.org/officeDocument/2006/relationships/slideLayout" Target="../slideLayouts/slideLayout653.xml"/><Relationship Id="rId425" Type="http://schemas.openxmlformats.org/officeDocument/2006/relationships/slideLayout" Target="../slideLayouts/slideLayout860.xml"/><Relationship Id="rId271" Type="http://schemas.openxmlformats.org/officeDocument/2006/relationships/slideLayout" Target="../slideLayouts/slideLayout706.xml"/><Relationship Id="rId24" Type="http://schemas.openxmlformats.org/officeDocument/2006/relationships/slideLayout" Target="../slideLayouts/slideLayout459.xml"/><Relationship Id="rId66" Type="http://schemas.openxmlformats.org/officeDocument/2006/relationships/slideLayout" Target="../slideLayouts/slideLayout501.xml"/><Relationship Id="rId131" Type="http://schemas.openxmlformats.org/officeDocument/2006/relationships/slideLayout" Target="../slideLayouts/slideLayout566.xml"/><Relationship Id="rId327" Type="http://schemas.openxmlformats.org/officeDocument/2006/relationships/slideLayout" Target="../slideLayouts/slideLayout762.xml"/><Relationship Id="rId369" Type="http://schemas.openxmlformats.org/officeDocument/2006/relationships/slideLayout" Target="../slideLayouts/slideLayout804.xml"/><Relationship Id="rId173" Type="http://schemas.openxmlformats.org/officeDocument/2006/relationships/slideLayout" Target="../slideLayouts/slideLayout608.xml"/><Relationship Id="rId229" Type="http://schemas.openxmlformats.org/officeDocument/2006/relationships/slideLayout" Target="../slideLayouts/slideLayout664.xml"/><Relationship Id="rId380" Type="http://schemas.openxmlformats.org/officeDocument/2006/relationships/slideLayout" Target="../slideLayouts/slideLayout815.xml"/><Relationship Id="rId436" Type="http://schemas.openxmlformats.org/officeDocument/2006/relationships/slideLayout" Target="../slideLayouts/slideLayout871.xml"/><Relationship Id="rId240" Type="http://schemas.openxmlformats.org/officeDocument/2006/relationships/slideLayout" Target="../slideLayouts/slideLayout675.xml"/><Relationship Id="rId35" Type="http://schemas.openxmlformats.org/officeDocument/2006/relationships/slideLayout" Target="../slideLayouts/slideLayout470.xml"/><Relationship Id="rId77" Type="http://schemas.openxmlformats.org/officeDocument/2006/relationships/slideLayout" Target="../slideLayouts/slideLayout512.xml"/><Relationship Id="rId100" Type="http://schemas.openxmlformats.org/officeDocument/2006/relationships/slideLayout" Target="../slideLayouts/slideLayout535.xml"/><Relationship Id="rId282" Type="http://schemas.openxmlformats.org/officeDocument/2006/relationships/slideLayout" Target="../slideLayouts/slideLayout717.xml"/><Relationship Id="rId338" Type="http://schemas.openxmlformats.org/officeDocument/2006/relationships/slideLayout" Target="../slideLayouts/slideLayout773.xml"/><Relationship Id="rId8" Type="http://schemas.openxmlformats.org/officeDocument/2006/relationships/slideLayout" Target="../slideLayouts/slideLayout443.xml"/><Relationship Id="rId142" Type="http://schemas.openxmlformats.org/officeDocument/2006/relationships/slideLayout" Target="../slideLayouts/slideLayout577.xml"/><Relationship Id="rId184" Type="http://schemas.openxmlformats.org/officeDocument/2006/relationships/slideLayout" Target="../slideLayouts/slideLayout619.xml"/><Relationship Id="rId391" Type="http://schemas.openxmlformats.org/officeDocument/2006/relationships/slideLayout" Target="../slideLayouts/slideLayout826.xml"/><Relationship Id="rId405" Type="http://schemas.openxmlformats.org/officeDocument/2006/relationships/slideLayout" Target="../slideLayouts/slideLayout840.xml"/><Relationship Id="rId251" Type="http://schemas.openxmlformats.org/officeDocument/2006/relationships/slideLayout" Target="../slideLayouts/slideLayout686.xml"/><Relationship Id="rId46" Type="http://schemas.openxmlformats.org/officeDocument/2006/relationships/slideLayout" Target="../slideLayouts/slideLayout481.xml"/><Relationship Id="rId293" Type="http://schemas.openxmlformats.org/officeDocument/2006/relationships/slideLayout" Target="../slideLayouts/slideLayout728.xml"/><Relationship Id="rId307" Type="http://schemas.openxmlformats.org/officeDocument/2006/relationships/slideLayout" Target="../slideLayouts/slideLayout742.xml"/><Relationship Id="rId349" Type="http://schemas.openxmlformats.org/officeDocument/2006/relationships/slideLayout" Target="../slideLayouts/slideLayout784.xml"/><Relationship Id="rId88" Type="http://schemas.openxmlformats.org/officeDocument/2006/relationships/slideLayout" Target="../slideLayouts/slideLayout523.xml"/><Relationship Id="rId111" Type="http://schemas.openxmlformats.org/officeDocument/2006/relationships/slideLayout" Target="../slideLayouts/slideLayout546.xml"/><Relationship Id="rId153" Type="http://schemas.openxmlformats.org/officeDocument/2006/relationships/slideLayout" Target="../slideLayouts/slideLayout588.xml"/><Relationship Id="rId195" Type="http://schemas.openxmlformats.org/officeDocument/2006/relationships/slideLayout" Target="../slideLayouts/slideLayout630.xml"/><Relationship Id="rId209" Type="http://schemas.openxmlformats.org/officeDocument/2006/relationships/slideLayout" Target="../slideLayouts/slideLayout644.xml"/><Relationship Id="rId360" Type="http://schemas.openxmlformats.org/officeDocument/2006/relationships/slideLayout" Target="../slideLayouts/slideLayout795.xml"/><Relationship Id="rId416" Type="http://schemas.openxmlformats.org/officeDocument/2006/relationships/slideLayout" Target="../slideLayouts/slideLayout851.xml"/><Relationship Id="rId220" Type="http://schemas.openxmlformats.org/officeDocument/2006/relationships/slideLayout" Target="../slideLayouts/slideLayout655.xml"/><Relationship Id="rId15" Type="http://schemas.openxmlformats.org/officeDocument/2006/relationships/slideLayout" Target="../slideLayouts/slideLayout450.xml"/><Relationship Id="rId57" Type="http://schemas.openxmlformats.org/officeDocument/2006/relationships/slideLayout" Target="../slideLayouts/slideLayout492.xml"/><Relationship Id="rId262" Type="http://schemas.openxmlformats.org/officeDocument/2006/relationships/slideLayout" Target="../slideLayouts/slideLayout697.xml"/><Relationship Id="rId318" Type="http://schemas.openxmlformats.org/officeDocument/2006/relationships/slideLayout" Target="../slideLayouts/slideLayout753.xml"/><Relationship Id="rId99" Type="http://schemas.openxmlformats.org/officeDocument/2006/relationships/slideLayout" Target="../slideLayouts/slideLayout534.xml"/><Relationship Id="rId122" Type="http://schemas.openxmlformats.org/officeDocument/2006/relationships/slideLayout" Target="../slideLayouts/slideLayout557.xml"/><Relationship Id="rId164" Type="http://schemas.openxmlformats.org/officeDocument/2006/relationships/slideLayout" Target="../slideLayouts/slideLayout599.xml"/><Relationship Id="rId371" Type="http://schemas.openxmlformats.org/officeDocument/2006/relationships/slideLayout" Target="../slideLayouts/slideLayout806.xml"/><Relationship Id="rId427" Type="http://schemas.openxmlformats.org/officeDocument/2006/relationships/slideLayout" Target="../slideLayouts/slideLayout862.xml"/><Relationship Id="rId26" Type="http://schemas.openxmlformats.org/officeDocument/2006/relationships/slideLayout" Target="../slideLayouts/slideLayout461.xml"/><Relationship Id="rId231" Type="http://schemas.openxmlformats.org/officeDocument/2006/relationships/slideLayout" Target="../slideLayouts/slideLayout666.xml"/><Relationship Id="rId273" Type="http://schemas.openxmlformats.org/officeDocument/2006/relationships/slideLayout" Target="../slideLayouts/slideLayout708.xml"/><Relationship Id="rId329" Type="http://schemas.openxmlformats.org/officeDocument/2006/relationships/slideLayout" Target="../slideLayouts/slideLayout764.xml"/><Relationship Id="rId68" Type="http://schemas.openxmlformats.org/officeDocument/2006/relationships/slideLayout" Target="../slideLayouts/slideLayout503.xml"/><Relationship Id="rId133" Type="http://schemas.openxmlformats.org/officeDocument/2006/relationships/slideLayout" Target="../slideLayouts/slideLayout568.xml"/><Relationship Id="rId175" Type="http://schemas.openxmlformats.org/officeDocument/2006/relationships/slideLayout" Target="../slideLayouts/slideLayout610.xml"/><Relationship Id="rId340" Type="http://schemas.openxmlformats.org/officeDocument/2006/relationships/slideLayout" Target="../slideLayouts/slideLayout775.xml"/><Relationship Id="rId200" Type="http://schemas.openxmlformats.org/officeDocument/2006/relationships/slideLayout" Target="../slideLayouts/slideLayout635.xml"/><Relationship Id="rId382" Type="http://schemas.openxmlformats.org/officeDocument/2006/relationships/slideLayout" Target="../slideLayouts/slideLayout817.xml"/><Relationship Id="rId438" Type="http://schemas.openxmlformats.org/officeDocument/2006/relationships/theme" Target="../theme/theme3.xml"/><Relationship Id="rId242" Type="http://schemas.openxmlformats.org/officeDocument/2006/relationships/slideLayout" Target="../slideLayouts/slideLayout677.xml"/><Relationship Id="rId284" Type="http://schemas.openxmlformats.org/officeDocument/2006/relationships/slideLayout" Target="../slideLayouts/slideLayout719.xml"/><Relationship Id="rId37" Type="http://schemas.openxmlformats.org/officeDocument/2006/relationships/slideLayout" Target="../slideLayouts/slideLayout472.xml"/><Relationship Id="rId79" Type="http://schemas.openxmlformats.org/officeDocument/2006/relationships/slideLayout" Target="../slideLayouts/slideLayout514.xml"/><Relationship Id="rId102" Type="http://schemas.openxmlformats.org/officeDocument/2006/relationships/slideLayout" Target="../slideLayouts/slideLayout537.xml"/><Relationship Id="rId144" Type="http://schemas.openxmlformats.org/officeDocument/2006/relationships/slideLayout" Target="../slideLayouts/slideLayout579.xml"/><Relationship Id="rId90" Type="http://schemas.openxmlformats.org/officeDocument/2006/relationships/slideLayout" Target="../slideLayouts/slideLayout525.xml"/><Relationship Id="rId186" Type="http://schemas.openxmlformats.org/officeDocument/2006/relationships/slideLayout" Target="../slideLayouts/slideLayout621.xml"/><Relationship Id="rId351" Type="http://schemas.openxmlformats.org/officeDocument/2006/relationships/slideLayout" Target="../slideLayouts/slideLayout786.xml"/><Relationship Id="rId393" Type="http://schemas.openxmlformats.org/officeDocument/2006/relationships/slideLayout" Target="../slideLayouts/slideLayout828.xml"/><Relationship Id="rId407" Type="http://schemas.openxmlformats.org/officeDocument/2006/relationships/slideLayout" Target="../slideLayouts/slideLayout842.xml"/><Relationship Id="rId211" Type="http://schemas.openxmlformats.org/officeDocument/2006/relationships/slideLayout" Target="../slideLayouts/slideLayout646.xml"/><Relationship Id="rId253" Type="http://schemas.openxmlformats.org/officeDocument/2006/relationships/slideLayout" Target="../slideLayouts/slideLayout688.xml"/><Relationship Id="rId295" Type="http://schemas.openxmlformats.org/officeDocument/2006/relationships/slideLayout" Target="../slideLayouts/slideLayout730.xml"/><Relationship Id="rId309" Type="http://schemas.openxmlformats.org/officeDocument/2006/relationships/slideLayout" Target="../slideLayouts/slideLayout744.xml"/><Relationship Id="rId48" Type="http://schemas.openxmlformats.org/officeDocument/2006/relationships/slideLayout" Target="../slideLayouts/slideLayout483.xml"/><Relationship Id="rId113" Type="http://schemas.openxmlformats.org/officeDocument/2006/relationships/slideLayout" Target="../slideLayouts/slideLayout548.xml"/><Relationship Id="rId320" Type="http://schemas.openxmlformats.org/officeDocument/2006/relationships/slideLayout" Target="../slideLayouts/slideLayout755.xml"/><Relationship Id="rId155" Type="http://schemas.openxmlformats.org/officeDocument/2006/relationships/slideLayout" Target="../slideLayouts/slideLayout590.xml"/><Relationship Id="rId197" Type="http://schemas.openxmlformats.org/officeDocument/2006/relationships/slideLayout" Target="../slideLayouts/slideLayout632.xml"/><Relationship Id="rId362" Type="http://schemas.openxmlformats.org/officeDocument/2006/relationships/slideLayout" Target="../slideLayouts/slideLayout797.xml"/><Relationship Id="rId418" Type="http://schemas.openxmlformats.org/officeDocument/2006/relationships/slideLayout" Target="../slideLayouts/slideLayout853.xml"/><Relationship Id="rId222" Type="http://schemas.openxmlformats.org/officeDocument/2006/relationships/slideLayout" Target="../slideLayouts/slideLayout657.xml"/><Relationship Id="rId264" Type="http://schemas.openxmlformats.org/officeDocument/2006/relationships/slideLayout" Target="../slideLayouts/slideLayout699.xml"/><Relationship Id="rId17" Type="http://schemas.openxmlformats.org/officeDocument/2006/relationships/slideLayout" Target="../slideLayouts/slideLayout452.xml"/><Relationship Id="rId59" Type="http://schemas.openxmlformats.org/officeDocument/2006/relationships/slideLayout" Target="../slideLayouts/slideLayout494.xml"/><Relationship Id="rId124" Type="http://schemas.openxmlformats.org/officeDocument/2006/relationships/slideLayout" Target="../slideLayouts/slideLayout559.xml"/><Relationship Id="rId70" Type="http://schemas.openxmlformats.org/officeDocument/2006/relationships/slideLayout" Target="../slideLayouts/slideLayout505.xml"/><Relationship Id="rId166" Type="http://schemas.openxmlformats.org/officeDocument/2006/relationships/slideLayout" Target="../slideLayouts/slideLayout601.xml"/><Relationship Id="rId331" Type="http://schemas.openxmlformats.org/officeDocument/2006/relationships/slideLayout" Target="../slideLayouts/slideLayout766.xml"/><Relationship Id="rId373" Type="http://schemas.openxmlformats.org/officeDocument/2006/relationships/slideLayout" Target="../slideLayouts/slideLayout808.xml"/><Relationship Id="rId429" Type="http://schemas.openxmlformats.org/officeDocument/2006/relationships/slideLayout" Target="../slideLayouts/slideLayout864.xml"/><Relationship Id="rId1" Type="http://schemas.openxmlformats.org/officeDocument/2006/relationships/slideLayout" Target="../slideLayouts/slideLayout436.xml"/><Relationship Id="rId233" Type="http://schemas.openxmlformats.org/officeDocument/2006/relationships/slideLayout" Target="../slideLayouts/slideLayout668.xml"/><Relationship Id="rId28" Type="http://schemas.openxmlformats.org/officeDocument/2006/relationships/slideLayout" Target="../slideLayouts/slideLayout463.xml"/><Relationship Id="rId275" Type="http://schemas.openxmlformats.org/officeDocument/2006/relationships/slideLayout" Target="../slideLayouts/slideLayout710.xml"/><Relationship Id="rId300" Type="http://schemas.openxmlformats.org/officeDocument/2006/relationships/slideLayout" Target="../slideLayouts/slideLayout7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0.xml"/><Relationship Id="rId3" Type="http://schemas.openxmlformats.org/officeDocument/2006/relationships/slideLayout" Target="../slideLayouts/slideLayout875.xml"/><Relationship Id="rId7" Type="http://schemas.openxmlformats.org/officeDocument/2006/relationships/slideLayout" Target="../slideLayouts/slideLayout87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74.xml"/><Relationship Id="rId1" Type="http://schemas.openxmlformats.org/officeDocument/2006/relationships/slideLayout" Target="../slideLayouts/slideLayout873.xml"/><Relationship Id="rId6" Type="http://schemas.openxmlformats.org/officeDocument/2006/relationships/slideLayout" Target="../slideLayouts/slideLayout878.xml"/><Relationship Id="rId11" Type="http://schemas.openxmlformats.org/officeDocument/2006/relationships/slideLayout" Target="../slideLayouts/slideLayout883.xml"/><Relationship Id="rId5" Type="http://schemas.openxmlformats.org/officeDocument/2006/relationships/slideLayout" Target="../slideLayouts/slideLayout877.xml"/><Relationship Id="rId10" Type="http://schemas.openxmlformats.org/officeDocument/2006/relationships/slideLayout" Target="../slideLayouts/slideLayout882.xml"/><Relationship Id="rId4" Type="http://schemas.openxmlformats.org/officeDocument/2006/relationships/slideLayout" Target="../slideLayouts/slideLayout876.xml"/><Relationship Id="rId9" Type="http://schemas.openxmlformats.org/officeDocument/2006/relationships/slideLayout" Target="../slideLayouts/slideLayout881.xml"/></Relationships>
</file>

<file path=ppt/slideMasters/_rels/slideMaster5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000.xml"/><Relationship Id="rId299" Type="http://schemas.openxmlformats.org/officeDocument/2006/relationships/slideLayout" Target="../slideLayouts/slideLayout1182.xml"/><Relationship Id="rId21" Type="http://schemas.openxmlformats.org/officeDocument/2006/relationships/slideLayout" Target="../slideLayouts/slideLayout904.xml"/><Relationship Id="rId63" Type="http://schemas.openxmlformats.org/officeDocument/2006/relationships/slideLayout" Target="../slideLayouts/slideLayout946.xml"/><Relationship Id="rId159" Type="http://schemas.openxmlformats.org/officeDocument/2006/relationships/slideLayout" Target="../slideLayouts/slideLayout1042.xml"/><Relationship Id="rId324" Type="http://schemas.openxmlformats.org/officeDocument/2006/relationships/slideLayout" Target="../slideLayouts/slideLayout1207.xml"/><Relationship Id="rId366" Type="http://schemas.openxmlformats.org/officeDocument/2006/relationships/slideLayout" Target="../slideLayouts/slideLayout1249.xml"/><Relationship Id="rId170" Type="http://schemas.openxmlformats.org/officeDocument/2006/relationships/slideLayout" Target="../slideLayouts/slideLayout1053.xml"/><Relationship Id="rId226" Type="http://schemas.openxmlformats.org/officeDocument/2006/relationships/slideLayout" Target="../slideLayouts/slideLayout1109.xml"/><Relationship Id="rId433" Type="http://schemas.openxmlformats.org/officeDocument/2006/relationships/slideLayout" Target="../slideLayouts/slideLayout1316.xml"/><Relationship Id="rId268" Type="http://schemas.openxmlformats.org/officeDocument/2006/relationships/slideLayout" Target="../slideLayouts/slideLayout1151.xml"/><Relationship Id="rId32" Type="http://schemas.openxmlformats.org/officeDocument/2006/relationships/slideLayout" Target="../slideLayouts/slideLayout915.xml"/><Relationship Id="rId74" Type="http://schemas.openxmlformats.org/officeDocument/2006/relationships/slideLayout" Target="../slideLayouts/slideLayout957.xml"/><Relationship Id="rId128" Type="http://schemas.openxmlformats.org/officeDocument/2006/relationships/slideLayout" Target="../slideLayouts/slideLayout1011.xml"/><Relationship Id="rId335" Type="http://schemas.openxmlformats.org/officeDocument/2006/relationships/slideLayout" Target="../slideLayouts/slideLayout1218.xml"/><Relationship Id="rId377" Type="http://schemas.openxmlformats.org/officeDocument/2006/relationships/slideLayout" Target="../slideLayouts/slideLayout1260.xml"/><Relationship Id="rId5" Type="http://schemas.openxmlformats.org/officeDocument/2006/relationships/slideLayout" Target="../slideLayouts/slideLayout888.xml"/><Relationship Id="rId181" Type="http://schemas.openxmlformats.org/officeDocument/2006/relationships/slideLayout" Target="../slideLayouts/slideLayout1064.xml"/><Relationship Id="rId237" Type="http://schemas.openxmlformats.org/officeDocument/2006/relationships/slideLayout" Target="../slideLayouts/slideLayout1120.xml"/><Relationship Id="rId402" Type="http://schemas.openxmlformats.org/officeDocument/2006/relationships/slideLayout" Target="../slideLayouts/slideLayout1285.xml"/><Relationship Id="rId279" Type="http://schemas.openxmlformats.org/officeDocument/2006/relationships/slideLayout" Target="../slideLayouts/slideLayout1162.xml"/><Relationship Id="rId444" Type="http://schemas.openxmlformats.org/officeDocument/2006/relationships/slideLayout" Target="../slideLayouts/slideLayout1327.xml"/><Relationship Id="rId43" Type="http://schemas.openxmlformats.org/officeDocument/2006/relationships/slideLayout" Target="../slideLayouts/slideLayout926.xml"/><Relationship Id="rId139" Type="http://schemas.openxmlformats.org/officeDocument/2006/relationships/slideLayout" Target="../slideLayouts/slideLayout1022.xml"/><Relationship Id="rId290" Type="http://schemas.openxmlformats.org/officeDocument/2006/relationships/slideLayout" Target="../slideLayouts/slideLayout1173.xml"/><Relationship Id="rId304" Type="http://schemas.openxmlformats.org/officeDocument/2006/relationships/slideLayout" Target="../slideLayouts/slideLayout1187.xml"/><Relationship Id="rId346" Type="http://schemas.openxmlformats.org/officeDocument/2006/relationships/slideLayout" Target="../slideLayouts/slideLayout1229.xml"/><Relationship Id="rId388" Type="http://schemas.openxmlformats.org/officeDocument/2006/relationships/slideLayout" Target="../slideLayouts/slideLayout1271.xml"/><Relationship Id="rId85" Type="http://schemas.openxmlformats.org/officeDocument/2006/relationships/slideLayout" Target="../slideLayouts/slideLayout968.xml"/><Relationship Id="rId150" Type="http://schemas.openxmlformats.org/officeDocument/2006/relationships/slideLayout" Target="../slideLayouts/slideLayout1033.xml"/><Relationship Id="rId192" Type="http://schemas.openxmlformats.org/officeDocument/2006/relationships/slideLayout" Target="../slideLayouts/slideLayout1075.xml"/><Relationship Id="rId206" Type="http://schemas.openxmlformats.org/officeDocument/2006/relationships/slideLayout" Target="../slideLayouts/slideLayout1089.xml"/><Relationship Id="rId413" Type="http://schemas.openxmlformats.org/officeDocument/2006/relationships/slideLayout" Target="../slideLayouts/slideLayout1296.xml"/><Relationship Id="rId248" Type="http://schemas.openxmlformats.org/officeDocument/2006/relationships/slideLayout" Target="../slideLayouts/slideLayout1131.xml"/><Relationship Id="rId455" Type="http://schemas.openxmlformats.org/officeDocument/2006/relationships/slideLayout" Target="../slideLayouts/slideLayout1338.xml"/><Relationship Id="rId12" Type="http://schemas.openxmlformats.org/officeDocument/2006/relationships/slideLayout" Target="../slideLayouts/slideLayout895.xml"/><Relationship Id="rId108" Type="http://schemas.openxmlformats.org/officeDocument/2006/relationships/slideLayout" Target="../slideLayouts/slideLayout991.xml"/><Relationship Id="rId315" Type="http://schemas.openxmlformats.org/officeDocument/2006/relationships/slideLayout" Target="../slideLayouts/slideLayout1198.xml"/><Relationship Id="rId357" Type="http://schemas.openxmlformats.org/officeDocument/2006/relationships/slideLayout" Target="../slideLayouts/slideLayout1240.xml"/><Relationship Id="rId54" Type="http://schemas.openxmlformats.org/officeDocument/2006/relationships/slideLayout" Target="../slideLayouts/slideLayout937.xml"/><Relationship Id="rId96" Type="http://schemas.openxmlformats.org/officeDocument/2006/relationships/slideLayout" Target="../slideLayouts/slideLayout979.xml"/><Relationship Id="rId161" Type="http://schemas.openxmlformats.org/officeDocument/2006/relationships/slideLayout" Target="../slideLayouts/slideLayout1044.xml"/><Relationship Id="rId217" Type="http://schemas.openxmlformats.org/officeDocument/2006/relationships/slideLayout" Target="../slideLayouts/slideLayout1100.xml"/><Relationship Id="rId399" Type="http://schemas.openxmlformats.org/officeDocument/2006/relationships/slideLayout" Target="../slideLayouts/slideLayout1282.xml"/><Relationship Id="rId259" Type="http://schemas.openxmlformats.org/officeDocument/2006/relationships/slideLayout" Target="../slideLayouts/slideLayout1142.xml"/><Relationship Id="rId424" Type="http://schemas.openxmlformats.org/officeDocument/2006/relationships/slideLayout" Target="../slideLayouts/slideLayout1307.xml"/><Relationship Id="rId23" Type="http://schemas.openxmlformats.org/officeDocument/2006/relationships/slideLayout" Target="../slideLayouts/slideLayout906.xml"/><Relationship Id="rId119" Type="http://schemas.openxmlformats.org/officeDocument/2006/relationships/slideLayout" Target="../slideLayouts/slideLayout1002.xml"/><Relationship Id="rId270" Type="http://schemas.openxmlformats.org/officeDocument/2006/relationships/slideLayout" Target="../slideLayouts/slideLayout1153.xml"/><Relationship Id="rId326" Type="http://schemas.openxmlformats.org/officeDocument/2006/relationships/slideLayout" Target="../slideLayouts/slideLayout1209.xml"/><Relationship Id="rId65" Type="http://schemas.openxmlformats.org/officeDocument/2006/relationships/slideLayout" Target="../slideLayouts/slideLayout948.xml"/><Relationship Id="rId130" Type="http://schemas.openxmlformats.org/officeDocument/2006/relationships/slideLayout" Target="../slideLayouts/slideLayout1013.xml"/><Relationship Id="rId368" Type="http://schemas.openxmlformats.org/officeDocument/2006/relationships/slideLayout" Target="../slideLayouts/slideLayout1251.xml"/><Relationship Id="rId172" Type="http://schemas.openxmlformats.org/officeDocument/2006/relationships/slideLayout" Target="../slideLayouts/slideLayout1055.xml"/><Relationship Id="rId228" Type="http://schemas.openxmlformats.org/officeDocument/2006/relationships/slideLayout" Target="../slideLayouts/slideLayout1111.xml"/><Relationship Id="rId435" Type="http://schemas.openxmlformats.org/officeDocument/2006/relationships/slideLayout" Target="../slideLayouts/slideLayout1318.xml"/><Relationship Id="rId281" Type="http://schemas.openxmlformats.org/officeDocument/2006/relationships/slideLayout" Target="../slideLayouts/slideLayout1164.xml"/><Relationship Id="rId337" Type="http://schemas.openxmlformats.org/officeDocument/2006/relationships/slideLayout" Target="../slideLayouts/slideLayout1220.xml"/><Relationship Id="rId34" Type="http://schemas.openxmlformats.org/officeDocument/2006/relationships/slideLayout" Target="../slideLayouts/slideLayout917.xml"/><Relationship Id="rId76" Type="http://schemas.openxmlformats.org/officeDocument/2006/relationships/slideLayout" Target="../slideLayouts/slideLayout959.xml"/><Relationship Id="rId141" Type="http://schemas.openxmlformats.org/officeDocument/2006/relationships/slideLayout" Target="../slideLayouts/slideLayout1024.xml"/><Relationship Id="rId379" Type="http://schemas.openxmlformats.org/officeDocument/2006/relationships/slideLayout" Target="../slideLayouts/slideLayout1262.xml"/><Relationship Id="rId7" Type="http://schemas.openxmlformats.org/officeDocument/2006/relationships/slideLayout" Target="../slideLayouts/slideLayout890.xml"/><Relationship Id="rId183" Type="http://schemas.openxmlformats.org/officeDocument/2006/relationships/slideLayout" Target="../slideLayouts/slideLayout1066.xml"/><Relationship Id="rId239" Type="http://schemas.openxmlformats.org/officeDocument/2006/relationships/slideLayout" Target="../slideLayouts/slideLayout1122.xml"/><Relationship Id="rId390" Type="http://schemas.openxmlformats.org/officeDocument/2006/relationships/slideLayout" Target="../slideLayouts/slideLayout1273.xml"/><Relationship Id="rId404" Type="http://schemas.openxmlformats.org/officeDocument/2006/relationships/slideLayout" Target="../slideLayouts/slideLayout1287.xml"/><Relationship Id="rId446" Type="http://schemas.openxmlformats.org/officeDocument/2006/relationships/slideLayout" Target="../slideLayouts/slideLayout1329.xml"/><Relationship Id="rId250" Type="http://schemas.openxmlformats.org/officeDocument/2006/relationships/slideLayout" Target="../slideLayouts/slideLayout1133.xml"/><Relationship Id="rId292" Type="http://schemas.openxmlformats.org/officeDocument/2006/relationships/slideLayout" Target="../slideLayouts/slideLayout1175.xml"/><Relationship Id="rId306" Type="http://schemas.openxmlformats.org/officeDocument/2006/relationships/slideLayout" Target="../slideLayouts/slideLayout1189.xml"/><Relationship Id="rId45" Type="http://schemas.openxmlformats.org/officeDocument/2006/relationships/slideLayout" Target="../slideLayouts/slideLayout928.xml"/><Relationship Id="rId87" Type="http://schemas.openxmlformats.org/officeDocument/2006/relationships/slideLayout" Target="../slideLayouts/slideLayout970.xml"/><Relationship Id="rId110" Type="http://schemas.openxmlformats.org/officeDocument/2006/relationships/slideLayout" Target="../slideLayouts/slideLayout993.xml"/><Relationship Id="rId348" Type="http://schemas.openxmlformats.org/officeDocument/2006/relationships/slideLayout" Target="../slideLayouts/slideLayout1231.xml"/><Relationship Id="rId152" Type="http://schemas.openxmlformats.org/officeDocument/2006/relationships/slideLayout" Target="../slideLayouts/slideLayout1035.xml"/><Relationship Id="rId194" Type="http://schemas.openxmlformats.org/officeDocument/2006/relationships/slideLayout" Target="../slideLayouts/slideLayout1077.xml"/><Relationship Id="rId208" Type="http://schemas.openxmlformats.org/officeDocument/2006/relationships/slideLayout" Target="../slideLayouts/slideLayout1091.xml"/><Relationship Id="rId415" Type="http://schemas.openxmlformats.org/officeDocument/2006/relationships/slideLayout" Target="../slideLayouts/slideLayout1298.xml"/><Relationship Id="rId457" Type="http://schemas.openxmlformats.org/officeDocument/2006/relationships/theme" Target="../theme/theme5.xml"/><Relationship Id="rId261" Type="http://schemas.openxmlformats.org/officeDocument/2006/relationships/slideLayout" Target="../slideLayouts/slideLayout1144.xml"/><Relationship Id="rId14" Type="http://schemas.openxmlformats.org/officeDocument/2006/relationships/slideLayout" Target="../slideLayouts/slideLayout897.xml"/><Relationship Id="rId56" Type="http://schemas.openxmlformats.org/officeDocument/2006/relationships/slideLayout" Target="../slideLayouts/slideLayout939.xml"/><Relationship Id="rId317" Type="http://schemas.openxmlformats.org/officeDocument/2006/relationships/slideLayout" Target="../slideLayouts/slideLayout1200.xml"/><Relationship Id="rId359" Type="http://schemas.openxmlformats.org/officeDocument/2006/relationships/slideLayout" Target="../slideLayouts/slideLayout1242.xml"/><Relationship Id="rId98" Type="http://schemas.openxmlformats.org/officeDocument/2006/relationships/slideLayout" Target="../slideLayouts/slideLayout981.xml"/><Relationship Id="rId121" Type="http://schemas.openxmlformats.org/officeDocument/2006/relationships/slideLayout" Target="../slideLayouts/slideLayout1004.xml"/><Relationship Id="rId163" Type="http://schemas.openxmlformats.org/officeDocument/2006/relationships/slideLayout" Target="../slideLayouts/slideLayout1046.xml"/><Relationship Id="rId219" Type="http://schemas.openxmlformats.org/officeDocument/2006/relationships/slideLayout" Target="../slideLayouts/slideLayout1102.xml"/><Relationship Id="rId370" Type="http://schemas.openxmlformats.org/officeDocument/2006/relationships/slideLayout" Target="../slideLayouts/slideLayout1253.xml"/><Relationship Id="rId426" Type="http://schemas.openxmlformats.org/officeDocument/2006/relationships/slideLayout" Target="../slideLayouts/slideLayout1309.xml"/><Relationship Id="rId230" Type="http://schemas.openxmlformats.org/officeDocument/2006/relationships/slideLayout" Target="../slideLayouts/slideLayout1113.xml"/><Relationship Id="rId25" Type="http://schemas.openxmlformats.org/officeDocument/2006/relationships/slideLayout" Target="../slideLayouts/slideLayout908.xml"/><Relationship Id="rId67" Type="http://schemas.openxmlformats.org/officeDocument/2006/relationships/slideLayout" Target="../slideLayouts/slideLayout950.xml"/><Relationship Id="rId272" Type="http://schemas.openxmlformats.org/officeDocument/2006/relationships/slideLayout" Target="../slideLayouts/slideLayout1155.xml"/><Relationship Id="rId328" Type="http://schemas.openxmlformats.org/officeDocument/2006/relationships/slideLayout" Target="../slideLayouts/slideLayout1211.xml"/><Relationship Id="rId132" Type="http://schemas.openxmlformats.org/officeDocument/2006/relationships/slideLayout" Target="../slideLayouts/slideLayout1015.xml"/><Relationship Id="rId174" Type="http://schemas.openxmlformats.org/officeDocument/2006/relationships/slideLayout" Target="../slideLayouts/slideLayout1057.xml"/><Relationship Id="rId381" Type="http://schemas.openxmlformats.org/officeDocument/2006/relationships/slideLayout" Target="../slideLayouts/slideLayout1264.xml"/><Relationship Id="rId241" Type="http://schemas.openxmlformats.org/officeDocument/2006/relationships/slideLayout" Target="../slideLayouts/slideLayout1124.xml"/><Relationship Id="rId437" Type="http://schemas.openxmlformats.org/officeDocument/2006/relationships/slideLayout" Target="../slideLayouts/slideLayout1320.xml"/><Relationship Id="rId36" Type="http://schemas.openxmlformats.org/officeDocument/2006/relationships/slideLayout" Target="../slideLayouts/slideLayout919.xml"/><Relationship Id="rId283" Type="http://schemas.openxmlformats.org/officeDocument/2006/relationships/slideLayout" Target="../slideLayouts/slideLayout1166.xml"/><Relationship Id="rId339" Type="http://schemas.openxmlformats.org/officeDocument/2006/relationships/slideLayout" Target="../slideLayouts/slideLayout1222.xml"/><Relationship Id="rId78" Type="http://schemas.openxmlformats.org/officeDocument/2006/relationships/slideLayout" Target="../slideLayouts/slideLayout961.xml"/><Relationship Id="rId101" Type="http://schemas.openxmlformats.org/officeDocument/2006/relationships/slideLayout" Target="../slideLayouts/slideLayout984.xml"/><Relationship Id="rId143" Type="http://schemas.openxmlformats.org/officeDocument/2006/relationships/slideLayout" Target="../slideLayouts/slideLayout1026.xml"/><Relationship Id="rId185" Type="http://schemas.openxmlformats.org/officeDocument/2006/relationships/slideLayout" Target="../slideLayouts/slideLayout1068.xml"/><Relationship Id="rId350" Type="http://schemas.openxmlformats.org/officeDocument/2006/relationships/slideLayout" Target="../slideLayouts/slideLayout1233.xml"/><Relationship Id="rId406" Type="http://schemas.openxmlformats.org/officeDocument/2006/relationships/slideLayout" Target="../slideLayouts/slideLayout1289.xml"/><Relationship Id="rId9" Type="http://schemas.openxmlformats.org/officeDocument/2006/relationships/slideLayout" Target="../slideLayouts/slideLayout892.xml"/><Relationship Id="rId210" Type="http://schemas.openxmlformats.org/officeDocument/2006/relationships/slideLayout" Target="../slideLayouts/slideLayout1093.xml"/><Relationship Id="rId392" Type="http://schemas.openxmlformats.org/officeDocument/2006/relationships/slideLayout" Target="../slideLayouts/slideLayout1275.xml"/><Relationship Id="rId448" Type="http://schemas.openxmlformats.org/officeDocument/2006/relationships/slideLayout" Target="../slideLayouts/slideLayout1331.xml"/><Relationship Id="rId252" Type="http://schemas.openxmlformats.org/officeDocument/2006/relationships/slideLayout" Target="../slideLayouts/slideLayout1135.xml"/><Relationship Id="rId294" Type="http://schemas.openxmlformats.org/officeDocument/2006/relationships/slideLayout" Target="../slideLayouts/slideLayout1177.xml"/><Relationship Id="rId308" Type="http://schemas.openxmlformats.org/officeDocument/2006/relationships/slideLayout" Target="../slideLayouts/slideLayout1191.xml"/><Relationship Id="rId47" Type="http://schemas.openxmlformats.org/officeDocument/2006/relationships/slideLayout" Target="../slideLayouts/slideLayout930.xml"/><Relationship Id="rId89" Type="http://schemas.openxmlformats.org/officeDocument/2006/relationships/slideLayout" Target="../slideLayouts/slideLayout972.xml"/><Relationship Id="rId112" Type="http://schemas.openxmlformats.org/officeDocument/2006/relationships/slideLayout" Target="../slideLayouts/slideLayout995.xml"/><Relationship Id="rId154" Type="http://schemas.openxmlformats.org/officeDocument/2006/relationships/slideLayout" Target="../slideLayouts/slideLayout1037.xml"/><Relationship Id="rId361" Type="http://schemas.openxmlformats.org/officeDocument/2006/relationships/slideLayout" Target="../slideLayouts/slideLayout1244.xml"/><Relationship Id="rId196" Type="http://schemas.openxmlformats.org/officeDocument/2006/relationships/slideLayout" Target="../slideLayouts/slideLayout1079.xml"/><Relationship Id="rId417" Type="http://schemas.openxmlformats.org/officeDocument/2006/relationships/slideLayout" Target="../slideLayouts/slideLayout1300.xml"/><Relationship Id="rId16" Type="http://schemas.openxmlformats.org/officeDocument/2006/relationships/slideLayout" Target="../slideLayouts/slideLayout899.xml"/><Relationship Id="rId221" Type="http://schemas.openxmlformats.org/officeDocument/2006/relationships/slideLayout" Target="../slideLayouts/slideLayout1104.xml"/><Relationship Id="rId263" Type="http://schemas.openxmlformats.org/officeDocument/2006/relationships/slideLayout" Target="../slideLayouts/slideLayout1146.xml"/><Relationship Id="rId319" Type="http://schemas.openxmlformats.org/officeDocument/2006/relationships/slideLayout" Target="../slideLayouts/slideLayout1202.xml"/><Relationship Id="rId58" Type="http://schemas.openxmlformats.org/officeDocument/2006/relationships/slideLayout" Target="../slideLayouts/slideLayout941.xml"/><Relationship Id="rId123" Type="http://schemas.openxmlformats.org/officeDocument/2006/relationships/slideLayout" Target="../slideLayouts/slideLayout1006.xml"/><Relationship Id="rId330" Type="http://schemas.openxmlformats.org/officeDocument/2006/relationships/slideLayout" Target="../slideLayouts/slideLayout1213.xml"/><Relationship Id="rId165" Type="http://schemas.openxmlformats.org/officeDocument/2006/relationships/slideLayout" Target="../slideLayouts/slideLayout1048.xml"/><Relationship Id="rId372" Type="http://schemas.openxmlformats.org/officeDocument/2006/relationships/slideLayout" Target="../slideLayouts/slideLayout1255.xml"/><Relationship Id="rId428" Type="http://schemas.openxmlformats.org/officeDocument/2006/relationships/slideLayout" Target="../slideLayouts/slideLayout1311.xml"/><Relationship Id="rId232" Type="http://schemas.openxmlformats.org/officeDocument/2006/relationships/slideLayout" Target="../slideLayouts/slideLayout1115.xml"/><Relationship Id="rId274" Type="http://schemas.openxmlformats.org/officeDocument/2006/relationships/slideLayout" Target="../slideLayouts/slideLayout1157.xml"/><Relationship Id="rId27" Type="http://schemas.openxmlformats.org/officeDocument/2006/relationships/slideLayout" Target="../slideLayouts/slideLayout910.xml"/><Relationship Id="rId69" Type="http://schemas.openxmlformats.org/officeDocument/2006/relationships/slideLayout" Target="../slideLayouts/slideLayout952.xml"/><Relationship Id="rId134" Type="http://schemas.openxmlformats.org/officeDocument/2006/relationships/slideLayout" Target="../slideLayouts/slideLayout1017.xml"/><Relationship Id="rId80" Type="http://schemas.openxmlformats.org/officeDocument/2006/relationships/slideLayout" Target="../slideLayouts/slideLayout963.xml"/><Relationship Id="rId176" Type="http://schemas.openxmlformats.org/officeDocument/2006/relationships/slideLayout" Target="../slideLayouts/slideLayout1059.xml"/><Relationship Id="rId341" Type="http://schemas.openxmlformats.org/officeDocument/2006/relationships/slideLayout" Target="../slideLayouts/slideLayout1224.xml"/><Relationship Id="rId383" Type="http://schemas.openxmlformats.org/officeDocument/2006/relationships/slideLayout" Target="../slideLayouts/slideLayout1266.xml"/><Relationship Id="rId439" Type="http://schemas.openxmlformats.org/officeDocument/2006/relationships/slideLayout" Target="../slideLayouts/slideLayout1322.xml"/><Relationship Id="rId201" Type="http://schemas.openxmlformats.org/officeDocument/2006/relationships/slideLayout" Target="../slideLayouts/slideLayout1084.xml"/><Relationship Id="rId243" Type="http://schemas.openxmlformats.org/officeDocument/2006/relationships/slideLayout" Target="../slideLayouts/slideLayout1126.xml"/><Relationship Id="rId285" Type="http://schemas.openxmlformats.org/officeDocument/2006/relationships/slideLayout" Target="../slideLayouts/slideLayout1168.xml"/><Relationship Id="rId450" Type="http://schemas.openxmlformats.org/officeDocument/2006/relationships/slideLayout" Target="../slideLayouts/slideLayout1333.xml"/><Relationship Id="rId38" Type="http://schemas.openxmlformats.org/officeDocument/2006/relationships/slideLayout" Target="../slideLayouts/slideLayout921.xml"/><Relationship Id="rId103" Type="http://schemas.openxmlformats.org/officeDocument/2006/relationships/slideLayout" Target="../slideLayouts/slideLayout986.xml"/><Relationship Id="rId310" Type="http://schemas.openxmlformats.org/officeDocument/2006/relationships/slideLayout" Target="../slideLayouts/slideLayout1193.xml"/><Relationship Id="rId91" Type="http://schemas.openxmlformats.org/officeDocument/2006/relationships/slideLayout" Target="../slideLayouts/slideLayout974.xml"/><Relationship Id="rId145" Type="http://schemas.openxmlformats.org/officeDocument/2006/relationships/slideLayout" Target="../slideLayouts/slideLayout1028.xml"/><Relationship Id="rId187" Type="http://schemas.openxmlformats.org/officeDocument/2006/relationships/slideLayout" Target="../slideLayouts/slideLayout1070.xml"/><Relationship Id="rId352" Type="http://schemas.openxmlformats.org/officeDocument/2006/relationships/slideLayout" Target="../slideLayouts/slideLayout1235.xml"/><Relationship Id="rId394" Type="http://schemas.openxmlformats.org/officeDocument/2006/relationships/slideLayout" Target="../slideLayouts/slideLayout1277.xml"/><Relationship Id="rId408" Type="http://schemas.openxmlformats.org/officeDocument/2006/relationships/slideLayout" Target="../slideLayouts/slideLayout1291.xml"/><Relationship Id="rId212" Type="http://schemas.openxmlformats.org/officeDocument/2006/relationships/slideLayout" Target="../slideLayouts/slideLayout1095.xml"/><Relationship Id="rId254" Type="http://schemas.openxmlformats.org/officeDocument/2006/relationships/slideLayout" Target="../slideLayouts/slideLayout1137.xml"/><Relationship Id="rId49" Type="http://schemas.openxmlformats.org/officeDocument/2006/relationships/slideLayout" Target="../slideLayouts/slideLayout932.xml"/><Relationship Id="rId114" Type="http://schemas.openxmlformats.org/officeDocument/2006/relationships/slideLayout" Target="../slideLayouts/slideLayout997.xml"/><Relationship Id="rId296" Type="http://schemas.openxmlformats.org/officeDocument/2006/relationships/slideLayout" Target="../slideLayouts/slideLayout1179.xml"/><Relationship Id="rId60" Type="http://schemas.openxmlformats.org/officeDocument/2006/relationships/slideLayout" Target="../slideLayouts/slideLayout943.xml"/><Relationship Id="rId156" Type="http://schemas.openxmlformats.org/officeDocument/2006/relationships/slideLayout" Target="../slideLayouts/slideLayout1039.xml"/><Relationship Id="rId198" Type="http://schemas.openxmlformats.org/officeDocument/2006/relationships/slideLayout" Target="../slideLayouts/slideLayout1081.xml"/><Relationship Id="rId321" Type="http://schemas.openxmlformats.org/officeDocument/2006/relationships/slideLayout" Target="../slideLayouts/slideLayout1204.xml"/><Relationship Id="rId363" Type="http://schemas.openxmlformats.org/officeDocument/2006/relationships/slideLayout" Target="../slideLayouts/slideLayout1246.xml"/><Relationship Id="rId419" Type="http://schemas.openxmlformats.org/officeDocument/2006/relationships/slideLayout" Target="../slideLayouts/slideLayout1302.xml"/><Relationship Id="rId223" Type="http://schemas.openxmlformats.org/officeDocument/2006/relationships/slideLayout" Target="../slideLayouts/slideLayout1106.xml"/><Relationship Id="rId430" Type="http://schemas.openxmlformats.org/officeDocument/2006/relationships/slideLayout" Target="../slideLayouts/slideLayout1313.xml"/><Relationship Id="rId18" Type="http://schemas.openxmlformats.org/officeDocument/2006/relationships/slideLayout" Target="../slideLayouts/slideLayout901.xml"/><Relationship Id="rId265" Type="http://schemas.openxmlformats.org/officeDocument/2006/relationships/slideLayout" Target="../slideLayouts/slideLayout1148.xml"/><Relationship Id="rId125" Type="http://schemas.openxmlformats.org/officeDocument/2006/relationships/slideLayout" Target="../slideLayouts/slideLayout1008.xml"/><Relationship Id="rId167" Type="http://schemas.openxmlformats.org/officeDocument/2006/relationships/slideLayout" Target="../slideLayouts/slideLayout1050.xml"/><Relationship Id="rId332" Type="http://schemas.openxmlformats.org/officeDocument/2006/relationships/slideLayout" Target="../slideLayouts/slideLayout1215.xml"/><Relationship Id="rId374" Type="http://schemas.openxmlformats.org/officeDocument/2006/relationships/slideLayout" Target="../slideLayouts/slideLayout1257.xml"/><Relationship Id="rId71" Type="http://schemas.openxmlformats.org/officeDocument/2006/relationships/slideLayout" Target="../slideLayouts/slideLayout954.xml"/><Relationship Id="rId234" Type="http://schemas.openxmlformats.org/officeDocument/2006/relationships/slideLayout" Target="../slideLayouts/slideLayout1117.xml"/><Relationship Id="rId2" Type="http://schemas.openxmlformats.org/officeDocument/2006/relationships/slideLayout" Target="../slideLayouts/slideLayout885.xml"/><Relationship Id="rId29" Type="http://schemas.openxmlformats.org/officeDocument/2006/relationships/slideLayout" Target="../slideLayouts/slideLayout912.xml"/><Relationship Id="rId255" Type="http://schemas.openxmlformats.org/officeDocument/2006/relationships/slideLayout" Target="../slideLayouts/slideLayout1138.xml"/><Relationship Id="rId276" Type="http://schemas.openxmlformats.org/officeDocument/2006/relationships/slideLayout" Target="../slideLayouts/slideLayout1159.xml"/><Relationship Id="rId297" Type="http://schemas.openxmlformats.org/officeDocument/2006/relationships/slideLayout" Target="../slideLayouts/slideLayout1180.xml"/><Relationship Id="rId441" Type="http://schemas.openxmlformats.org/officeDocument/2006/relationships/slideLayout" Target="../slideLayouts/slideLayout1324.xml"/><Relationship Id="rId40" Type="http://schemas.openxmlformats.org/officeDocument/2006/relationships/slideLayout" Target="../slideLayouts/slideLayout923.xml"/><Relationship Id="rId115" Type="http://schemas.openxmlformats.org/officeDocument/2006/relationships/slideLayout" Target="../slideLayouts/slideLayout998.xml"/><Relationship Id="rId136" Type="http://schemas.openxmlformats.org/officeDocument/2006/relationships/slideLayout" Target="../slideLayouts/slideLayout1019.xml"/><Relationship Id="rId157" Type="http://schemas.openxmlformats.org/officeDocument/2006/relationships/slideLayout" Target="../slideLayouts/slideLayout1040.xml"/><Relationship Id="rId178" Type="http://schemas.openxmlformats.org/officeDocument/2006/relationships/slideLayout" Target="../slideLayouts/slideLayout1061.xml"/><Relationship Id="rId301" Type="http://schemas.openxmlformats.org/officeDocument/2006/relationships/slideLayout" Target="../slideLayouts/slideLayout1184.xml"/><Relationship Id="rId322" Type="http://schemas.openxmlformats.org/officeDocument/2006/relationships/slideLayout" Target="../slideLayouts/slideLayout1205.xml"/><Relationship Id="rId343" Type="http://schemas.openxmlformats.org/officeDocument/2006/relationships/slideLayout" Target="../slideLayouts/slideLayout1226.xml"/><Relationship Id="rId364" Type="http://schemas.openxmlformats.org/officeDocument/2006/relationships/slideLayout" Target="../slideLayouts/slideLayout1247.xml"/><Relationship Id="rId61" Type="http://schemas.openxmlformats.org/officeDocument/2006/relationships/slideLayout" Target="../slideLayouts/slideLayout944.xml"/><Relationship Id="rId82" Type="http://schemas.openxmlformats.org/officeDocument/2006/relationships/slideLayout" Target="../slideLayouts/slideLayout965.xml"/><Relationship Id="rId199" Type="http://schemas.openxmlformats.org/officeDocument/2006/relationships/slideLayout" Target="../slideLayouts/slideLayout1082.xml"/><Relationship Id="rId203" Type="http://schemas.openxmlformats.org/officeDocument/2006/relationships/slideLayout" Target="../slideLayouts/slideLayout1086.xml"/><Relationship Id="rId385" Type="http://schemas.openxmlformats.org/officeDocument/2006/relationships/slideLayout" Target="../slideLayouts/slideLayout1268.xml"/><Relationship Id="rId19" Type="http://schemas.openxmlformats.org/officeDocument/2006/relationships/slideLayout" Target="../slideLayouts/slideLayout902.xml"/><Relationship Id="rId224" Type="http://schemas.openxmlformats.org/officeDocument/2006/relationships/slideLayout" Target="../slideLayouts/slideLayout1107.xml"/><Relationship Id="rId245" Type="http://schemas.openxmlformats.org/officeDocument/2006/relationships/slideLayout" Target="../slideLayouts/slideLayout1128.xml"/><Relationship Id="rId266" Type="http://schemas.openxmlformats.org/officeDocument/2006/relationships/slideLayout" Target="../slideLayouts/slideLayout1149.xml"/><Relationship Id="rId287" Type="http://schemas.openxmlformats.org/officeDocument/2006/relationships/slideLayout" Target="../slideLayouts/slideLayout1170.xml"/><Relationship Id="rId410" Type="http://schemas.openxmlformats.org/officeDocument/2006/relationships/slideLayout" Target="../slideLayouts/slideLayout1293.xml"/><Relationship Id="rId431" Type="http://schemas.openxmlformats.org/officeDocument/2006/relationships/slideLayout" Target="../slideLayouts/slideLayout1314.xml"/><Relationship Id="rId452" Type="http://schemas.openxmlformats.org/officeDocument/2006/relationships/slideLayout" Target="../slideLayouts/slideLayout1335.xml"/><Relationship Id="rId30" Type="http://schemas.openxmlformats.org/officeDocument/2006/relationships/slideLayout" Target="../slideLayouts/slideLayout913.xml"/><Relationship Id="rId105" Type="http://schemas.openxmlformats.org/officeDocument/2006/relationships/slideLayout" Target="../slideLayouts/slideLayout988.xml"/><Relationship Id="rId126" Type="http://schemas.openxmlformats.org/officeDocument/2006/relationships/slideLayout" Target="../slideLayouts/slideLayout1009.xml"/><Relationship Id="rId147" Type="http://schemas.openxmlformats.org/officeDocument/2006/relationships/slideLayout" Target="../slideLayouts/slideLayout1030.xml"/><Relationship Id="rId168" Type="http://schemas.openxmlformats.org/officeDocument/2006/relationships/slideLayout" Target="../slideLayouts/slideLayout1051.xml"/><Relationship Id="rId312" Type="http://schemas.openxmlformats.org/officeDocument/2006/relationships/slideLayout" Target="../slideLayouts/slideLayout1195.xml"/><Relationship Id="rId333" Type="http://schemas.openxmlformats.org/officeDocument/2006/relationships/slideLayout" Target="../slideLayouts/slideLayout1216.xml"/><Relationship Id="rId354" Type="http://schemas.openxmlformats.org/officeDocument/2006/relationships/slideLayout" Target="../slideLayouts/slideLayout1237.xml"/><Relationship Id="rId51" Type="http://schemas.openxmlformats.org/officeDocument/2006/relationships/slideLayout" Target="../slideLayouts/slideLayout934.xml"/><Relationship Id="rId72" Type="http://schemas.openxmlformats.org/officeDocument/2006/relationships/slideLayout" Target="../slideLayouts/slideLayout955.xml"/><Relationship Id="rId93" Type="http://schemas.openxmlformats.org/officeDocument/2006/relationships/slideLayout" Target="../slideLayouts/slideLayout976.xml"/><Relationship Id="rId189" Type="http://schemas.openxmlformats.org/officeDocument/2006/relationships/slideLayout" Target="../slideLayouts/slideLayout1072.xml"/><Relationship Id="rId375" Type="http://schemas.openxmlformats.org/officeDocument/2006/relationships/slideLayout" Target="../slideLayouts/slideLayout1258.xml"/><Relationship Id="rId396" Type="http://schemas.openxmlformats.org/officeDocument/2006/relationships/slideLayout" Target="../slideLayouts/slideLayout1279.xml"/><Relationship Id="rId3" Type="http://schemas.openxmlformats.org/officeDocument/2006/relationships/slideLayout" Target="../slideLayouts/slideLayout886.xml"/><Relationship Id="rId214" Type="http://schemas.openxmlformats.org/officeDocument/2006/relationships/slideLayout" Target="../slideLayouts/slideLayout1097.xml"/><Relationship Id="rId235" Type="http://schemas.openxmlformats.org/officeDocument/2006/relationships/slideLayout" Target="../slideLayouts/slideLayout1118.xml"/><Relationship Id="rId256" Type="http://schemas.openxmlformats.org/officeDocument/2006/relationships/slideLayout" Target="../slideLayouts/slideLayout1139.xml"/><Relationship Id="rId277" Type="http://schemas.openxmlformats.org/officeDocument/2006/relationships/slideLayout" Target="../slideLayouts/slideLayout1160.xml"/><Relationship Id="rId298" Type="http://schemas.openxmlformats.org/officeDocument/2006/relationships/slideLayout" Target="../slideLayouts/slideLayout1181.xml"/><Relationship Id="rId400" Type="http://schemas.openxmlformats.org/officeDocument/2006/relationships/slideLayout" Target="../slideLayouts/slideLayout1283.xml"/><Relationship Id="rId421" Type="http://schemas.openxmlformats.org/officeDocument/2006/relationships/slideLayout" Target="../slideLayouts/slideLayout1304.xml"/><Relationship Id="rId442" Type="http://schemas.openxmlformats.org/officeDocument/2006/relationships/slideLayout" Target="../slideLayouts/slideLayout1325.xml"/><Relationship Id="rId116" Type="http://schemas.openxmlformats.org/officeDocument/2006/relationships/slideLayout" Target="../slideLayouts/slideLayout999.xml"/><Relationship Id="rId137" Type="http://schemas.openxmlformats.org/officeDocument/2006/relationships/slideLayout" Target="../slideLayouts/slideLayout1020.xml"/><Relationship Id="rId158" Type="http://schemas.openxmlformats.org/officeDocument/2006/relationships/slideLayout" Target="../slideLayouts/slideLayout1041.xml"/><Relationship Id="rId302" Type="http://schemas.openxmlformats.org/officeDocument/2006/relationships/slideLayout" Target="../slideLayouts/slideLayout1185.xml"/><Relationship Id="rId323" Type="http://schemas.openxmlformats.org/officeDocument/2006/relationships/slideLayout" Target="../slideLayouts/slideLayout1206.xml"/><Relationship Id="rId344" Type="http://schemas.openxmlformats.org/officeDocument/2006/relationships/slideLayout" Target="../slideLayouts/slideLayout1227.xml"/><Relationship Id="rId20" Type="http://schemas.openxmlformats.org/officeDocument/2006/relationships/slideLayout" Target="../slideLayouts/slideLayout903.xml"/><Relationship Id="rId41" Type="http://schemas.openxmlformats.org/officeDocument/2006/relationships/slideLayout" Target="../slideLayouts/slideLayout924.xml"/><Relationship Id="rId62" Type="http://schemas.openxmlformats.org/officeDocument/2006/relationships/slideLayout" Target="../slideLayouts/slideLayout945.xml"/><Relationship Id="rId83" Type="http://schemas.openxmlformats.org/officeDocument/2006/relationships/slideLayout" Target="../slideLayouts/slideLayout966.xml"/><Relationship Id="rId179" Type="http://schemas.openxmlformats.org/officeDocument/2006/relationships/slideLayout" Target="../slideLayouts/slideLayout1062.xml"/><Relationship Id="rId365" Type="http://schemas.openxmlformats.org/officeDocument/2006/relationships/slideLayout" Target="../slideLayouts/slideLayout1248.xml"/><Relationship Id="rId386" Type="http://schemas.openxmlformats.org/officeDocument/2006/relationships/slideLayout" Target="../slideLayouts/slideLayout1269.xml"/><Relationship Id="rId190" Type="http://schemas.openxmlformats.org/officeDocument/2006/relationships/slideLayout" Target="../slideLayouts/slideLayout1073.xml"/><Relationship Id="rId204" Type="http://schemas.openxmlformats.org/officeDocument/2006/relationships/slideLayout" Target="../slideLayouts/slideLayout1087.xml"/><Relationship Id="rId225" Type="http://schemas.openxmlformats.org/officeDocument/2006/relationships/slideLayout" Target="../slideLayouts/slideLayout1108.xml"/><Relationship Id="rId246" Type="http://schemas.openxmlformats.org/officeDocument/2006/relationships/slideLayout" Target="../slideLayouts/slideLayout1129.xml"/><Relationship Id="rId267" Type="http://schemas.openxmlformats.org/officeDocument/2006/relationships/slideLayout" Target="../slideLayouts/slideLayout1150.xml"/><Relationship Id="rId288" Type="http://schemas.openxmlformats.org/officeDocument/2006/relationships/slideLayout" Target="../slideLayouts/slideLayout1171.xml"/><Relationship Id="rId411" Type="http://schemas.openxmlformats.org/officeDocument/2006/relationships/slideLayout" Target="../slideLayouts/slideLayout1294.xml"/><Relationship Id="rId432" Type="http://schemas.openxmlformats.org/officeDocument/2006/relationships/slideLayout" Target="../slideLayouts/slideLayout1315.xml"/><Relationship Id="rId453" Type="http://schemas.openxmlformats.org/officeDocument/2006/relationships/slideLayout" Target="../slideLayouts/slideLayout1336.xml"/><Relationship Id="rId106" Type="http://schemas.openxmlformats.org/officeDocument/2006/relationships/slideLayout" Target="../slideLayouts/slideLayout989.xml"/><Relationship Id="rId127" Type="http://schemas.openxmlformats.org/officeDocument/2006/relationships/slideLayout" Target="../slideLayouts/slideLayout1010.xml"/><Relationship Id="rId313" Type="http://schemas.openxmlformats.org/officeDocument/2006/relationships/slideLayout" Target="../slideLayouts/slideLayout1196.xml"/><Relationship Id="rId10" Type="http://schemas.openxmlformats.org/officeDocument/2006/relationships/slideLayout" Target="../slideLayouts/slideLayout893.xml"/><Relationship Id="rId31" Type="http://schemas.openxmlformats.org/officeDocument/2006/relationships/slideLayout" Target="../slideLayouts/slideLayout914.xml"/><Relationship Id="rId52" Type="http://schemas.openxmlformats.org/officeDocument/2006/relationships/slideLayout" Target="../slideLayouts/slideLayout935.xml"/><Relationship Id="rId73" Type="http://schemas.openxmlformats.org/officeDocument/2006/relationships/slideLayout" Target="../slideLayouts/slideLayout956.xml"/><Relationship Id="rId94" Type="http://schemas.openxmlformats.org/officeDocument/2006/relationships/slideLayout" Target="../slideLayouts/slideLayout977.xml"/><Relationship Id="rId148" Type="http://schemas.openxmlformats.org/officeDocument/2006/relationships/slideLayout" Target="../slideLayouts/slideLayout1031.xml"/><Relationship Id="rId169" Type="http://schemas.openxmlformats.org/officeDocument/2006/relationships/slideLayout" Target="../slideLayouts/slideLayout1052.xml"/><Relationship Id="rId334" Type="http://schemas.openxmlformats.org/officeDocument/2006/relationships/slideLayout" Target="../slideLayouts/slideLayout1217.xml"/><Relationship Id="rId355" Type="http://schemas.openxmlformats.org/officeDocument/2006/relationships/slideLayout" Target="../slideLayouts/slideLayout1238.xml"/><Relationship Id="rId376" Type="http://schemas.openxmlformats.org/officeDocument/2006/relationships/slideLayout" Target="../slideLayouts/slideLayout1259.xml"/><Relationship Id="rId397" Type="http://schemas.openxmlformats.org/officeDocument/2006/relationships/slideLayout" Target="../slideLayouts/slideLayout1280.xml"/><Relationship Id="rId4" Type="http://schemas.openxmlformats.org/officeDocument/2006/relationships/slideLayout" Target="../slideLayouts/slideLayout887.xml"/><Relationship Id="rId180" Type="http://schemas.openxmlformats.org/officeDocument/2006/relationships/slideLayout" Target="../slideLayouts/slideLayout1063.xml"/><Relationship Id="rId215" Type="http://schemas.openxmlformats.org/officeDocument/2006/relationships/slideLayout" Target="../slideLayouts/slideLayout1098.xml"/><Relationship Id="rId236" Type="http://schemas.openxmlformats.org/officeDocument/2006/relationships/slideLayout" Target="../slideLayouts/slideLayout1119.xml"/><Relationship Id="rId257" Type="http://schemas.openxmlformats.org/officeDocument/2006/relationships/slideLayout" Target="../slideLayouts/slideLayout1140.xml"/><Relationship Id="rId278" Type="http://schemas.openxmlformats.org/officeDocument/2006/relationships/slideLayout" Target="../slideLayouts/slideLayout1161.xml"/><Relationship Id="rId401" Type="http://schemas.openxmlformats.org/officeDocument/2006/relationships/slideLayout" Target="../slideLayouts/slideLayout1284.xml"/><Relationship Id="rId422" Type="http://schemas.openxmlformats.org/officeDocument/2006/relationships/slideLayout" Target="../slideLayouts/slideLayout1305.xml"/><Relationship Id="rId443" Type="http://schemas.openxmlformats.org/officeDocument/2006/relationships/slideLayout" Target="../slideLayouts/slideLayout1326.xml"/><Relationship Id="rId303" Type="http://schemas.openxmlformats.org/officeDocument/2006/relationships/slideLayout" Target="../slideLayouts/slideLayout1186.xml"/><Relationship Id="rId42" Type="http://schemas.openxmlformats.org/officeDocument/2006/relationships/slideLayout" Target="../slideLayouts/slideLayout925.xml"/><Relationship Id="rId84" Type="http://schemas.openxmlformats.org/officeDocument/2006/relationships/slideLayout" Target="../slideLayouts/slideLayout967.xml"/><Relationship Id="rId138" Type="http://schemas.openxmlformats.org/officeDocument/2006/relationships/slideLayout" Target="../slideLayouts/slideLayout1021.xml"/><Relationship Id="rId345" Type="http://schemas.openxmlformats.org/officeDocument/2006/relationships/slideLayout" Target="../slideLayouts/slideLayout1228.xml"/><Relationship Id="rId387" Type="http://schemas.openxmlformats.org/officeDocument/2006/relationships/slideLayout" Target="../slideLayouts/slideLayout1270.xml"/><Relationship Id="rId191" Type="http://schemas.openxmlformats.org/officeDocument/2006/relationships/slideLayout" Target="../slideLayouts/slideLayout1074.xml"/><Relationship Id="rId205" Type="http://schemas.openxmlformats.org/officeDocument/2006/relationships/slideLayout" Target="../slideLayouts/slideLayout1088.xml"/><Relationship Id="rId247" Type="http://schemas.openxmlformats.org/officeDocument/2006/relationships/slideLayout" Target="../slideLayouts/slideLayout1130.xml"/><Relationship Id="rId412" Type="http://schemas.openxmlformats.org/officeDocument/2006/relationships/slideLayout" Target="../slideLayouts/slideLayout1295.xml"/><Relationship Id="rId107" Type="http://schemas.openxmlformats.org/officeDocument/2006/relationships/slideLayout" Target="../slideLayouts/slideLayout990.xml"/><Relationship Id="rId289" Type="http://schemas.openxmlformats.org/officeDocument/2006/relationships/slideLayout" Target="../slideLayouts/slideLayout1172.xml"/><Relationship Id="rId454" Type="http://schemas.openxmlformats.org/officeDocument/2006/relationships/slideLayout" Target="../slideLayouts/slideLayout1337.xml"/><Relationship Id="rId11" Type="http://schemas.openxmlformats.org/officeDocument/2006/relationships/slideLayout" Target="../slideLayouts/slideLayout894.xml"/><Relationship Id="rId53" Type="http://schemas.openxmlformats.org/officeDocument/2006/relationships/slideLayout" Target="../slideLayouts/slideLayout936.xml"/><Relationship Id="rId149" Type="http://schemas.openxmlformats.org/officeDocument/2006/relationships/slideLayout" Target="../slideLayouts/slideLayout1032.xml"/><Relationship Id="rId314" Type="http://schemas.openxmlformats.org/officeDocument/2006/relationships/slideLayout" Target="../slideLayouts/slideLayout1197.xml"/><Relationship Id="rId356" Type="http://schemas.openxmlformats.org/officeDocument/2006/relationships/slideLayout" Target="../slideLayouts/slideLayout1239.xml"/><Relationship Id="rId398" Type="http://schemas.openxmlformats.org/officeDocument/2006/relationships/slideLayout" Target="../slideLayouts/slideLayout1281.xml"/><Relationship Id="rId95" Type="http://schemas.openxmlformats.org/officeDocument/2006/relationships/slideLayout" Target="../slideLayouts/slideLayout978.xml"/><Relationship Id="rId160" Type="http://schemas.openxmlformats.org/officeDocument/2006/relationships/slideLayout" Target="../slideLayouts/slideLayout1043.xml"/><Relationship Id="rId216" Type="http://schemas.openxmlformats.org/officeDocument/2006/relationships/slideLayout" Target="../slideLayouts/slideLayout1099.xml"/><Relationship Id="rId423" Type="http://schemas.openxmlformats.org/officeDocument/2006/relationships/slideLayout" Target="../slideLayouts/slideLayout1306.xml"/><Relationship Id="rId258" Type="http://schemas.openxmlformats.org/officeDocument/2006/relationships/slideLayout" Target="../slideLayouts/slideLayout1141.xml"/><Relationship Id="rId22" Type="http://schemas.openxmlformats.org/officeDocument/2006/relationships/slideLayout" Target="../slideLayouts/slideLayout905.xml"/><Relationship Id="rId64" Type="http://schemas.openxmlformats.org/officeDocument/2006/relationships/slideLayout" Target="../slideLayouts/slideLayout947.xml"/><Relationship Id="rId118" Type="http://schemas.openxmlformats.org/officeDocument/2006/relationships/slideLayout" Target="../slideLayouts/slideLayout1001.xml"/><Relationship Id="rId325" Type="http://schemas.openxmlformats.org/officeDocument/2006/relationships/slideLayout" Target="../slideLayouts/slideLayout1208.xml"/><Relationship Id="rId367" Type="http://schemas.openxmlformats.org/officeDocument/2006/relationships/slideLayout" Target="../slideLayouts/slideLayout1250.xml"/><Relationship Id="rId171" Type="http://schemas.openxmlformats.org/officeDocument/2006/relationships/slideLayout" Target="../slideLayouts/slideLayout1054.xml"/><Relationship Id="rId227" Type="http://schemas.openxmlformats.org/officeDocument/2006/relationships/slideLayout" Target="../slideLayouts/slideLayout1110.xml"/><Relationship Id="rId269" Type="http://schemas.openxmlformats.org/officeDocument/2006/relationships/slideLayout" Target="../slideLayouts/slideLayout1152.xml"/><Relationship Id="rId434" Type="http://schemas.openxmlformats.org/officeDocument/2006/relationships/slideLayout" Target="../slideLayouts/slideLayout1317.xml"/><Relationship Id="rId33" Type="http://schemas.openxmlformats.org/officeDocument/2006/relationships/slideLayout" Target="../slideLayouts/slideLayout916.xml"/><Relationship Id="rId129" Type="http://schemas.openxmlformats.org/officeDocument/2006/relationships/slideLayout" Target="../slideLayouts/slideLayout1012.xml"/><Relationship Id="rId280" Type="http://schemas.openxmlformats.org/officeDocument/2006/relationships/slideLayout" Target="../slideLayouts/slideLayout1163.xml"/><Relationship Id="rId336" Type="http://schemas.openxmlformats.org/officeDocument/2006/relationships/slideLayout" Target="../slideLayouts/slideLayout1219.xml"/><Relationship Id="rId75" Type="http://schemas.openxmlformats.org/officeDocument/2006/relationships/slideLayout" Target="../slideLayouts/slideLayout958.xml"/><Relationship Id="rId140" Type="http://schemas.openxmlformats.org/officeDocument/2006/relationships/slideLayout" Target="../slideLayouts/slideLayout1023.xml"/><Relationship Id="rId182" Type="http://schemas.openxmlformats.org/officeDocument/2006/relationships/slideLayout" Target="../slideLayouts/slideLayout1065.xml"/><Relationship Id="rId378" Type="http://schemas.openxmlformats.org/officeDocument/2006/relationships/slideLayout" Target="../slideLayouts/slideLayout1261.xml"/><Relationship Id="rId403" Type="http://schemas.openxmlformats.org/officeDocument/2006/relationships/slideLayout" Target="../slideLayouts/slideLayout1286.xml"/><Relationship Id="rId6" Type="http://schemas.openxmlformats.org/officeDocument/2006/relationships/slideLayout" Target="../slideLayouts/slideLayout889.xml"/><Relationship Id="rId238" Type="http://schemas.openxmlformats.org/officeDocument/2006/relationships/slideLayout" Target="../slideLayouts/slideLayout1121.xml"/><Relationship Id="rId445" Type="http://schemas.openxmlformats.org/officeDocument/2006/relationships/slideLayout" Target="../slideLayouts/slideLayout1328.xml"/><Relationship Id="rId291" Type="http://schemas.openxmlformats.org/officeDocument/2006/relationships/slideLayout" Target="../slideLayouts/slideLayout1174.xml"/><Relationship Id="rId305" Type="http://schemas.openxmlformats.org/officeDocument/2006/relationships/slideLayout" Target="../slideLayouts/slideLayout1188.xml"/><Relationship Id="rId347" Type="http://schemas.openxmlformats.org/officeDocument/2006/relationships/slideLayout" Target="../slideLayouts/slideLayout1230.xml"/><Relationship Id="rId44" Type="http://schemas.openxmlformats.org/officeDocument/2006/relationships/slideLayout" Target="../slideLayouts/slideLayout927.xml"/><Relationship Id="rId86" Type="http://schemas.openxmlformats.org/officeDocument/2006/relationships/slideLayout" Target="../slideLayouts/slideLayout969.xml"/><Relationship Id="rId151" Type="http://schemas.openxmlformats.org/officeDocument/2006/relationships/slideLayout" Target="../slideLayouts/slideLayout1034.xml"/><Relationship Id="rId389" Type="http://schemas.openxmlformats.org/officeDocument/2006/relationships/slideLayout" Target="../slideLayouts/slideLayout1272.xml"/><Relationship Id="rId193" Type="http://schemas.openxmlformats.org/officeDocument/2006/relationships/slideLayout" Target="../slideLayouts/slideLayout1076.xml"/><Relationship Id="rId207" Type="http://schemas.openxmlformats.org/officeDocument/2006/relationships/slideLayout" Target="../slideLayouts/slideLayout1090.xml"/><Relationship Id="rId249" Type="http://schemas.openxmlformats.org/officeDocument/2006/relationships/slideLayout" Target="../slideLayouts/slideLayout1132.xml"/><Relationship Id="rId414" Type="http://schemas.openxmlformats.org/officeDocument/2006/relationships/slideLayout" Target="../slideLayouts/slideLayout1297.xml"/><Relationship Id="rId456" Type="http://schemas.openxmlformats.org/officeDocument/2006/relationships/slideLayout" Target="../slideLayouts/slideLayout1339.xml"/><Relationship Id="rId13" Type="http://schemas.openxmlformats.org/officeDocument/2006/relationships/slideLayout" Target="../slideLayouts/slideLayout896.xml"/><Relationship Id="rId109" Type="http://schemas.openxmlformats.org/officeDocument/2006/relationships/slideLayout" Target="../slideLayouts/slideLayout992.xml"/><Relationship Id="rId260" Type="http://schemas.openxmlformats.org/officeDocument/2006/relationships/slideLayout" Target="../slideLayouts/slideLayout1143.xml"/><Relationship Id="rId316" Type="http://schemas.openxmlformats.org/officeDocument/2006/relationships/slideLayout" Target="../slideLayouts/slideLayout1199.xml"/><Relationship Id="rId55" Type="http://schemas.openxmlformats.org/officeDocument/2006/relationships/slideLayout" Target="../slideLayouts/slideLayout938.xml"/><Relationship Id="rId97" Type="http://schemas.openxmlformats.org/officeDocument/2006/relationships/slideLayout" Target="../slideLayouts/slideLayout980.xml"/><Relationship Id="rId120" Type="http://schemas.openxmlformats.org/officeDocument/2006/relationships/slideLayout" Target="../slideLayouts/slideLayout1003.xml"/><Relationship Id="rId358" Type="http://schemas.openxmlformats.org/officeDocument/2006/relationships/slideLayout" Target="../slideLayouts/slideLayout1241.xml"/><Relationship Id="rId162" Type="http://schemas.openxmlformats.org/officeDocument/2006/relationships/slideLayout" Target="../slideLayouts/slideLayout1045.xml"/><Relationship Id="rId218" Type="http://schemas.openxmlformats.org/officeDocument/2006/relationships/slideLayout" Target="../slideLayouts/slideLayout1101.xml"/><Relationship Id="rId425" Type="http://schemas.openxmlformats.org/officeDocument/2006/relationships/slideLayout" Target="../slideLayouts/slideLayout1308.xml"/><Relationship Id="rId271" Type="http://schemas.openxmlformats.org/officeDocument/2006/relationships/slideLayout" Target="../slideLayouts/slideLayout1154.xml"/><Relationship Id="rId24" Type="http://schemas.openxmlformats.org/officeDocument/2006/relationships/slideLayout" Target="../slideLayouts/slideLayout907.xml"/><Relationship Id="rId66" Type="http://schemas.openxmlformats.org/officeDocument/2006/relationships/slideLayout" Target="../slideLayouts/slideLayout949.xml"/><Relationship Id="rId131" Type="http://schemas.openxmlformats.org/officeDocument/2006/relationships/slideLayout" Target="../slideLayouts/slideLayout1014.xml"/><Relationship Id="rId327" Type="http://schemas.openxmlformats.org/officeDocument/2006/relationships/slideLayout" Target="../slideLayouts/slideLayout1210.xml"/><Relationship Id="rId369" Type="http://schemas.openxmlformats.org/officeDocument/2006/relationships/slideLayout" Target="../slideLayouts/slideLayout1252.xml"/><Relationship Id="rId173" Type="http://schemas.openxmlformats.org/officeDocument/2006/relationships/slideLayout" Target="../slideLayouts/slideLayout1056.xml"/><Relationship Id="rId229" Type="http://schemas.openxmlformats.org/officeDocument/2006/relationships/slideLayout" Target="../slideLayouts/slideLayout1112.xml"/><Relationship Id="rId380" Type="http://schemas.openxmlformats.org/officeDocument/2006/relationships/slideLayout" Target="../slideLayouts/slideLayout1263.xml"/><Relationship Id="rId436" Type="http://schemas.openxmlformats.org/officeDocument/2006/relationships/slideLayout" Target="../slideLayouts/slideLayout1319.xml"/><Relationship Id="rId240" Type="http://schemas.openxmlformats.org/officeDocument/2006/relationships/slideLayout" Target="../slideLayouts/slideLayout1123.xml"/><Relationship Id="rId35" Type="http://schemas.openxmlformats.org/officeDocument/2006/relationships/slideLayout" Target="../slideLayouts/slideLayout918.xml"/><Relationship Id="rId77" Type="http://schemas.openxmlformats.org/officeDocument/2006/relationships/slideLayout" Target="../slideLayouts/slideLayout960.xml"/><Relationship Id="rId100" Type="http://schemas.openxmlformats.org/officeDocument/2006/relationships/slideLayout" Target="../slideLayouts/slideLayout983.xml"/><Relationship Id="rId282" Type="http://schemas.openxmlformats.org/officeDocument/2006/relationships/slideLayout" Target="../slideLayouts/slideLayout1165.xml"/><Relationship Id="rId338" Type="http://schemas.openxmlformats.org/officeDocument/2006/relationships/slideLayout" Target="../slideLayouts/slideLayout1221.xml"/><Relationship Id="rId8" Type="http://schemas.openxmlformats.org/officeDocument/2006/relationships/slideLayout" Target="../slideLayouts/slideLayout891.xml"/><Relationship Id="rId142" Type="http://schemas.openxmlformats.org/officeDocument/2006/relationships/slideLayout" Target="../slideLayouts/slideLayout1025.xml"/><Relationship Id="rId184" Type="http://schemas.openxmlformats.org/officeDocument/2006/relationships/slideLayout" Target="../slideLayouts/slideLayout1067.xml"/><Relationship Id="rId391" Type="http://schemas.openxmlformats.org/officeDocument/2006/relationships/slideLayout" Target="../slideLayouts/slideLayout1274.xml"/><Relationship Id="rId405" Type="http://schemas.openxmlformats.org/officeDocument/2006/relationships/slideLayout" Target="../slideLayouts/slideLayout1288.xml"/><Relationship Id="rId447" Type="http://schemas.openxmlformats.org/officeDocument/2006/relationships/slideLayout" Target="../slideLayouts/slideLayout1330.xml"/><Relationship Id="rId251" Type="http://schemas.openxmlformats.org/officeDocument/2006/relationships/slideLayout" Target="../slideLayouts/slideLayout1134.xml"/><Relationship Id="rId46" Type="http://schemas.openxmlformats.org/officeDocument/2006/relationships/slideLayout" Target="../slideLayouts/slideLayout929.xml"/><Relationship Id="rId293" Type="http://schemas.openxmlformats.org/officeDocument/2006/relationships/slideLayout" Target="../slideLayouts/slideLayout1176.xml"/><Relationship Id="rId307" Type="http://schemas.openxmlformats.org/officeDocument/2006/relationships/slideLayout" Target="../slideLayouts/slideLayout1190.xml"/><Relationship Id="rId349" Type="http://schemas.openxmlformats.org/officeDocument/2006/relationships/slideLayout" Target="../slideLayouts/slideLayout1232.xml"/><Relationship Id="rId88" Type="http://schemas.openxmlformats.org/officeDocument/2006/relationships/slideLayout" Target="../slideLayouts/slideLayout971.xml"/><Relationship Id="rId111" Type="http://schemas.openxmlformats.org/officeDocument/2006/relationships/slideLayout" Target="../slideLayouts/slideLayout994.xml"/><Relationship Id="rId153" Type="http://schemas.openxmlformats.org/officeDocument/2006/relationships/slideLayout" Target="../slideLayouts/slideLayout1036.xml"/><Relationship Id="rId195" Type="http://schemas.openxmlformats.org/officeDocument/2006/relationships/slideLayout" Target="../slideLayouts/slideLayout1078.xml"/><Relationship Id="rId209" Type="http://schemas.openxmlformats.org/officeDocument/2006/relationships/slideLayout" Target="../slideLayouts/slideLayout1092.xml"/><Relationship Id="rId360" Type="http://schemas.openxmlformats.org/officeDocument/2006/relationships/slideLayout" Target="../slideLayouts/slideLayout1243.xml"/><Relationship Id="rId416" Type="http://schemas.openxmlformats.org/officeDocument/2006/relationships/slideLayout" Target="../slideLayouts/slideLayout1299.xml"/><Relationship Id="rId220" Type="http://schemas.openxmlformats.org/officeDocument/2006/relationships/slideLayout" Target="../slideLayouts/slideLayout1103.xml"/><Relationship Id="rId15" Type="http://schemas.openxmlformats.org/officeDocument/2006/relationships/slideLayout" Target="../slideLayouts/slideLayout898.xml"/><Relationship Id="rId57" Type="http://schemas.openxmlformats.org/officeDocument/2006/relationships/slideLayout" Target="../slideLayouts/slideLayout940.xml"/><Relationship Id="rId262" Type="http://schemas.openxmlformats.org/officeDocument/2006/relationships/slideLayout" Target="../slideLayouts/slideLayout1145.xml"/><Relationship Id="rId318" Type="http://schemas.openxmlformats.org/officeDocument/2006/relationships/slideLayout" Target="../slideLayouts/slideLayout1201.xml"/><Relationship Id="rId99" Type="http://schemas.openxmlformats.org/officeDocument/2006/relationships/slideLayout" Target="../slideLayouts/slideLayout982.xml"/><Relationship Id="rId122" Type="http://schemas.openxmlformats.org/officeDocument/2006/relationships/slideLayout" Target="../slideLayouts/slideLayout1005.xml"/><Relationship Id="rId164" Type="http://schemas.openxmlformats.org/officeDocument/2006/relationships/slideLayout" Target="../slideLayouts/slideLayout1047.xml"/><Relationship Id="rId371" Type="http://schemas.openxmlformats.org/officeDocument/2006/relationships/slideLayout" Target="../slideLayouts/slideLayout1254.xml"/><Relationship Id="rId427" Type="http://schemas.openxmlformats.org/officeDocument/2006/relationships/slideLayout" Target="../slideLayouts/slideLayout1310.xml"/><Relationship Id="rId26" Type="http://schemas.openxmlformats.org/officeDocument/2006/relationships/slideLayout" Target="../slideLayouts/slideLayout909.xml"/><Relationship Id="rId231" Type="http://schemas.openxmlformats.org/officeDocument/2006/relationships/slideLayout" Target="../slideLayouts/slideLayout1114.xml"/><Relationship Id="rId273" Type="http://schemas.openxmlformats.org/officeDocument/2006/relationships/slideLayout" Target="../slideLayouts/slideLayout1156.xml"/><Relationship Id="rId329" Type="http://schemas.openxmlformats.org/officeDocument/2006/relationships/slideLayout" Target="../slideLayouts/slideLayout1212.xml"/><Relationship Id="rId68" Type="http://schemas.openxmlformats.org/officeDocument/2006/relationships/slideLayout" Target="../slideLayouts/slideLayout951.xml"/><Relationship Id="rId133" Type="http://schemas.openxmlformats.org/officeDocument/2006/relationships/slideLayout" Target="../slideLayouts/slideLayout1016.xml"/><Relationship Id="rId175" Type="http://schemas.openxmlformats.org/officeDocument/2006/relationships/slideLayout" Target="../slideLayouts/slideLayout1058.xml"/><Relationship Id="rId340" Type="http://schemas.openxmlformats.org/officeDocument/2006/relationships/slideLayout" Target="../slideLayouts/slideLayout1223.xml"/><Relationship Id="rId200" Type="http://schemas.openxmlformats.org/officeDocument/2006/relationships/slideLayout" Target="../slideLayouts/slideLayout1083.xml"/><Relationship Id="rId382" Type="http://schemas.openxmlformats.org/officeDocument/2006/relationships/slideLayout" Target="../slideLayouts/slideLayout1265.xml"/><Relationship Id="rId438" Type="http://schemas.openxmlformats.org/officeDocument/2006/relationships/slideLayout" Target="../slideLayouts/slideLayout1321.xml"/><Relationship Id="rId242" Type="http://schemas.openxmlformats.org/officeDocument/2006/relationships/slideLayout" Target="../slideLayouts/slideLayout1125.xml"/><Relationship Id="rId284" Type="http://schemas.openxmlformats.org/officeDocument/2006/relationships/slideLayout" Target="../slideLayouts/slideLayout1167.xml"/><Relationship Id="rId37" Type="http://schemas.openxmlformats.org/officeDocument/2006/relationships/slideLayout" Target="../slideLayouts/slideLayout920.xml"/><Relationship Id="rId79" Type="http://schemas.openxmlformats.org/officeDocument/2006/relationships/slideLayout" Target="../slideLayouts/slideLayout962.xml"/><Relationship Id="rId102" Type="http://schemas.openxmlformats.org/officeDocument/2006/relationships/slideLayout" Target="../slideLayouts/slideLayout985.xml"/><Relationship Id="rId144" Type="http://schemas.openxmlformats.org/officeDocument/2006/relationships/slideLayout" Target="../slideLayouts/slideLayout1027.xml"/><Relationship Id="rId90" Type="http://schemas.openxmlformats.org/officeDocument/2006/relationships/slideLayout" Target="../slideLayouts/slideLayout973.xml"/><Relationship Id="rId186" Type="http://schemas.openxmlformats.org/officeDocument/2006/relationships/slideLayout" Target="../slideLayouts/slideLayout1069.xml"/><Relationship Id="rId351" Type="http://schemas.openxmlformats.org/officeDocument/2006/relationships/slideLayout" Target="../slideLayouts/slideLayout1234.xml"/><Relationship Id="rId393" Type="http://schemas.openxmlformats.org/officeDocument/2006/relationships/slideLayout" Target="../slideLayouts/slideLayout1276.xml"/><Relationship Id="rId407" Type="http://schemas.openxmlformats.org/officeDocument/2006/relationships/slideLayout" Target="../slideLayouts/slideLayout1290.xml"/><Relationship Id="rId449" Type="http://schemas.openxmlformats.org/officeDocument/2006/relationships/slideLayout" Target="../slideLayouts/slideLayout1332.xml"/><Relationship Id="rId211" Type="http://schemas.openxmlformats.org/officeDocument/2006/relationships/slideLayout" Target="../slideLayouts/slideLayout1094.xml"/><Relationship Id="rId253" Type="http://schemas.openxmlformats.org/officeDocument/2006/relationships/slideLayout" Target="../slideLayouts/slideLayout1136.xml"/><Relationship Id="rId295" Type="http://schemas.openxmlformats.org/officeDocument/2006/relationships/slideLayout" Target="../slideLayouts/slideLayout1178.xml"/><Relationship Id="rId309" Type="http://schemas.openxmlformats.org/officeDocument/2006/relationships/slideLayout" Target="../slideLayouts/slideLayout1192.xml"/><Relationship Id="rId48" Type="http://schemas.openxmlformats.org/officeDocument/2006/relationships/slideLayout" Target="../slideLayouts/slideLayout931.xml"/><Relationship Id="rId113" Type="http://schemas.openxmlformats.org/officeDocument/2006/relationships/slideLayout" Target="../slideLayouts/slideLayout996.xml"/><Relationship Id="rId320" Type="http://schemas.openxmlformats.org/officeDocument/2006/relationships/slideLayout" Target="../slideLayouts/slideLayout1203.xml"/><Relationship Id="rId155" Type="http://schemas.openxmlformats.org/officeDocument/2006/relationships/slideLayout" Target="../slideLayouts/slideLayout1038.xml"/><Relationship Id="rId197" Type="http://schemas.openxmlformats.org/officeDocument/2006/relationships/slideLayout" Target="../slideLayouts/slideLayout1080.xml"/><Relationship Id="rId362" Type="http://schemas.openxmlformats.org/officeDocument/2006/relationships/slideLayout" Target="../slideLayouts/slideLayout1245.xml"/><Relationship Id="rId418" Type="http://schemas.openxmlformats.org/officeDocument/2006/relationships/slideLayout" Target="../slideLayouts/slideLayout1301.xml"/><Relationship Id="rId222" Type="http://schemas.openxmlformats.org/officeDocument/2006/relationships/slideLayout" Target="../slideLayouts/slideLayout1105.xml"/><Relationship Id="rId264" Type="http://schemas.openxmlformats.org/officeDocument/2006/relationships/slideLayout" Target="../slideLayouts/slideLayout1147.xml"/><Relationship Id="rId17" Type="http://schemas.openxmlformats.org/officeDocument/2006/relationships/slideLayout" Target="../slideLayouts/slideLayout900.xml"/><Relationship Id="rId59" Type="http://schemas.openxmlformats.org/officeDocument/2006/relationships/slideLayout" Target="../slideLayouts/slideLayout942.xml"/><Relationship Id="rId124" Type="http://schemas.openxmlformats.org/officeDocument/2006/relationships/slideLayout" Target="../slideLayouts/slideLayout1007.xml"/><Relationship Id="rId70" Type="http://schemas.openxmlformats.org/officeDocument/2006/relationships/slideLayout" Target="../slideLayouts/slideLayout953.xml"/><Relationship Id="rId166" Type="http://schemas.openxmlformats.org/officeDocument/2006/relationships/slideLayout" Target="../slideLayouts/slideLayout1049.xml"/><Relationship Id="rId331" Type="http://schemas.openxmlformats.org/officeDocument/2006/relationships/slideLayout" Target="../slideLayouts/slideLayout1214.xml"/><Relationship Id="rId373" Type="http://schemas.openxmlformats.org/officeDocument/2006/relationships/slideLayout" Target="../slideLayouts/slideLayout1256.xml"/><Relationship Id="rId429" Type="http://schemas.openxmlformats.org/officeDocument/2006/relationships/slideLayout" Target="../slideLayouts/slideLayout1312.xml"/><Relationship Id="rId1" Type="http://schemas.openxmlformats.org/officeDocument/2006/relationships/slideLayout" Target="../slideLayouts/slideLayout884.xml"/><Relationship Id="rId233" Type="http://schemas.openxmlformats.org/officeDocument/2006/relationships/slideLayout" Target="../slideLayouts/slideLayout1116.xml"/><Relationship Id="rId440" Type="http://schemas.openxmlformats.org/officeDocument/2006/relationships/slideLayout" Target="../slideLayouts/slideLayout1323.xml"/><Relationship Id="rId28" Type="http://schemas.openxmlformats.org/officeDocument/2006/relationships/slideLayout" Target="../slideLayouts/slideLayout911.xml"/><Relationship Id="rId275" Type="http://schemas.openxmlformats.org/officeDocument/2006/relationships/slideLayout" Target="../slideLayouts/slideLayout1158.xml"/><Relationship Id="rId300" Type="http://schemas.openxmlformats.org/officeDocument/2006/relationships/slideLayout" Target="../slideLayouts/slideLayout1183.xml"/><Relationship Id="rId81" Type="http://schemas.openxmlformats.org/officeDocument/2006/relationships/slideLayout" Target="../slideLayouts/slideLayout964.xml"/><Relationship Id="rId135" Type="http://schemas.openxmlformats.org/officeDocument/2006/relationships/slideLayout" Target="../slideLayouts/slideLayout1018.xml"/><Relationship Id="rId177" Type="http://schemas.openxmlformats.org/officeDocument/2006/relationships/slideLayout" Target="../slideLayouts/slideLayout1060.xml"/><Relationship Id="rId342" Type="http://schemas.openxmlformats.org/officeDocument/2006/relationships/slideLayout" Target="../slideLayouts/slideLayout1225.xml"/><Relationship Id="rId384" Type="http://schemas.openxmlformats.org/officeDocument/2006/relationships/slideLayout" Target="../slideLayouts/slideLayout1267.xml"/><Relationship Id="rId202" Type="http://schemas.openxmlformats.org/officeDocument/2006/relationships/slideLayout" Target="../slideLayouts/slideLayout1085.xml"/><Relationship Id="rId244" Type="http://schemas.openxmlformats.org/officeDocument/2006/relationships/slideLayout" Target="../slideLayouts/slideLayout1127.xml"/><Relationship Id="rId39" Type="http://schemas.openxmlformats.org/officeDocument/2006/relationships/slideLayout" Target="../slideLayouts/slideLayout922.xml"/><Relationship Id="rId286" Type="http://schemas.openxmlformats.org/officeDocument/2006/relationships/slideLayout" Target="../slideLayouts/slideLayout1169.xml"/><Relationship Id="rId451" Type="http://schemas.openxmlformats.org/officeDocument/2006/relationships/slideLayout" Target="../slideLayouts/slideLayout1334.xml"/><Relationship Id="rId50" Type="http://schemas.openxmlformats.org/officeDocument/2006/relationships/slideLayout" Target="../slideLayouts/slideLayout933.xml"/><Relationship Id="rId104" Type="http://schemas.openxmlformats.org/officeDocument/2006/relationships/slideLayout" Target="../slideLayouts/slideLayout987.xml"/><Relationship Id="rId146" Type="http://schemas.openxmlformats.org/officeDocument/2006/relationships/slideLayout" Target="../slideLayouts/slideLayout1029.xml"/><Relationship Id="rId188" Type="http://schemas.openxmlformats.org/officeDocument/2006/relationships/slideLayout" Target="../slideLayouts/slideLayout1071.xml"/><Relationship Id="rId311" Type="http://schemas.openxmlformats.org/officeDocument/2006/relationships/slideLayout" Target="../slideLayouts/slideLayout1194.xml"/><Relationship Id="rId353" Type="http://schemas.openxmlformats.org/officeDocument/2006/relationships/slideLayout" Target="../slideLayouts/slideLayout1236.xml"/><Relationship Id="rId395" Type="http://schemas.openxmlformats.org/officeDocument/2006/relationships/slideLayout" Target="../slideLayouts/slideLayout1278.xml"/><Relationship Id="rId409" Type="http://schemas.openxmlformats.org/officeDocument/2006/relationships/slideLayout" Target="../slideLayouts/slideLayout1292.xml"/><Relationship Id="rId92" Type="http://schemas.openxmlformats.org/officeDocument/2006/relationships/slideLayout" Target="../slideLayouts/slideLayout975.xml"/><Relationship Id="rId213" Type="http://schemas.openxmlformats.org/officeDocument/2006/relationships/slideLayout" Target="../slideLayouts/slideLayout1096.xml"/><Relationship Id="rId420" Type="http://schemas.openxmlformats.org/officeDocument/2006/relationships/slideLayout" Target="../slideLayouts/slideLayout130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7.xml"/><Relationship Id="rId3" Type="http://schemas.openxmlformats.org/officeDocument/2006/relationships/slideLayout" Target="../slideLayouts/slideLayout1342.xml"/><Relationship Id="rId7" Type="http://schemas.openxmlformats.org/officeDocument/2006/relationships/slideLayout" Target="../slideLayouts/slideLayout134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341.xml"/><Relationship Id="rId1" Type="http://schemas.openxmlformats.org/officeDocument/2006/relationships/slideLayout" Target="../slideLayouts/slideLayout1340.xml"/><Relationship Id="rId6" Type="http://schemas.openxmlformats.org/officeDocument/2006/relationships/slideLayout" Target="../slideLayouts/slideLayout1345.xml"/><Relationship Id="rId11" Type="http://schemas.openxmlformats.org/officeDocument/2006/relationships/slideLayout" Target="../slideLayouts/slideLayout1350.xml"/><Relationship Id="rId5" Type="http://schemas.openxmlformats.org/officeDocument/2006/relationships/slideLayout" Target="../slideLayouts/slideLayout1344.xml"/><Relationship Id="rId10" Type="http://schemas.openxmlformats.org/officeDocument/2006/relationships/slideLayout" Target="../slideLayouts/slideLayout1349.xml"/><Relationship Id="rId4" Type="http://schemas.openxmlformats.org/officeDocument/2006/relationships/slideLayout" Target="../slideLayouts/slideLayout1343.xml"/><Relationship Id="rId9" Type="http://schemas.openxmlformats.org/officeDocument/2006/relationships/slideLayout" Target="../slideLayouts/slideLayout134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8.xml"/><Relationship Id="rId3" Type="http://schemas.openxmlformats.org/officeDocument/2006/relationships/slideLayout" Target="../slideLayouts/slideLayout1353.xml"/><Relationship Id="rId7" Type="http://schemas.openxmlformats.org/officeDocument/2006/relationships/slideLayout" Target="../slideLayouts/slideLayout135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352.xml"/><Relationship Id="rId1" Type="http://schemas.openxmlformats.org/officeDocument/2006/relationships/slideLayout" Target="../slideLayouts/slideLayout1351.xml"/><Relationship Id="rId6" Type="http://schemas.openxmlformats.org/officeDocument/2006/relationships/slideLayout" Target="../slideLayouts/slideLayout1356.xml"/><Relationship Id="rId11" Type="http://schemas.openxmlformats.org/officeDocument/2006/relationships/slideLayout" Target="../slideLayouts/slideLayout1361.xml"/><Relationship Id="rId5" Type="http://schemas.openxmlformats.org/officeDocument/2006/relationships/slideLayout" Target="../slideLayouts/slideLayout1355.xml"/><Relationship Id="rId10" Type="http://schemas.openxmlformats.org/officeDocument/2006/relationships/slideLayout" Target="../slideLayouts/slideLayout1360.xml"/><Relationship Id="rId4" Type="http://schemas.openxmlformats.org/officeDocument/2006/relationships/slideLayout" Target="../slideLayouts/slideLayout1354.xml"/><Relationship Id="rId9" Type="http://schemas.openxmlformats.org/officeDocument/2006/relationships/slideLayout" Target="../slideLayouts/slideLayout13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36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" name="Google Shape;7;p36"/>
          <p:cNvSpPr txBox="1">
            <a:spLocks noGrp="1"/>
          </p:cNvSpPr>
          <p:nvPr>
            <p:ph type="body" idx="1"/>
          </p:nvPr>
        </p:nvSpPr>
        <p:spPr>
          <a:xfrm>
            <a:off x="1180846" y="1033017"/>
            <a:ext cx="9452610" cy="1463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p36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" name="Google Shape;9;p36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88888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" name="Google Shape;10;p36"/>
          <p:cNvSpPr txBox="1">
            <a:spLocks noGrp="1"/>
          </p:cNvSpPr>
          <p:nvPr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indent="0" algn="r">
              <a:spcBef>
                <a:spcPts val="0"/>
              </a:spcBef>
              <a:buNone/>
              <a:defRPr sz="1800">
                <a:solidFill>
                  <a:srgbClr val="888888"/>
                </a:solidFill>
              </a:defRPr>
            </a:lvl1pPr>
            <a:lvl2pPr lvl="1" indent="0" algn="r">
              <a:spcBef>
                <a:spcPts val="0"/>
              </a:spcBef>
              <a:buNone/>
              <a:defRPr sz="1800">
                <a:solidFill>
                  <a:srgbClr val="888888"/>
                </a:solidFill>
              </a:defRPr>
            </a:lvl2pPr>
            <a:lvl3pPr lvl="2" indent="0" algn="r">
              <a:spcBef>
                <a:spcPts val="0"/>
              </a:spcBef>
              <a:buNone/>
              <a:defRPr sz="1800">
                <a:solidFill>
                  <a:srgbClr val="888888"/>
                </a:solidFill>
              </a:defRPr>
            </a:lvl3pPr>
            <a:lvl4pPr lvl="3" indent="0" algn="r">
              <a:spcBef>
                <a:spcPts val="0"/>
              </a:spcBef>
              <a:buNone/>
              <a:defRPr sz="1800">
                <a:solidFill>
                  <a:srgbClr val="888888"/>
                </a:solidFill>
              </a:defRPr>
            </a:lvl4pPr>
            <a:lvl5pPr lvl="4" indent="0" algn="r">
              <a:spcBef>
                <a:spcPts val="0"/>
              </a:spcBef>
              <a:buNone/>
              <a:defRPr sz="1800">
                <a:solidFill>
                  <a:srgbClr val="888888"/>
                </a:solidFill>
              </a:defRPr>
            </a:lvl5pPr>
            <a:lvl6pPr lvl="5" indent="0" algn="r">
              <a:spcBef>
                <a:spcPts val="0"/>
              </a:spcBef>
              <a:buNone/>
              <a:defRPr sz="1800">
                <a:solidFill>
                  <a:srgbClr val="888888"/>
                </a:solidFill>
              </a:defRPr>
            </a:lvl6pPr>
            <a:lvl7pPr lvl="6" indent="0" algn="r">
              <a:spcBef>
                <a:spcPts val="0"/>
              </a:spcBef>
              <a:buNone/>
              <a:defRPr sz="1800">
                <a:solidFill>
                  <a:srgbClr val="888888"/>
                </a:solidFill>
              </a:defRPr>
            </a:lvl7pPr>
            <a:lvl8pPr lvl="7" indent="0" algn="r">
              <a:spcBef>
                <a:spcPts val="0"/>
              </a:spcBef>
              <a:buNone/>
              <a:defRPr sz="1800">
                <a:solidFill>
                  <a:srgbClr val="888888"/>
                </a:solidFill>
              </a:defRPr>
            </a:lvl8pPr>
            <a:lvl9pPr lvl="8" indent="0" algn="r">
              <a:spcBef>
                <a:spcPts val="0"/>
              </a:spcBef>
              <a:buNone/>
              <a:defRPr sz="1800">
                <a:solidFill>
                  <a:srgbClr val="88888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5054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g374da0147aa_0_41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" name="Google Shape;41;g374da0147aa_0_41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" name="Google Shape;42;g374da0147aa_0_41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3" name="Google Shape;43;g374da0147aa_0_41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73" r:id="rId19"/>
    <p:sldLayoutId id="2147483674" r:id="rId20"/>
    <p:sldLayoutId id="2147483675" r:id="rId21"/>
    <p:sldLayoutId id="2147483676" r:id="rId22"/>
    <p:sldLayoutId id="2147483677" r:id="rId23"/>
    <p:sldLayoutId id="2147483678" r:id="rId24"/>
    <p:sldLayoutId id="2147483679" r:id="rId25"/>
    <p:sldLayoutId id="2147483680" r:id="rId26"/>
    <p:sldLayoutId id="2147483681" r:id="rId27"/>
    <p:sldLayoutId id="2147483682" r:id="rId28"/>
    <p:sldLayoutId id="2147483683" r:id="rId29"/>
    <p:sldLayoutId id="2147483684" r:id="rId30"/>
    <p:sldLayoutId id="2147483685" r:id="rId31"/>
    <p:sldLayoutId id="2147483686" r:id="rId32"/>
    <p:sldLayoutId id="2147483687" r:id="rId33"/>
    <p:sldLayoutId id="2147483688" r:id="rId34"/>
    <p:sldLayoutId id="2147483689" r:id="rId35"/>
    <p:sldLayoutId id="2147483690" r:id="rId36"/>
    <p:sldLayoutId id="2147483691" r:id="rId37"/>
    <p:sldLayoutId id="2147483692" r:id="rId38"/>
    <p:sldLayoutId id="2147483693" r:id="rId39"/>
    <p:sldLayoutId id="2147483694" r:id="rId40"/>
    <p:sldLayoutId id="2147483695" r:id="rId41"/>
    <p:sldLayoutId id="2147483696" r:id="rId42"/>
    <p:sldLayoutId id="2147483697" r:id="rId43"/>
    <p:sldLayoutId id="2147483698" r:id="rId44"/>
    <p:sldLayoutId id="2147483699" r:id="rId45"/>
    <p:sldLayoutId id="2147483700" r:id="rId46"/>
    <p:sldLayoutId id="2147483701" r:id="rId47"/>
    <p:sldLayoutId id="2147483702" r:id="rId48"/>
    <p:sldLayoutId id="2147483703" r:id="rId49"/>
    <p:sldLayoutId id="2147483704" r:id="rId50"/>
    <p:sldLayoutId id="2147483705" r:id="rId51"/>
    <p:sldLayoutId id="2147483706" r:id="rId52"/>
    <p:sldLayoutId id="2147483707" r:id="rId53"/>
    <p:sldLayoutId id="2147483708" r:id="rId54"/>
    <p:sldLayoutId id="2147483709" r:id="rId55"/>
    <p:sldLayoutId id="2147483710" r:id="rId56"/>
    <p:sldLayoutId id="2147483711" r:id="rId57"/>
    <p:sldLayoutId id="2147483712" r:id="rId58"/>
    <p:sldLayoutId id="2147483713" r:id="rId59"/>
    <p:sldLayoutId id="2147483714" r:id="rId60"/>
    <p:sldLayoutId id="2147483715" r:id="rId61"/>
    <p:sldLayoutId id="2147483716" r:id="rId62"/>
    <p:sldLayoutId id="2147483717" r:id="rId63"/>
    <p:sldLayoutId id="2147483718" r:id="rId64"/>
    <p:sldLayoutId id="2147483719" r:id="rId65"/>
    <p:sldLayoutId id="2147483720" r:id="rId66"/>
    <p:sldLayoutId id="2147483721" r:id="rId67"/>
    <p:sldLayoutId id="2147483722" r:id="rId68"/>
    <p:sldLayoutId id="2147483723" r:id="rId69"/>
    <p:sldLayoutId id="2147483724" r:id="rId70"/>
    <p:sldLayoutId id="2147483725" r:id="rId71"/>
    <p:sldLayoutId id="2147483726" r:id="rId72"/>
    <p:sldLayoutId id="2147483727" r:id="rId73"/>
    <p:sldLayoutId id="2147483728" r:id="rId74"/>
    <p:sldLayoutId id="2147483729" r:id="rId75"/>
    <p:sldLayoutId id="2147483730" r:id="rId76"/>
    <p:sldLayoutId id="2147483731" r:id="rId77"/>
    <p:sldLayoutId id="2147483732" r:id="rId78"/>
    <p:sldLayoutId id="2147483733" r:id="rId79"/>
    <p:sldLayoutId id="2147483734" r:id="rId80"/>
    <p:sldLayoutId id="2147483735" r:id="rId81"/>
    <p:sldLayoutId id="2147483736" r:id="rId82"/>
    <p:sldLayoutId id="2147483737" r:id="rId83"/>
    <p:sldLayoutId id="2147483738" r:id="rId84"/>
    <p:sldLayoutId id="2147483739" r:id="rId85"/>
    <p:sldLayoutId id="2147483740" r:id="rId86"/>
    <p:sldLayoutId id="2147483741" r:id="rId87"/>
    <p:sldLayoutId id="2147483742" r:id="rId88"/>
    <p:sldLayoutId id="2147483743" r:id="rId89"/>
    <p:sldLayoutId id="2147483744" r:id="rId90"/>
    <p:sldLayoutId id="2147483745" r:id="rId91"/>
    <p:sldLayoutId id="2147483746" r:id="rId92"/>
    <p:sldLayoutId id="2147483747" r:id="rId93"/>
    <p:sldLayoutId id="2147483748" r:id="rId94"/>
    <p:sldLayoutId id="2147483749" r:id="rId95"/>
    <p:sldLayoutId id="2147483750" r:id="rId96"/>
    <p:sldLayoutId id="2147483751" r:id="rId97"/>
    <p:sldLayoutId id="2147483752" r:id="rId98"/>
    <p:sldLayoutId id="2147483753" r:id="rId99"/>
    <p:sldLayoutId id="2147483754" r:id="rId100"/>
    <p:sldLayoutId id="2147483755" r:id="rId101"/>
    <p:sldLayoutId id="2147483756" r:id="rId102"/>
    <p:sldLayoutId id="2147483757" r:id="rId103"/>
    <p:sldLayoutId id="2147483758" r:id="rId104"/>
    <p:sldLayoutId id="2147483759" r:id="rId105"/>
    <p:sldLayoutId id="2147483760" r:id="rId106"/>
    <p:sldLayoutId id="2147483761" r:id="rId107"/>
    <p:sldLayoutId id="2147483762" r:id="rId108"/>
    <p:sldLayoutId id="2147483763" r:id="rId109"/>
    <p:sldLayoutId id="2147483764" r:id="rId110"/>
    <p:sldLayoutId id="2147483765" r:id="rId111"/>
    <p:sldLayoutId id="2147483766" r:id="rId112"/>
    <p:sldLayoutId id="2147483767" r:id="rId113"/>
    <p:sldLayoutId id="2147483768" r:id="rId114"/>
    <p:sldLayoutId id="2147483769" r:id="rId115"/>
    <p:sldLayoutId id="2147483770" r:id="rId116"/>
    <p:sldLayoutId id="2147483771" r:id="rId117"/>
    <p:sldLayoutId id="2147483772" r:id="rId118"/>
    <p:sldLayoutId id="2147483773" r:id="rId119"/>
    <p:sldLayoutId id="2147483774" r:id="rId120"/>
    <p:sldLayoutId id="2147483775" r:id="rId121"/>
    <p:sldLayoutId id="2147483776" r:id="rId122"/>
    <p:sldLayoutId id="2147483777" r:id="rId123"/>
    <p:sldLayoutId id="2147483778" r:id="rId124"/>
    <p:sldLayoutId id="2147483779" r:id="rId125"/>
    <p:sldLayoutId id="2147483780" r:id="rId126"/>
    <p:sldLayoutId id="2147483781" r:id="rId127"/>
    <p:sldLayoutId id="2147483782" r:id="rId128"/>
    <p:sldLayoutId id="2147483783" r:id="rId129"/>
    <p:sldLayoutId id="2147483784" r:id="rId130"/>
    <p:sldLayoutId id="2147483785" r:id="rId131"/>
    <p:sldLayoutId id="2147483786" r:id="rId132"/>
    <p:sldLayoutId id="2147483787" r:id="rId133"/>
    <p:sldLayoutId id="2147483788" r:id="rId134"/>
    <p:sldLayoutId id="2147483789" r:id="rId135"/>
    <p:sldLayoutId id="2147483790" r:id="rId136"/>
    <p:sldLayoutId id="2147483791" r:id="rId137"/>
    <p:sldLayoutId id="2147483792" r:id="rId138"/>
    <p:sldLayoutId id="2147483793" r:id="rId139"/>
    <p:sldLayoutId id="2147483794" r:id="rId140"/>
    <p:sldLayoutId id="2147483795" r:id="rId141"/>
    <p:sldLayoutId id="2147483796" r:id="rId142"/>
    <p:sldLayoutId id="2147483797" r:id="rId143"/>
    <p:sldLayoutId id="2147483798" r:id="rId144"/>
    <p:sldLayoutId id="2147483799" r:id="rId145"/>
    <p:sldLayoutId id="2147483800" r:id="rId146"/>
    <p:sldLayoutId id="2147483801" r:id="rId147"/>
    <p:sldLayoutId id="2147483802" r:id="rId148"/>
    <p:sldLayoutId id="2147483803" r:id="rId149"/>
    <p:sldLayoutId id="2147483804" r:id="rId150"/>
    <p:sldLayoutId id="2147483805" r:id="rId151"/>
    <p:sldLayoutId id="2147483806" r:id="rId152"/>
    <p:sldLayoutId id="2147483807" r:id="rId153"/>
    <p:sldLayoutId id="2147483808" r:id="rId154"/>
    <p:sldLayoutId id="2147483809" r:id="rId155"/>
    <p:sldLayoutId id="2147483810" r:id="rId156"/>
    <p:sldLayoutId id="2147483811" r:id="rId157"/>
    <p:sldLayoutId id="2147483812" r:id="rId158"/>
    <p:sldLayoutId id="2147483813" r:id="rId159"/>
    <p:sldLayoutId id="2147483814" r:id="rId160"/>
    <p:sldLayoutId id="2147483815" r:id="rId161"/>
    <p:sldLayoutId id="2147483816" r:id="rId162"/>
    <p:sldLayoutId id="2147483817" r:id="rId163"/>
    <p:sldLayoutId id="2147483818" r:id="rId164"/>
    <p:sldLayoutId id="2147483819" r:id="rId165"/>
    <p:sldLayoutId id="2147483820" r:id="rId166"/>
    <p:sldLayoutId id="2147483821" r:id="rId167"/>
    <p:sldLayoutId id="2147483822" r:id="rId168"/>
    <p:sldLayoutId id="2147483823" r:id="rId169"/>
    <p:sldLayoutId id="2147483824" r:id="rId170"/>
    <p:sldLayoutId id="2147483825" r:id="rId171"/>
    <p:sldLayoutId id="2147483826" r:id="rId172"/>
    <p:sldLayoutId id="2147483827" r:id="rId173"/>
    <p:sldLayoutId id="2147483828" r:id="rId174"/>
    <p:sldLayoutId id="2147483829" r:id="rId175"/>
    <p:sldLayoutId id="2147483830" r:id="rId176"/>
    <p:sldLayoutId id="2147483831" r:id="rId177"/>
    <p:sldLayoutId id="2147483832" r:id="rId178"/>
    <p:sldLayoutId id="2147483833" r:id="rId179"/>
    <p:sldLayoutId id="2147483834" r:id="rId180"/>
    <p:sldLayoutId id="2147483835" r:id="rId181"/>
    <p:sldLayoutId id="2147483836" r:id="rId182"/>
    <p:sldLayoutId id="2147483837" r:id="rId183"/>
    <p:sldLayoutId id="2147483838" r:id="rId184"/>
    <p:sldLayoutId id="2147483839" r:id="rId185"/>
    <p:sldLayoutId id="2147483840" r:id="rId186"/>
    <p:sldLayoutId id="2147483841" r:id="rId187"/>
    <p:sldLayoutId id="2147483842" r:id="rId188"/>
    <p:sldLayoutId id="2147483843" r:id="rId189"/>
    <p:sldLayoutId id="2147483844" r:id="rId190"/>
    <p:sldLayoutId id="2147483845" r:id="rId191"/>
    <p:sldLayoutId id="2147483846" r:id="rId192"/>
    <p:sldLayoutId id="2147483847" r:id="rId193"/>
    <p:sldLayoutId id="2147483848" r:id="rId194"/>
    <p:sldLayoutId id="2147483849" r:id="rId195"/>
    <p:sldLayoutId id="2147483850" r:id="rId196"/>
    <p:sldLayoutId id="2147483851" r:id="rId197"/>
    <p:sldLayoutId id="2147483852" r:id="rId198"/>
    <p:sldLayoutId id="2147483853" r:id="rId199"/>
    <p:sldLayoutId id="2147483854" r:id="rId200"/>
    <p:sldLayoutId id="2147483855" r:id="rId201"/>
    <p:sldLayoutId id="2147483856" r:id="rId202"/>
    <p:sldLayoutId id="2147483857" r:id="rId203"/>
    <p:sldLayoutId id="2147483858" r:id="rId204"/>
    <p:sldLayoutId id="2147483859" r:id="rId205"/>
    <p:sldLayoutId id="2147483860" r:id="rId206"/>
    <p:sldLayoutId id="2147483861" r:id="rId207"/>
    <p:sldLayoutId id="2147483862" r:id="rId208"/>
    <p:sldLayoutId id="2147483863" r:id="rId209"/>
    <p:sldLayoutId id="2147483864" r:id="rId210"/>
    <p:sldLayoutId id="2147483865" r:id="rId211"/>
    <p:sldLayoutId id="2147483866" r:id="rId212"/>
    <p:sldLayoutId id="2147483867" r:id="rId213"/>
    <p:sldLayoutId id="2147483868" r:id="rId214"/>
    <p:sldLayoutId id="2147483869" r:id="rId215"/>
    <p:sldLayoutId id="2147483870" r:id="rId216"/>
    <p:sldLayoutId id="2147483871" r:id="rId217"/>
    <p:sldLayoutId id="2147483872" r:id="rId218"/>
    <p:sldLayoutId id="2147483873" r:id="rId219"/>
    <p:sldLayoutId id="2147483874" r:id="rId220"/>
    <p:sldLayoutId id="2147483875" r:id="rId221"/>
    <p:sldLayoutId id="2147483876" r:id="rId222"/>
    <p:sldLayoutId id="2147483877" r:id="rId223"/>
    <p:sldLayoutId id="2147483878" r:id="rId224"/>
    <p:sldLayoutId id="2147483879" r:id="rId225"/>
    <p:sldLayoutId id="2147483880" r:id="rId226"/>
    <p:sldLayoutId id="2147483881" r:id="rId227"/>
    <p:sldLayoutId id="2147483882" r:id="rId228"/>
    <p:sldLayoutId id="2147483883" r:id="rId229"/>
    <p:sldLayoutId id="2147483884" r:id="rId230"/>
    <p:sldLayoutId id="2147483885" r:id="rId231"/>
    <p:sldLayoutId id="2147483886" r:id="rId232"/>
    <p:sldLayoutId id="2147483887" r:id="rId233"/>
    <p:sldLayoutId id="2147483888" r:id="rId234"/>
    <p:sldLayoutId id="2147483889" r:id="rId235"/>
    <p:sldLayoutId id="2147483890" r:id="rId236"/>
    <p:sldLayoutId id="2147483891" r:id="rId237"/>
    <p:sldLayoutId id="2147483892" r:id="rId238"/>
    <p:sldLayoutId id="2147483893" r:id="rId239"/>
    <p:sldLayoutId id="2147483894" r:id="rId240"/>
    <p:sldLayoutId id="2147483895" r:id="rId241"/>
    <p:sldLayoutId id="2147483896" r:id="rId242"/>
    <p:sldLayoutId id="2147483897" r:id="rId243"/>
    <p:sldLayoutId id="2147483898" r:id="rId244"/>
    <p:sldLayoutId id="2147483899" r:id="rId245"/>
    <p:sldLayoutId id="2147483900" r:id="rId246"/>
    <p:sldLayoutId id="2147483901" r:id="rId247"/>
    <p:sldLayoutId id="2147483902" r:id="rId248"/>
    <p:sldLayoutId id="2147483903" r:id="rId249"/>
    <p:sldLayoutId id="2147483904" r:id="rId250"/>
    <p:sldLayoutId id="2147483905" r:id="rId251"/>
    <p:sldLayoutId id="2147483906" r:id="rId252"/>
    <p:sldLayoutId id="2147483907" r:id="rId253"/>
    <p:sldLayoutId id="2147483908" r:id="rId254"/>
    <p:sldLayoutId id="2147483909" r:id="rId255"/>
    <p:sldLayoutId id="2147483910" r:id="rId256"/>
    <p:sldLayoutId id="2147483911" r:id="rId257"/>
    <p:sldLayoutId id="2147483912" r:id="rId258"/>
    <p:sldLayoutId id="2147483913" r:id="rId259"/>
    <p:sldLayoutId id="2147483914" r:id="rId260"/>
    <p:sldLayoutId id="2147483915" r:id="rId261"/>
    <p:sldLayoutId id="2147483916" r:id="rId262"/>
    <p:sldLayoutId id="2147483917" r:id="rId263"/>
    <p:sldLayoutId id="2147483918" r:id="rId264"/>
    <p:sldLayoutId id="2147483919" r:id="rId265"/>
    <p:sldLayoutId id="2147483920" r:id="rId266"/>
    <p:sldLayoutId id="2147483921" r:id="rId267"/>
    <p:sldLayoutId id="2147483922" r:id="rId268"/>
    <p:sldLayoutId id="2147483923" r:id="rId269"/>
    <p:sldLayoutId id="2147483924" r:id="rId270"/>
    <p:sldLayoutId id="2147483925" r:id="rId271"/>
    <p:sldLayoutId id="2147483926" r:id="rId272"/>
    <p:sldLayoutId id="2147483927" r:id="rId273"/>
    <p:sldLayoutId id="2147483928" r:id="rId274"/>
    <p:sldLayoutId id="2147483929" r:id="rId275"/>
    <p:sldLayoutId id="2147483930" r:id="rId276"/>
    <p:sldLayoutId id="2147483931" r:id="rId277"/>
    <p:sldLayoutId id="2147483932" r:id="rId278"/>
    <p:sldLayoutId id="2147483933" r:id="rId279"/>
    <p:sldLayoutId id="2147483934" r:id="rId280"/>
    <p:sldLayoutId id="2147483935" r:id="rId281"/>
    <p:sldLayoutId id="2147483936" r:id="rId282"/>
    <p:sldLayoutId id="2147483937" r:id="rId283"/>
    <p:sldLayoutId id="2147483938" r:id="rId284"/>
    <p:sldLayoutId id="2147483939" r:id="rId285"/>
    <p:sldLayoutId id="2147483940" r:id="rId286"/>
    <p:sldLayoutId id="2147483941" r:id="rId287"/>
    <p:sldLayoutId id="2147483942" r:id="rId288"/>
    <p:sldLayoutId id="2147483943" r:id="rId289"/>
    <p:sldLayoutId id="2147483944" r:id="rId290"/>
    <p:sldLayoutId id="2147483945" r:id="rId291"/>
    <p:sldLayoutId id="2147483946" r:id="rId292"/>
    <p:sldLayoutId id="2147483947" r:id="rId293"/>
    <p:sldLayoutId id="2147483948" r:id="rId294"/>
    <p:sldLayoutId id="2147483949" r:id="rId295"/>
    <p:sldLayoutId id="2147483950" r:id="rId296"/>
    <p:sldLayoutId id="2147483951" r:id="rId297"/>
    <p:sldLayoutId id="2147483952" r:id="rId298"/>
    <p:sldLayoutId id="2147483953" r:id="rId299"/>
    <p:sldLayoutId id="2147483954" r:id="rId300"/>
    <p:sldLayoutId id="2147483955" r:id="rId301"/>
    <p:sldLayoutId id="2147483956" r:id="rId302"/>
    <p:sldLayoutId id="2147483957" r:id="rId303"/>
    <p:sldLayoutId id="2147483958" r:id="rId304"/>
    <p:sldLayoutId id="2147483959" r:id="rId305"/>
    <p:sldLayoutId id="2147483960" r:id="rId306"/>
    <p:sldLayoutId id="2147483961" r:id="rId307"/>
    <p:sldLayoutId id="2147483962" r:id="rId308"/>
    <p:sldLayoutId id="2147483963" r:id="rId309"/>
    <p:sldLayoutId id="2147483964" r:id="rId310"/>
    <p:sldLayoutId id="2147483965" r:id="rId311"/>
    <p:sldLayoutId id="2147483966" r:id="rId312"/>
    <p:sldLayoutId id="2147483967" r:id="rId313"/>
    <p:sldLayoutId id="2147483968" r:id="rId314"/>
    <p:sldLayoutId id="2147483969" r:id="rId315"/>
    <p:sldLayoutId id="2147483970" r:id="rId316"/>
    <p:sldLayoutId id="2147483971" r:id="rId317"/>
    <p:sldLayoutId id="2147483972" r:id="rId318"/>
    <p:sldLayoutId id="2147483973" r:id="rId319"/>
    <p:sldLayoutId id="2147483974" r:id="rId320"/>
    <p:sldLayoutId id="2147483975" r:id="rId321"/>
    <p:sldLayoutId id="2147483976" r:id="rId322"/>
    <p:sldLayoutId id="2147483977" r:id="rId323"/>
    <p:sldLayoutId id="2147483978" r:id="rId324"/>
    <p:sldLayoutId id="2147483979" r:id="rId325"/>
    <p:sldLayoutId id="2147483980" r:id="rId326"/>
    <p:sldLayoutId id="2147483981" r:id="rId327"/>
    <p:sldLayoutId id="2147483982" r:id="rId328"/>
    <p:sldLayoutId id="2147483983" r:id="rId329"/>
    <p:sldLayoutId id="2147483984" r:id="rId330"/>
    <p:sldLayoutId id="2147483985" r:id="rId331"/>
    <p:sldLayoutId id="2147483986" r:id="rId332"/>
    <p:sldLayoutId id="2147483987" r:id="rId333"/>
    <p:sldLayoutId id="2147483988" r:id="rId334"/>
    <p:sldLayoutId id="2147483989" r:id="rId335"/>
    <p:sldLayoutId id="2147483990" r:id="rId336"/>
    <p:sldLayoutId id="2147483991" r:id="rId337"/>
    <p:sldLayoutId id="2147483992" r:id="rId338"/>
    <p:sldLayoutId id="2147483993" r:id="rId339"/>
    <p:sldLayoutId id="2147483994" r:id="rId340"/>
    <p:sldLayoutId id="2147483995" r:id="rId341"/>
    <p:sldLayoutId id="2147483996" r:id="rId342"/>
    <p:sldLayoutId id="2147483997" r:id="rId343"/>
    <p:sldLayoutId id="2147483998" r:id="rId344"/>
    <p:sldLayoutId id="2147483999" r:id="rId345"/>
    <p:sldLayoutId id="2147484000" r:id="rId346"/>
    <p:sldLayoutId id="2147484001" r:id="rId347"/>
    <p:sldLayoutId id="2147484002" r:id="rId348"/>
    <p:sldLayoutId id="2147484003" r:id="rId349"/>
    <p:sldLayoutId id="2147484004" r:id="rId350"/>
    <p:sldLayoutId id="2147484005" r:id="rId351"/>
    <p:sldLayoutId id="2147484006" r:id="rId352"/>
    <p:sldLayoutId id="2147484007" r:id="rId353"/>
    <p:sldLayoutId id="2147484008" r:id="rId354"/>
    <p:sldLayoutId id="2147484009" r:id="rId355"/>
    <p:sldLayoutId id="2147484010" r:id="rId356"/>
    <p:sldLayoutId id="2147484011" r:id="rId357"/>
    <p:sldLayoutId id="2147484012" r:id="rId358"/>
    <p:sldLayoutId id="2147484013" r:id="rId359"/>
    <p:sldLayoutId id="2147484014" r:id="rId360"/>
    <p:sldLayoutId id="2147484015" r:id="rId361"/>
    <p:sldLayoutId id="2147484016" r:id="rId362"/>
    <p:sldLayoutId id="2147484017" r:id="rId363"/>
    <p:sldLayoutId id="2147484018" r:id="rId364"/>
    <p:sldLayoutId id="2147484019" r:id="rId365"/>
    <p:sldLayoutId id="2147484020" r:id="rId366"/>
    <p:sldLayoutId id="2147484021" r:id="rId367"/>
    <p:sldLayoutId id="2147484022" r:id="rId368"/>
    <p:sldLayoutId id="2147484023" r:id="rId369"/>
    <p:sldLayoutId id="2147484024" r:id="rId370"/>
    <p:sldLayoutId id="2147484025" r:id="rId371"/>
    <p:sldLayoutId id="2147484026" r:id="rId372"/>
    <p:sldLayoutId id="2147484027" r:id="rId373"/>
    <p:sldLayoutId id="2147484028" r:id="rId374"/>
    <p:sldLayoutId id="2147484029" r:id="rId375"/>
    <p:sldLayoutId id="2147484030" r:id="rId376"/>
    <p:sldLayoutId id="2147484031" r:id="rId377"/>
    <p:sldLayoutId id="2147484032" r:id="rId378"/>
    <p:sldLayoutId id="2147484033" r:id="rId379"/>
    <p:sldLayoutId id="2147484034" r:id="rId380"/>
    <p:sldLayoutId id="2147484035" r:id="rId381"/>
    <p:sldLayoutId id="2147484036" r:id="rId382"/>
    <p:sldLayoutId id="2147484037" r:id="rId383"/>
    <p:sldLayoutId id="2147484038" r:id="rId384"/>
    <p:sldLayoutId id="2147484039" r:id="rId385"/>
    <p:sldLayoutId id="2147484040" r:id="rId386"/>
    <p:sldLayoutId id="2147484041" r:id="rId387"/>
    <p:sldLayoutId id="2147484042" r:id="rId388"/>
    <p:sldLayoutId id="2147484043" r:id="rId389"/>
    <p:sldLayoutId id="2147484044" r:id="rId390"/>
    <p:sldLayoutId id="2147484045" r:id="rId391"/>
    <p:sldLayoutId id="2147484046" r:id="rId392"/>
    <p:sldLayoutId id="2147484047" r:id="rId393"/>
    <p:sldLayoutId id="2147484048" r:id="rId394"/>
    <p:sldLayoutId id="2147484049" r:id="rId395"/>
    <p:sldLayoutId id="2147484050" r:id="rId396"/>
    <p:sldLayoutId id="2147484051" r:id="rId397"/>
    <p:sldLayoutId id="2147484052" r:id="rId398"/>
    <p:sldLayoutId id="2147484053" r:id="rId399"/>
    <p:sldLayoutId id="2147484054" r:id="rId400"/>
    <p:sldLayoutId id="2147484055" r:id="rId401"/>
    <p:sldLayoutId id="2147484056" r:id="rId402"/>
    <p:sldLayoutId id="2147484057" r:id="rId403"/>
    <p:sldLayoutId id="2147484058" r:id="rId404"/>
    <p:sldLayoutId id="2147484059" r:id="rId405"/>
    <p:sldLayoutId id="2147484060" r:id="rId406"/>
    <p:sldLayoutId id="2147484061" r:id="rId407"/>
    <p:sldLayoutId id="2147484062" r:id="rId408"/>
    <p:sldLayoutId id="2147484063" r:id="rId409"/>
    <p:sldLayoutId id="2147484064" r:id="rId410"/>
    <p:sldLayoutId id="2147484065" r:id="rId411"/>
    <p:sldLayoutId id="2147484066" r:id="rId412"/>
    <p:sldLayoutId id="2147484067" r:id="rId413"/>
    <p:sldLayoutId id="2147484068" r:id="rId414"/>
    <p:sldLayoutId id="2147484069" r:id="rId415"/>
    <p:sldLayoutId id="2147484070" r:id="rId416"/>
    <p:sldLayoutId id="2147484071" r:id="rId417"/>
    <p:sldLayoutId id="2147484072" r:id="rId418"/>
    <p:sldLayoutId id="2147484073" r:id="rId419"/>
    <p:sldLayoutId id="2147484074" r:id="rId420"/>
    <p:sldLayoutId id="2147484075" r:id="rId421"/>
    <p:sldLayoutId id="2147484076" r:id="rId422"/>
    <p:sldLayoutId id="2147484077" r:id="rId423"/>
    <p:sldLayoutId id="2147484078" r:id="rId424"/>
    <p:sldLayoutId id="2147484079" r:id="rId425"/>
    <p:sldLayoutId id="2147484080" r:id="rId426"/>
    <p:sldLayoutId id="2147484081" r:id="rId427"/>
    <p:sldLayoutId id="2147484082" r:id="rId428"/>
    <p:sldLayoutId id="2147484083" r:id="rId42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51876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9" r:id="rId4"/>
    <p:sldLayoutId id="2147484090" r:id="rId5"/>
    <p:sldLayoutId id="2147484091" r:id="rId6"/>
    <p:sldLayoutId id="2147484092" r:id="rId7"/>
    <p:sldLayoutId id="2147484093" r:id="rId8"/>
    <p:sldLayoutId id="2147484094" r:id="rId9"/>
    <p:sldLayoutId id="2147484095" r:id="rId10"/>
    <p:sldLayoutId id="2147484096" r:id="rId11"/>
    <p:sldLayoutId id="2147484097" r:id="rId12"/>
    <p:sldLayoutId id="2147484098" r:id="rId13"/>
    <p:sldLayoutId id="2147484100" r:id="rId14"/>
    <p:sldLayoutId id="2147484101" r:id="rId15"/>
    <p:sldLayoutId id="2147484102" r:id="rId16"/>
    <p:sldLayoutId id="2147484103" r:id="rId17"/>
    <p:sldLayoutId id="2147484104" r:id="rId18"/>
    <p:sldLayoutId id="2147484106" r:id="rId19"/>
    <p:sldLayoutId id="2147484107" r:id="rId20"/>
    <p:sldLayoutId id="2147484108" r:id="rId21"/>
    <p:sldLayoutId id="2147484109" r:id="rId22"/>
    <p:sldLayoutId id="2147484110" r:id="rId23"/>
    <p:sldLayoutId id="2147484111" r:id="rId24"/>
    <p:sldLayoutId id="2147484112" r:id="rId25"/>
    <p:sldLayoutId id="2147484113" r:id="rId26"/>
    <p:sldLayoutId id="2147484114" r:id="rId27"/>
    <p:sldLayoutId id="2147484115" r:id="rId28"/>
    <p:sldLayoutId id="2147484116" r:id="rId29"/>
    <p:sldLayoutId id="2147484117" r:id="rId30"/>
    <p:sldLayoutId id="2147484118" r:id="rId31"/>
    <p:sldLayoutId id="2147484119" r:id="rId32"/>
    <p:sldLayoutId id="2147484120" r:id="rId33"/>
    <p:sldLayoutId id="2147484121" r:id="rId34"/>
    <p:sldLayoutId id="2147484122" r:id="rId35"/>
    <p:sldLayoutId id="2147484123" r:id="rId36"/>
    <p:sldLayoutId id="2147484124" r:id="rId37"/>
    <p:sldLayoutId id="2147484126" r:id="rId38"/>
    <p:sldLayoutId id="2147484127" r:id="rId39"/>
    <p:sldLayoutId id="2147484128" r:id="rId40"/>
    <p:sldLayoutId id="2147484129" r:id="rId41"/>
    <p:sldLayoutId id="2147484130" r:id="rId42"/>
    <p:sldLayoutId id="2147484131" r:id="rId43"/>
    <p:sldLayoutId id="2147484132" r:id="rId44"/>
    <p:sldLayoutId id="2147484133" r:id="rId45"/>
    <p:sldLayoutId id="2147484134" r:id="rId46"/>
    <p:sldLayoutId id="2147484135" r:id="rId47"/>
    <p:sldLayoutId id="2147484136" r:id="rId48"/>
    <p:sldLayoutId id="2147484137" r:id="rId49"/>
    <p:sldLayoutId id="2147484138" r:id="rId50"/>
    <p:sldLayoutId id="2147484140" r:id="rId51"/>
    <p:sldLayoutId id="2147484141" r:id="rId52"/>
    <p:sldLayoutId id="2147484142" r:id="rId53"/>
    <p:sldLayoutId id="2147484143" r:id="rId54"/>
    <p:sldLayoutId id="2147484144" r:id="rId55"/>
    <p:sldLayoutId id="2147484145" r:id="rId56"/>
    <p:sldLayoutId id="2147484146" r:id="rId57"/>
    <p:sldLayoutId id="2147484147" r:id="rId58"/>
    <p:sldLayoutId id="2147484150" r:id="rId59"/>
    <p:sldLayoutId id="2147484151" r:id="rId60"/>
    <p:sldLayoutId id="2147484152" r:id="rId61"/>
    <p:sldLayoutId id="2147484153" r:id="rId62"/>
    <p:sldLayoutId id="2147484154" r:id="rId63"/>
    <p:sldLayoutId id="2147484155" r:id="rId64"/>
    <p:sldLayoutId id="2147484156" r:id="rId65"/>
    <p:sldLayoutId id="2147484157" r:id="rId66"/>
    <p:sldLayoutId id="2147484158" r:id="rId67"/>
    <p:sldLayoutId id="2147484159" r:id="rId68"/>
    <p:sldLayoutId id="2147484160" r:id="rId69"/>
    <p:sldLayoutId id="2147484161" r:id="rId70"/>
    <p:sldLayoutId id="2147484163" r:id="rId71"/>
    <p:sldLayoutId id="2147484164" r:id="rId72"/>
    <p:sldLayoutId id="2147484165" r:id="rId73"/>
    <p:sldLayoutId id="2147484166" r:id="rId74"/>
    <p:sldLayoutId id="2147484168" r:id="rId75"/>
    <p:sldLayoutId id="2147484169" r:id="rId76"/>
    <p:sldLayoutId id="2147484170" r:id="rId77"/>
    <p:sldLayoutId id="2147484171" r:id="rId78"/>
    <p:sldLayoutId id="2147484172" r:id="rId79"/>
    <p:sldLayoutId id="2147484173" r:id="rId80"/>
    <p:sldLayoutId id="2147484174" r:id="rId81"/>
    <p:sldLayoutId id="2147484175" r:id="rId82"/>
    <p:sldLayoutId id="2147484176" r:id="rId83"/>
    <p:sldLayoutId id="2147484177" r:id="rId84"/>
    <p:sldLayoutId id="2147484178" r:id="rId85"/>
    <p:sldLayoutId id="2147484179" r:id="rId86"/>
    <p:sldLayoutId id="2147484180" r:id="rId87"/>
    <p:sldLayoutId id="2147484181" r:id="rId88"/>
    <p:sldLayoutId id="2147484182" r:id="rId89"/>
    <p:sldLayoutId id="2147484183" r:id="rId90"/>
    <p:sldLayoutId id="2147484184" r:id="rId91"/>
    <p:sldLayoutId id="2147484185" r:id="rId92"/>
    <p:sldLayoutId id="2147484186" r:id="rId93"/>
    <p:sldLayoutId id="2147484187" r:id="rId94"/>
    <p:sldLayoutId id="2147484188" r:id="rId95"/>
    <p:sldLayoutId id="2147484189" r:id="rId96"/>
    <p:sldLayoutId id="2147484190" r:id="rId97"/>
    <p:sldLayoutId id="2147484191" r:id="rId98"/>
    <p:sldLayoutId id="2147484192" r:id="rId99"/>
    <p:sldLayoutId id="2147484193" r:id="rId100"/>
    <p:sldLayoutId id="2147484195" r:id="rId101"/>
    <p:sldLayoutId id="2147484196" r:id="rId102"/>
    <p:sldLayoutId id="2147484197" r:id="rId103"/>
    <p:sldLayoutId id="2147484198" r:id="rId104"/>
    <p:sldLayoutId id="2147484199" r:id="rId105"/>
    <p:sldLayoutId id="2147484200" r:id="rId106"/>
    <p:sldLayoutId id="2147484201" r:id="rId107"/>
    <p:sldLayoutId id="2147484202" r:id="rId108"/>
    <p:sldLayoutId id="2147484203" r:id="rId109"/>
    <p:sldLayoutId id="2147484204" r:id="rId110"/>
    <p:sldLayoutId id="2147484205" r:id="rId111"/>
    <p:sldLayoutId id="2147484206" r:id="rId112"/>
    <p:sldLayoutId id="2147484208" r:id="rId113"/>
    <p:sldLayoutId id="2147484209" r:id="rId114"/>
    <p:sldLayoutId id="2147484210" r:id="rId115"/>
    <p:sldLayoutId id="2147484211" r:id="rId116"/>
    <p:sldLayoutId id="2147484212" r:id="rId117"/>
    <p:sldLayoutId id="2147484213" r:id="rId118"/>
    <p:sldLayoutId id="2147484215" r:id="rId119"/>
    <p:sldLayoutId id="2147484216" r:id="rId120"/>
    <p:sldLayoutId id="2147484217" r:id="rId121"/>
    <p:sldLayoutId id="2147484218" r:id="rId122"/>
    <p:sldLayoutId id="2147484219" r:id="rId123"/>
    <p:sldLayoutId id="2147484220" r:id="rId124"/>
    <p:sldLayoutId id="2147484223" r:id="rId125"/>
    <p:sldLayoutId id="2147484225" r:id="rId126"/>
    <p:sldLayoutId id="2147484226" r:id="rId127"/>
    <p:sldLayoutId id="2147484227" r:id="rId128"/>
    <p:sldLayoutId id="2147484228" r:id="rId129"/>
    <p:sldLayoutId id="2147484229" r:id="rId130"/>
    <p:sldLayoutId id="2147484230" r:id="rId131"/>
    <p:sldLayoutId id="2147484231" r:id="rId132"/>
    <p:sldLayoutId id="2147484232" r:id="rId133"/>
    <p:sldLayoutId id="2147484233" r:id="rId134"/>
    <p:sldLayoutId id="2147484234" r:id="rId135"/>
    <p:sldLayoutId id="2147484235" r:id="rId136"/>
    <p:sldLayoutId id="2147484236" r:id="rId137"/>
    <p:sldLayoutId id="2147484238" r:id="rId138"/>
    <p:sldLayoutId id="2147484239" r:id="rId139"/>
    <p:sldLayoutId id="2147484240" r:id="rId140"/>
    <p:sldLayoutId id="2147484241" r:id="rId141"/>
    <p:sldLayoutId id="2147484242" r:id="rId142"/>
    <p:sldLayoutId id="2147484243" r:id="rId143"/>
    <p:sldLayoutId id="2147484245" r:id="rId144"/>
    <p:sldLayoutId id="2147484246" r:id="rId145"/>
    <p:sldLayoutId id="2147484247" r:id="rId146"/>
    <p:sldLayoutId id="2147484248" r:id="rId147"/>
    <p:sldLayoutId id="2147484249" r:id="rId148"/>
    <p:sldLayoutId id="2147484250" r:id="rId149"/>
    <p:sldLayoutId id="2147484251" r:id="rId150"/>
    <p:sldLayoutId id="2147484252" r:id="rId151"/>
    <p:sldLayoutId id="2147484253" r:id="rId152"/>
    <p:sldLayoutId id="2147484254" r:id="rId153"/>
    <p:sldLayoutId id="2147484255" r:id="rId154"/>
    <p:sldLayoutId id="2147484256" r:id="rId155"/>
    <p:sldLayoutId id="2147484257" r:id="rId156"/>
    <p:sldLayoutId id="2147484258" r:id="rId157"/>
    <p:sldLayoutId id="2147484259" r:id="rId158"/>
    <p:sldLayoutId id="2147484260" r:id="rId159"/>
    <p:sldLayoutId id="2147484261" r:id="rId160"/>
    <p:sldLayoutId id="2147484262" r:id="rId161"/>
    <p:sldLayoutId id="2147484263" r:id="rId162"/>
    <p:sldLayoutId id="2147484264" r:id="rId163"/>
    <p:sldLayoutId id="2147484265" r:id="rId164"/>
    <p:sldLayoutId id="2147484266" r:id="rId165"/>
    <p:sldLayoutId id="2147484267" r:id="rId166"/>
    <p:sldLayoutId id="2147484268" r:id="rId167"/>
    <p:sldLayoutId id="2147484269" r:id="rId168"/>
    <p:sldLayoutId id="2147484270" r:id="rId169"/>
    <p:sldLayoutId id="2147484271" r:id="rId170"/>
    <p:sldLayoutId id="2147484272" r:id="rId171"/>
    <p:sldLayoutId id="2147484273" r:id="rId172"/>
    <p:sldLayoutId id="2147484274" r:id="rId173"/>
    <p:sldLayoutId id="2147484275" r:id="rId174"/>
    <p:sldLayoutId id="2147484276" r:id="rId175"/>
    <p:sldLayoutId id="2147484277" r:id="rId176"/>
    <p:sldLayoutId id="2147484278" r:id="rId177"/>
    <p:sldLayoutId id="2147484279" r:id="rId178"/>
    <p:sldLayoutId id="2147484280" r:id="rId179"/>
    <p:sldLayoutId id="2147484281" r:id="rId180"/>
    <p:sldLayoutId id="2147484282" r:id="rId181"/>
    <p:sldLayoutId id="2147484283" r:id="rId182"/>
    <p:sldLayoutId id="2147484284" r:id="rId183"/>
    <p:sldLayoutId id="2147484285" r:id="rId184"/>
    <p:sldLayoutId id="2147484286" r:id="rId185"/>
    <p:sldLayoutId id="2147484287" r:id="rId186"/>
    <p:sldLayoutId id="2147484288" r:id="rId187"/>
    <p:sldLayoutId id="2147484289" r:id="rId188"/>
    <p:sldLayoutId id="2147484291" r:id="rId189"/>
    <p:sldLayoutId id="2147484292" r:id="rId190"/>
    <p:sldLayoutId id="2147484293" r:id="rId191"/>
    <p:sldLayoutId id="2147484294" r:id="rId192"/>
    <p:sldLayoutId id="2147484296" r:id="rId193"/>
    <p:sldLayoutId id="2147484297" r:id="rId194"/>
    <p:sldLayoutId id="2147484298" r:id="rId195"/>
    <p:sldLayoutId id="2147484299" r:id="rId196"/>
    <p:sldLayoutId id="2147484300" r:id="rId197"/>
    <p:sldLayoutId id="2147484301" r:id="rId198"/>
    <p:sldLayoutId id="2147484302" r:id="rId199"/>
    <p:sldLayoutId id="2147484303" r:id="rId200"/>
    <p:sldLayoutId id="2147484304" r:id="rId201"/>
    <p:sldLayoutId id="2147484305" r:id="rId202"/>
    <p:sldLayoutId id="2147484306" r:id="rId203"/>
    <p:sldLayoutId id="2147484307" r:id="rId204"/>
    <p:sldLayoutId id="2147484308" r:id="rId205"/>
    <p:sldLayoutId id="2147484310" r:id="rId206"/>
    <p:sldLayoutId id="2147484311" r:id="rId207"/>
    <p:sldLayoutId id="2147484312" r:id="rId208"/>
    <p:sldLayoutId id="2147484313" r:id="rId209"/>
    <p:sldLayoutId id="2147484314" r:id="rId210"/>
    <p:sldLayoutId id="2147484315" r:id="rId211"/>
    <p:sldLayoutId id="2147484316" r:id="rId212"/>
    <p:sldLayoutId id="2147484317" r:id="rId213"/>
    <p:sldLayoutId id="2147484318" r:id="rId214"/>
    <p:sldLayoutId id="2147484319" r:id="rId215"/>
    <p:sldLayoutId id="2147484320" r:id="rId216"/>
    <p:sldLayoutId id="2147484321" r:id="rId217"/>
    <p:sldLayoutId id="2147484322" r:id="rId218"/>
    <p:sldLayoutId id="2147484323" r:id="rId219"/>
    <p:sldLayoutId id="2147484324" r:id="rId220"/>
    <p:sldLayoutId id="2147484325" r:id="rId221"/>
    <p:sldLayoutId id="2147484326" r:id="rId222"/>
    <p:sldLayoutId id="2147484327" r:id="rId223"/>
    <p:sldLayoutId id="2147484328" r:id="rId224"/>
    <p:sldLayoutId id="2147484329" r:id="rId225"/>
    <p:sldLayoutId id="2147484330" r:id="rId226"/>
    <p:sldLayoutId id="2147484331" r:id="rId227"/>
    <p:sldLayoutId id="2147484332" r:id="rId228"/>
    <p:sldLayoutId id="2147484334" r:id="rId229"/>
    <p:sldLayoutId id="2147484335" r:id="rId230"/>
    <p:sldLayoutId id="2147484336" r:id="rId231"/>
    <p:sldLayoutId id="2147484337" r:id="rId232"/>
    <p:sldLayoutId id="2147484338" r:id="rId233"/>
    <p:sldLayoutId id="2147484339" r:id="rId234"/>
    <p:sldLayoutId id="2147484340" r:id="rId235"/>
    <p:sldLayoutId id="2147484341" r:id="rId236"/>
    <p:sldLayoutId id="2147484342" r:id="rId237"/>
    <p:sldLayoutId id="2147484343" r:id="rId238"/>
    <p:sldLayoutId id="2147484345" r:id="rId239"/>
    <p:sldLayoutId id="2147484346" r:id="rId240"/>
    <p:sldLayoutId id="2147484347" r:id="rId241"/>
    <p:sldLayoutId id="2147484348" r:id="rId242"/>
    <p:sldLayoutId id="2147484349" r:id="rId243"/>
    <p:sldLayoutId id="2147484350" r:id="rId244"/>
    <p:sldLayoutId id="2147484351" r:id="rId245"/>
    <p:sldLayoutId id="2147484352" r:id="rId246"/>
    <p:sldLayoutId id="2147484353" r:id="rId247"/>
    <p:sldLayoutId id="2147484354" r:id="rId248"/>
    <p:sldLayoutId id="2147484356" r:id="rId249"/>
    <p:sldLayoutId id="2147484357" r:id="rId250"/>
    <p:sldLayoutId id="2147484358" r:id="rId251"/>
    <p:sldLayoutId id="2147484359" r:id="rId252"/>
    <p:sldLayoutId id="2147484360" r:id="rId253"/>
    <p:sldLayoutId id="2147484361" r:id="rId254"/>
    <p:sldLayoutId id="2147484362" r:id="rId255"/>
    <p:sldLayoutId id="2147484363" r:id="rId256"/>
    <p:sldLayoutId id="2147484364" r:id="rId257"/>
    <p:sldLayoutId id="2147484365" r:id="rId258"/>
    <p:sldLayoutId id="2147484366" r:id="rId259"/>
    <p:sldLayoutId id="2147484367" r:id="rId260"/>
    <p:sldLayoutId id="2147484368" r:id="rId261"/>
    <p:sldLayoutId id="2147484369" r:id="rId262"/>
    <p:sldLayoutId id="2147484370" r:id="rId263"/>
    <p:sldLayoutId id="2147484371" r:id="rId264"/>
    <p:sldLayoutId id="2147484372" r:id="rId265"/>
    <p:sldLayoutId id="2147484373" r:id="rId266"/>
    <p:sldLayoutId id="2147484374" r:id="rId267"/>
    <p:sldLayoutId id="2147484376" r:id="rId268"/>
    <p:sldLayoutId id="2147484377" r:id="rId269"/>
    <p:sldLayoutId id="2147484378" r:id="rId270"/>
    <p:sldLayoutId id="2147484379" r:id="rId271"/>
    <p:sldLayoutId id="2147484380" r:id="rId272"/>
    <p:sldLayoutId id="2147484381" r:id="rId273"/>
    <p:sldLayoutId id="2147484382" r:id="rId274"/>
    <p:sldLayoutId id="2147484383" r:id="rId275"/>
    <p:sldLayoutId id="2147484384" r:id="rId276"/>
    <p:sldLayoutId id="2147484385" r:id="rId277"/>
    <p:sldLayoutId id="2147484386" r:id="rId278"/>
    <p:sldLayoutId id="2147484387" r:id="rId279"/>
    <p:sldLayoutId id="2147484389" r:id="rId280"/>
    <p:sldLayoutId id="2147484390" r:id="rId281"/>
    <p:sldLayoutId id="2147484391" r:id="rId282"/>
    <p:sldLayoutId id="2147484392" r:id="rId283"/>
    <p:sldLayoutId id="2147484393" r:id="rId284"/>
    <p:sldLayoutId id="2147484394" r:id="rId285"/>
    <p:sldLayoutId id="2147484395" r:id="rId286"/>
    <p:sldLayoutId id="2147484396" r:id="rId287"/>
    <p:sldLayoutId id="2147484398" r:id="rId288"/>
    <p:sldLayoutId id="2147484400" r:id="rId289"/>
    <p:sldLayoutId id="2147484402" r:id="rId290"/>
    <p:sldLayoutId id="2147484403" r:id="rId291"/>
    <p:sldLayoutId id="2147484406" r:id="rId292"/>
    <p:sldLayoutId id="2147484408" r:id="rId293"/>
    <p:sldLayoutId id="2147484409" r:id="rId294"/>
    <p:sldLayoutId id="2147484410" r:id="rId295"/>
    <p:sldLayoutId id="2147484411" r:id="rId296"/>
    <p:sldLayoutId id="2147484414" r:id="rId297"/>
    <p:sldLayoutId id="2147484415" r:id="rId298"/>
    <p:sldLayoutId id="2147484416" r:id="rId299"/>
    <p:sldLayoutId id="2147484417" r:id="rId300"/>
    <p:sldLayoutId id="2147484418" r:id="rId301"/>
    <p:sldLayoutId id="2147484419" r:id="rId302"/>
    <p:sldLayoutId id="2147484420" r:id="rId303"/>
    <p:sldLayoutId id="2147484421" r:id="rId304"/>
    <p:sldLayoutId id="2147484423" r:id="rId305"/>
    <p:sldLayoutId id="2147484424" r:id="rId306"/>
    <p:sldLayoutId id="2147484425" r:id="rId307"/>
    <p:sldLayoutId id="2147484426" r:id="rId308"/>
    <p:sldLayoutId id="2147484427" r:id="rId309"/>
    <p:sldLayoutId id="2147484428" r:id="rId310"/>
    <p:sldLayoutId id="2147484429" r:id="rId311"/>
    <p:sldLayoutId id="2147484430" r:id="rId312"/>
    <p:sldLayoutId id="2147484433" r:id="rId313"/>
    <p:sldLayoutId id="2147484434" r:id="rId314"/>
    <p:sldLayoutId id="2147484435" r:id="rId315"/>
    <p:sldLayoutId id="2147484436" r:id="rId316"/>
    <p:sldLayoutId id="2147484438" r:id="rId317"/>
    <p:sldLayoutId id="2147484439" r:id="rId318"/>
    <p:sldLayoutId id="2147484440" r:id="rId319"/>
    <p:sldLayoutId id="2147484441" r:id="rId320"/>
    <p:sldLayoutId id="2147484442" r:id="rId321"/>
    <p:sldLayoutId id="2147484443" r:id="rId322"/>
    <p:sldLayoutId id="2147484444" r:id="rId323"/>
    <p:sldLayoutId id="2147484445" r:id="rId324"/>
    <p:sldLayoutId id="2147484446" r:id="rId325"/>
    <p:sldLayoutId id="2147484448" r:id="rId326"/>
    <p:sldLayoutId id="2147484449" r:id="rId327"/>
    <p:sldLayoutId id="2147484450" r:id="rId328"/>
    <p:sldLayoutId id="2147484451" r:id="rId329"/>
    <p:sldLayoutId id="2147484452" r:id="rId330"/>
    <p:sldLayoutId id="2147484453" r:id="rId331"/>
    <p:sldLayoutId id="2147484454" r:id="rId332"/>
    <p:sldLayoutId id="2147484455" r:id="rId333"/>
    <p:sldLayoutId id="2147484456" r:id="rId334"/>
    <p:sldLayoutId id="2147484457" r:id="rId335"/>
    <p:sldLayoutId id="2147484458" r:id="rId336"/>
    <p:sldLayoutId id="2147484459" r:id="rId337"/>
    <p:sldLayoutId id="2147484460" r:id="rId338"/>
    <p:sldLayoutId id="2147484461" r:id="rId339"/>
    <p:sldLayoutId id="2147484462" r:id="rId340"/>
    <p:sldLayoutId id="2147484463" r:id="rId341"/>
    <p:sldLayoutId id="2147484464" r:id="rId342"/>
    <p:sldLayoutId id="2147484465" r:id="rId343"/>
    <p:sldLayoutId id="2147484466" r:id="rId344"/>
    <p:sldLayoutId id="2147484467" r:id="rId345"/>
    <p:sldLayoutId id="2147484468" r:id="rId346"/>
    <p:sldLayoutId id="2147484469" r:id="rId347"/>
    <p:sldLayoutId id="2147484470" r:id="rId348"/>
    <p:sldLayoutId id="2147484471" r:id="rId349"/>
    <p:sldLayoutId id="2147484472" r:id="rId350"/>
    <p:sldLayoutId id="2147484473" r:id="rId351"/>
    <p:sldLayoutId id="2147484474" r:id="rId352"/>
    <p:sldLayoutId id="2147484475" r:id="rId353"/>
    <p:sldLayoutId id="2147484476" r:id="rId354"/>
    <p:sldLayoutId id="2147484477" r:id="rId355"/>
    <p:sldLayoutId id="2147484478" r:id="rId356"/>
    <p:sldLayoutId id="2147484479" r:id="rId357"/>
    <p:sldLayoutId id="2147484480" r:id="rId358"/>
    <p:sldLayoutId id="2147484481" r:id="rId359"/>
    <p:sldLayoutId id="2147484482" r:id="rId360"/>
    <p:sldLayoutId id="2147484483" r:id="rId361"/>
    <p:sldLayoutId id="2147484484" r:id="rId362"/>
    <p:sldLayoutId id="2147484485" r:id="rId363"/>
    <p:sldLayoutId id="2147484486" r:id="rId364"/>
    <p:sldLayoutId id="2147484487" r:id="rId365"/>
    <p:sldLayoutId id="2147484488" r:id="rId366"/>
    <p:sldLayoutId id="2147484489" r:id="rId367"/>
    <p:sldLayoutId id="2147484490" r:id="rId368"/>
    <p:sldLayoutId id="2147484491" r:id="rId369"/>
    <p:sldLayoutId id="2147484492" r:id="rId370"/>
    <p:sldLayoutId id="2147484493" r:id="rId371"/>
    <p:sldLayoutId id="2147484494" r:id="rId372"/>
    <p:sldLayoutId id="2147484495" r:id="rId373"/>
    <p:sldLayoutId id="2147484496" r:id="rId374"/>
    <p:sldLayoutId id="2147484497" r:id="rId375"/>
    <p:sldLayoutId id="2147484498" r:id="rId376"/>
    <p:sldLayoutId id="2147484499" r:id="rId377"/>
    <p:sldLayoutId id="2147484500" r:id="rId378"/>
    <p:sldLayoutId id="2147484501" r:id="rId379"/>
    <p:sldLayoutId id="2147484502" r:id="rId380"/>
    <p:sldLayoutId id="2147484503" r:id="rId381"/>
    <p:sldLayoutId id="2147484504" r:id="rId382"/>
    <p:sldLayoutId id="2147484505" r:id="rId383"/>
    <p:sldLayoutId id="2147484506" r:id="rId384"/>
    <p:sldLayoutId id="2147484507" r:id="rId385"/>
    <p:sldLayoutId id="2147484508" r:id="rId386"/>
    <p:sldLayoutId id="2147484509" r:id="rId387"/>
    <p:sldLayoutId id="2147484510" r:id="rId388"/>
    <p:sldLayoutId id="2147484511" r:id="rId389"/>
    <p:sldLayoutId id="2147484512" r:id="rId390"/>
    <p:sldLayoutId id="2147484513" r:id="rId391"/>
    <p:sldLayoutId id="2147484514" r:id="rId392"/>
    <p:sldLayoutId id="2147484515" r:id="rId393"/>
    <p:sldLayoutId id="2147484516" r:id="rId394"/>
    <p:sldLayoutId id="2147484517" r:id="rId395"/>
    <p:sldLayoutId id="2147484518" r:id="rId396"/>
    <p:sldLayoutId id="2147484519" r:id="rId397"/>
    <p:sldLayoutId id="2147484520" r:id="rId398"/>
    <p:sldLayoutId id="2147484521" r:id="rId399"/>
    <p:sldLayoutId id="2147484522" r:id="rId400"/>
    <p:sldLayoutId id="2147484523" r:id="rId401"/>
    <p:sldLayoutId id="2147484524" r:id="rId402"/>
    <p:sldLayoutId id="2147484525" r:id="rId403"/>
    <p:sldLayoutId id="2147484526" r:id="rId404"/>
    <p:sldLayoutId id="2147484527" r:id="rId405"/>
    <p:sldLayoutId id="2147484528" r:id="rId406"/>
    <p:sldLayoutId id="2147484529" r:id="rId407"/>
    <p:sldLayoutId id="2147484530" r:id="rId408"/>
    <p:sldLayoutId id="2147484531" r:id="rId409"/>
    <p:sldLayoutId id="2147484532" r:id="rId410"/>
    <p:sldLayoutId id="2147484533" r:id="rId411"/>
    <p:sldLayoutId id="2147484534" r:id="rId412"/>
    <p:sldLayoutId id="2147484535" r:id="rId413"/>
    <p:sldLayoutId id="2147484536" r:id="rId414"/>
    <p:sldLayoutId id="2147484537" r:id="rId415"/>
    <p:sldLayoutId id="2147484538" r:id="rId416"/>
    <p:sldLayoutId id="2147484539" r:id="rId417"/>
    <p:sldLayoutId id="2147484540" r:id="rId418"/>
    <p:sldLayoutId id="2147484542" r:id="rId419"/>
    <p:sldLayoutId id="2147484543" r:id="rId420"/>
    <p:sldLayoutId id="2147484544" r:id="rId421"/>
    <p:sldLayoutId id="2147484545" r:id="rId422"/>
    <p:sldLayoutId id="2147484546" r:id="rId423"/>
    <p:sldLayoutId id="2147484547" r:id="rId424"/>
    <p:sldLayoutId id="2147484548" r:id="rId425"/>
    <p:sldLayoutId id="2147484549" r:id="rId426"/>
    <p:sldLayoutId id="2147484550" r:id="rId427"/>
    <p:sldLayoutId id="2147484551" r:id="rId428"/>
    <p:sldLayoutId id="2147484552" r:id="rId429"/>
    <p:sldLayoutId id="2147484553" r:id="rId430"/>
    <p:sldLayoutId id="2147484554" r:id="rId431"/>
    <p:sldLayoutId id="2147484555" r:id="rId432"/>
    <p:sldLayoutId id="2147484556" r:id="rId433"/>
    <p:sldLayoutId id="2147484557" r:id="rId434"/>
    <p:sldLayoutId id="2147484558" r:id="rId435"/>
    <p:sldLayoutId id="2147484559" r:id="rId436"/>
    <p:sldLayoutId id="2147484560" r:id="rId43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08030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2" r:id="rId1"/>
    <p:sldLayoutId id="2147484563" r:id="rId2"/>
    <p:sldLayoutId id="2147484564" r:id="rId3"/>
    <p:sldLayoutId id="2147484565" r:id="rId4"/>
    <p:sldLayoutId id="2147484566" r:id="rId5"/>
    <p:sldLayoutId id="2147484567" r:id="rId6"/>
    <p:sldLayoutId id="2147484568" r:id="rId7"/>
    <p:sldLayoutId id="2147484569" r:id="rId8"/>
    <p:sldLayoutId id="2147484570" r:id="rId9"/>
    <p:sldLayoutId id="2147484571" r:id="rId10"/>
    <p:sldLayoutId id="2147484572" r:id="rId1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8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09" name="Google Shape;8209;g3681a448973_2_532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210" name="Google Shape;8210;g3681a448973_2_532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11" name="Google Shape;8211;g3681a448973_2_532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212" name="Google Shape;8212;g3681a448973_2_532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3706195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574" r:id="rId1"/>
    <p:sldLayoutId id="2147484575" r:id="rId2"/>
    <p:sldLayoutId id="2147484576" r:id="rId3"/>
    <p:sldLayoutId id="2147484577" r:id="rId4"/>
    <p:sldLayoutId id="2147484578" r:id="rId5"/>
    <p:sldLayoutId id="2147484579" r:id="rId6"/>
    <p:sldLayoutId id="2147484580" r:id="rId7"/>
    <p:sldLayoutId id="2147484581" r:id="rId8"/>
    <p:sldLayoutId id="2147484582" r:id="rId9"/>
    <p:sldLayoutId id="2147484583" r:id="rId10"/>
    <p:sldLayoutId id="2147484584" r:id="rId11"/>
    <p:sldLayoutId id="2147484585" r:id="rId12"/>
    <p:sldLayoutId id="2147484586" r:id="rId13"/>
    <p:sldLayoutId id="2147484587" r:id="rId14"/>
    <p:sldLayoutId id="2147484588" r:id="rId15"/>
    <p:sldLayoutId id="2147484589" r:id="rId16"/>
    <p:sldLayoutId id="2147484590" r:id="rId17"/>
    <p:sldLayoutId id="2147484591" r:id="rId18"/>
    <p:sldLayoutId id="2147484592" r:id="rId19"/>
    <p:sldLayoutId id="2147484593" r:id="rId20"/>
    <p:sldLayoutId id="2147484594" r:id="rId21"/>
    <p:sldLayoutId id="2147484595" r:id="rId22"/>
    <p:sldLayoutId id="2147484596" r:id="rId23"/>
    <p:sldLayoutId id="2147484597" r:id="rId24"/>
    <p:sldLayoutId id="2147484598" r:id="rId25"/>
    <p:sldLayoutId id="2147484599" r:id="rId26"/>
    <p:sldLayoutId id="2147484600" r:id="rId27"/>
    <p:sldLayoutId id="2147484601" r:id="rId28"/>
    <p:sldLayoutId id="2147484602" r:id="rId29"/>
    <p:sldLayoutId id="2147484603" r:id="rId30"/>
    <p:sldLayoutId id="2147484604" r:id="rId31"/>
    <p:sldLayoutId id="2147484605" r:id="rId32"/>
    <p:sldLayoutId id="2147484606" r:id="rId33"/>
    <p:sldLayoutId id="2147484607" r:id="rId34"/>
    <p:sldLayoutId id="2147484608" r:id="rId35"/>
    <p:sldLayoutId id="2147484609" r:id="rId36"/>
    <p:sldLayoutId id="2147484610" r:id="rId37"/>
    <p:sldLayoutId id="2147484611" r:id="rId38"/>
    <p:sldLayoutId id="2147484612" r:id="rId39"/>
    <p:sldLayoutId id="2147484613" r:id="rId40"/>
    <p:sldLayoutId id="2147484614" r:id="rId41"/>
    <p:sldLayoutId id="2147484615" r:id="rId42"/>
    <p:sldLayoutId id="2147484616" r:id="rId43"/>
    <p:sldLayoutId id="2147484617" r:id="rId44"/>
    <p:sldLayoutId id="2147484618" r:id="rId45"/>
    <p:sldLayoutId id="2147484619" r:id="rId46"/>
    <p:sldLayoutId id="2147484620" r:id="rId47"/>
    <p:sldLayoutId id="2147484621" r:id="rId48"/>
    <p:sldLayoutId id="2147484622" r:id="rId49"/>
    <p:sldLayoutId id="2147484623" r:id="rId50"/>
    <p:sldLayoutId id="2147484624" r:id="rId51"/>
    <p:sldLayoutId id="2147484625" r:id="rId52"/>
    <p:sldLayoutId id="2147484626" r:id="rId53"/>
    <p:sldLayoutId id="2147484627" r:id="rId54"/>
    <p:sldLayoutId id="2147484628" r:id="rId55"/>
    <p:sldLayoutId id="2147484629" r:id="rId56"/>
    <p:sldLayoutId id="2147484630" r:id="rId57"/>
    <p:sldLayoutId id="2147484631" r:id="rId58"/>
    <p:sldLayoutId id="2147484632" r:id="rId59"/>
    <p:sldLayoutId id="2147484633" r:id="rId60"/>
    <p:sldLayoutId id="2147484634" r:id="rId61"/>
    <p:sldLayoutId id="2147484635" r:id="rId62"/>
    <p:sldLayoutId id="2147484636" r:id="rId63"/>
    <p:sldLayoutId id="2147484637" r:id="rId64"/>
    <p:sldLayoutId id="2147484638" r:id="rId65"/>
    <p:sldLayoutId id="2147484639" r:id="rId66"/>
    <p:sldLayoutId id="2147484640" r:id="rId67"/>
    <p:sldLayoutId id="2147484641" r:id="rId68"/>
    <p:sldLayoutId id="2147484642" r:id="rId69"/>
    <p:sldLayoutId id="2147484643" r:id="rId70"/>
    <p:sldLayoutId id="2147484644" r:id="rId71"/>
    <p:sldLayoutId id="2147484645" r:id="rId72"/>
    <p:sldLayoutId id="2147484646" r:id="rId73"/>
    <p:sldLayoutId id="2147484647" r:id="rId74"/>
    <p:sldLayoutId id="2147484648" r:id="rId75"/>
    <p:sldLayoutId id="2147484649" r:id="rId76"/>
    <p:sldLayoutId id="2147484650" r:id="rId77"/>
    <p:sldLayoutId id="2147484651" r:id="rId78"/>
    <p:sldLayoutId id="2147484652" r:id="rId79"/>
    <p:sldLayoutId id="2147484653" r:id="rId80"/>
    <p:sldLayoutId id="2147484654" r:id="rId81"/>
    <p:sldLayoutId id="2147484655" r:id="rId82"/>
    <p:sldLayoutId id="2147484656" r:id="rId83"/>
    <p:sldLayoutId id="2147484657" r:id="rId84"/>
    <p:sldLayoutId id="2147484658" r:id="rId85"/>
    <p:sldLayoutId id="2147484659" r:id="rId86"/>
    <p:sldLayoutId id="2147484660" r:id="rId87"/>
    <p:sldLayoutId id="2147484661" r:id="rId88"/>
    <p:sldLayoutId id="2147484662" r:id="rId89"/>
    <p:sldLayoutId id="2147484663" r:id="rId90"/>
    <p:sldLayoutId id="2147484664" r:id="rId91"/>
    <p:sldLayoutId id="2147484665" r:id="rId92"/>
    <p:sldLayoutId id="2147484666" r:id="rId93"/>
    <p:sldLayoutId id="2147484667" r:id="rId94"/>
    <p:sldLayoutId id="2147484668" r:id="rId95"/>
    <p:sldLayoutId id="2147484669" r:id="rId96"/>
    <p:sldLayoutId id="2147484670" r:id="rId97"/>
    <p:sldLayoutId id="2147484671" r:id="rId98"/>
    <p:sldLayoutId id="2147484672" r:id="rId99"/>
    <p:sldLayoutId id="2147484673" r:id="rId100"/>
    <p:sldLayoutId id="2147484674" r:id="rId101"/>
    <p:sldLayoutId id="2147484675" r:id="rId102"/>
    <p:sldLayoutId id="2147484676" r:id="rId103"/>
    <p:sldLayoutId id="2147484677" r:id="rId104"/>
    <p:sldLayoutId id="2147484678" r:id="rId105"/>
    <p:sldLayoutId id="2147484679" r:id="rId106"/>
    <p:sldLayoutId id="2147484680" r:id="rId107"/>
    <p:sldLayoutId id="2147484681" r:id="rId108"/>
    <p:sldLayoutId id="2147484682" r:id="rId109"/>
    <p:sldLayoutId id="2147484683" r:id="rId110"/>
    <p:sldLayoutId id="2147484684" r:id="rId111"/>
    <p:sldLayoutId id="2147484685" r:id="rId112"/>
    <p:sldLayoutId id="2147484686" r:id="rId113"/>
    <p:sldLayoutId id="2147484687" r:id="rId114"/>
    <p:sldLayoutId id="2147484688" r:id="rId115"/>
    <p:sldLayoutId id="2147484689" r:id="rId116"/>
    <p:sldLayoutId id="2147484690" r:id="rId117"/>
    <p:sldLayoutId id="2147484691" r:id="rId118"/>
    <p:sldLayoutId id="2147484692" r:id="rId119"/>
    <p:sldLayoutId id="2147484693" r:id="rId120"/>
    <p:sldLayoutId id="2147484694" r:id="rId121"/>
    <p:sldLayoutId id="2147484695" r:id="rId122"/>
    <p:sldLayoutId id="2147484696" r:id="rId123"/>
    <p:sldLayoutId id="2147484697" r:id="rId124"/>
    <p:sldLayoutId id="2147484698" r:id="rId125"/>
    <p:sldLayoutId id="2147484699" r:id="rId126"/>
    <p:sldLayoutId id="2147484700" r:id="rId127"/>
    <p:sldLayoutId id="2147484701" r:id="rId128"/>
    <p:sldLayoutId id="2147484702" r:id="rId129"/>
    <p:sldLayoutId id="2147484703" r:id="rId130"/>
    <p:sldLayoutId id="2147484704" r:id="rId131"/>
    <p:sldLayoutId id="2147484705" r:id="rId132"/>
    <p:sldLayoutId id="2147484706" r:id="rId133"/>
    <p:sldLayoutId id="2147484707" r:id="rId134"/>
    <p:sldLayoutId id="2147484708" r:id="rId135"/>
    <p:sldLayoutId id="2147484709" r:id="rId136"/>
    <p:sldLayoutId id="2147484710" r:id="rId137"/>
    <p:sldLayoutId id="2147484711" r:id="rId138"/>
    <p:sldLayoutId id="2147484712" r:id="rId139"/>
    <p:sldLayoutId id="2147484713" r:id="rId140"/>
    <p:sldLayoutId id="2147484714" r:id="rId141"/>
    <p:sldLayoutId id="2147484715" r:id="rId142"/>
    <p:sldLayoutId id="2147484716" r:id="rId143"/>
    <p:sldLayoutId id="2147484717" r:id="rId144"/>
    <p:sldLayoutId id="2147484718" r:id="rId145"/>
    <p:sldLayoutId id="2147484719" r:id="rId146"/>
    <p:sldLayoutId id="2147484720" r:id="rId147"/>
    <p:sldLayoutId id="2147484721" r:id="rId148"/>
    <p:sldLayoutId id="2147484722" r:id="rId149"/>
    <p:sldLayoutId id="2147484723" r:id="rId150"/>
    <p:sldLayoutId id="2147484724" r:id="rId151"/>
    <p:sldLayoutId id="2147484725" r:id="rId152"/>
    <p:sldLayoutId id="2147484726" r:id="rId153"/>
    <p:sldLayoutId id="2147484727" r:id="rId154"/>
    <p:sldLayoutId id="2147484728" r:id="rId155"/>
    <p:sldLayoutId id="2147484729" r:id="rId156"/>
    <p:sldLayoutId id="2147484730" r:id="rId157"/>
    <p:sldLayoutId id="2147484731" r:id="rId158"/>
    <p:sldLayoutId id="2147484732" r:id="rId159"/>
    <p:sldLayoutId id="2147484733" r:id="rId160"/>
    <p:sldLayoutId id="2147484734" r:id="rId161"/>
    <p:sldLayoutId id="2147484735" r:id="rId162"/>
    <p:sldLayoutId id="2147484736" r:id="rId163"/>
    <p:sldLayoutId id="2147484737" r:id="rId164"/>
    <p:sldLayoutId id="2147484738" r:id="rId165"/>
    <p:sldLayoutId id="2147484739" r:id="rId166"/>
    <p:sldLayoutId id="2147484740" r:id="rId167"/>
    <p:sldLayoutId id="2147484741" r:id="rId168"/>
    <p:sldLayoutId id="2147484742" r:id="rId169"/>
    <p:sldLayoutId id="2147484743" r:id="rId170"/>
    <p:sldLayoutId id="2147484744" r:id="rId171"/>
    <p:sldLayoutId id="2147484745" r:id="rId172"/>
    <p:sldLayoutId id="2147484746" r:id="rId173"/>
    <p:sldLayoutId id="2147484747" r:id="rId174"/>
    <p:sldLayoutId id="2147484748" r:id="rId175"/>
    <p:sldLayoutId id="2147484749" r:id="rId176"/>
    <p:sldLayoutId id="2147484750" r:id="rId177"/>
    <p:sldLayoutId id="2147484751" r:id="rId178"/>
    <p:sldLayoutId id="2147484752" r:id="rId179"/>
    <p:sldLayoutId id="2147484753" r:id="rId180"/>
    <p:sldLayoutId id="2147484754" r:id="rId181"/>
    <p:sldLayoutId id="2147484755" r:id="rId182"/>
    <p:sldLayoutId id="2147484756" r:id="rId183"/>
    <p:sldLayoutId id="2147484757" r:id="rId184"/>
    <p:sldLayoutId id="2147484758" r:id="rId185"/>
    <p:sldLayoutId id="2147484759" r:id="rId186"/>
    <p:sldLayoutId id="2147484760" r:id="rId187"/>
    <p:sldLayoutId id="2147484761" r:id="rId188"/>
    <p:sldLayoutId id="2147484762" r:id="rId189"/>
    <p:sldLayoutId id="2147484763" r:id="rId190"/>
    <p:sldLayoutId id="2147484764" r:id="rId191"/>
    <p:sldLayoutId id="2147484765" r:id="rId192"/>
    <p:sldLayoutId id="2147484766" r:id="rId193"/>
    <p:sldLayoutId id="2147484767" r:id="rId194"/>
    <p:sldLayoutId id="2147484768" r:id="rId195"/>
    <p:sldLayoutId id="2147484769" r:id="rId196"/>
    <p:sldLayoutId id="2147484770" r:id="rId197"/>
    <p:sldLayoutId id="2147484771" r:id="rId198"/>
    <p:sldLayoutId id="2147484772" r:id="rId199"/>
    <p:sldLayoutId id="2147484773" r:id="rId200"/>
    <p:sldLayoutId id="2147484774" r:id="rId201"/>
    <p:sldLayoutId id="2147484775" r:id="rId202"/>
    <p:sldLayoutId id="2147484776" r:id="rId203"/>
    <p:sldLayoutId id="2147484777" r:id="rId204"/>
    <p:sldLayoutId id="2147484778" r:id="rId205"/>
    <p:sldLayoutId id="2147484779" r:id="rId206"/>
    <p:sldLayoutId id="2147484780" r:id="rId207"/>
    <p:sldLayoutId id="2147484781" r:id="rId208"/>
    <p:sldLayoutId id="2147484782" r:id="rId209"/>
    <p:sldLayoutId id="2147484783" r:id="rId210"/>
    <p:sldLayoutId id="2147484784" r:id="rId211"/>
    <p:sldLayoutId id="2147484785" r:id="rId212"/>
    <p:sldLayoutId id="2147484786" r:id="rId213"/>
    <p:sldLayoutId id="2147484787" r:id="rId214"/>
    <p:sldLayoutId id="2147484788" r:id="rId215"/>
    <p:sldLayoutId id="2147484789" r:id="rId216"/>
    <p:sldLayoutId id="2147484790" r:id="rId217"/>
    <p:sldLayoutId id="2147484791" r:id="rId218"/>
    <p:sldLayoutId id="2147484792" r:id="rId219"/>
    <p:sldLayoutId id="2147484793" r:id="rId220"/>
    <p:sldLayoutId id="2147484794" r:id="rId221"/>
    <p:sldLayoutId id="2147484795" r:id="rId222"/>
    <p:sldLayoutId id="2147484796" r:id="rId223"/>
    <p:sldLayoutId id="2147484797" r:id="rId224"/>
    <p:sldLayoutId id="2147484798" r:id="rId225"/>
    <p:sldLayoutId id="2147484799" r:id="rId226"/>
    <p:sldLayoutId id="2147484800" r:id="rId227"/>
    <p:sldLayoutId id="2147484801" r:id="rId228"/>
    <p:sldLayoutId id="2147484802" r:id="rId229"/>
    <p:sldLayoutId id="2147484803" r:id="rId230"/>
    <p:sldLayoutId id="2147484804" r:id="rId231"/>
    <p:sldLayoutId id="2147484805" r:id="rId232"/>
    <p:sldLayoutId id="2147484806" r:id="rId233"/>
    <p:sldLayoutId id="2147484807" r:id="rId234"/>
    <p:sldLayoutId id="2147484808" r:id="rId235"/>
    <p:sldLayoutId id="2147484809" r:id="rId236"/>
    <p:sldLayoutId id="2147484810" r:id="rId237"/>
    <p:sldLayoutId id="2147484811" r:id="rId238"/>
    <p:sldLayoutId id="2147484812" r:id="rId239"/>
    <p:sldLayoutId id="2147484813" r:id="rId240"/>
    <p:sldLayoutId id="2147484814" r:id="rId241"/>
    <p:sldLayoutId id="2147484815" r:id="rId242"/>
    <p:sldLayoutId id="2147484816" r:id="rId243"/>
    <p:sldLayoutId id="2147484817" r:id="rId244"/>
    <p:sldLayoutId id="2147484818" r:id="rId245"/>
    <p:sldLayoutId id="2147484819" r:id="rId246"/>
    <p:sldLayoutId id="2147484820" r:id="rId247"/>
    <p:sldLayoutId id="2147484821" r:id="rId248"/>
    <p:sldLayoutId id="2147484822" r:id="rId249"/>
    <p:sldLayoutId id="2147484823" r:id="rId250"/>
    <p:sldLayoutId id="2147484824" r:id="rId251"/>
    <p:sldLayoutId id="2147484825" r:id="rId252"/>
    <p:sldLayoutId id="2147484826" r:id="rId253"/>
    <p:sldLayoutId id="2147484827" r:id="rId254"/>
    <p:sldLayoutId id="2147484828" r:id="rId255"/>
    <p:sldLayoutId id="2147484829" r:id="rId256"/>
    <p:sldLayoutId id="2147484830" r:id="rId257"/>
    <p:sldLayoutId id="2147484831" r:id="rId258"/>
    <p:sldLayoutId id="2147484832" r:id="rId259"/>
    <p:sldLayoutId id="2147484833" r:id="rId260"/>
    <p:sldLayoutId id="2147484834" r:id="rId261"/>
    <p:sldLayoutId id="2147484835" r:id="rId262"/>
    <p:sldLayoutId id="2147484836" r:id="rId263"/>
    <p:sldLayoutId id="2147484837" r:id="rId264"/>
    <p:sldLayoutId id="2147484838" r:id="rId265"/>
    <p:sldLayoutId id="2147484839" r:id="rId266"/>
    <p:sldLayoutId id="2147484840" r:id="rId267"/>
    <p:sldLayoutId id="2147484841" r:id="rId268"/>
    <p:sldLayoutId id="2147484842" r:id="rId269"/>
    <p:sldLayoutId id="2147484843" r:id="rId270"/>
    <p:sldLayoutId id="2147484844" r:id="rId271"/>
    <p:sldLayoutId id="2147484845" r:id="rId272"/>
    <p:sldLayoutId id="2147484846" r:id="rId273"/>
    <p:sldLayoutId id="2147484847" r:id="rId274"/>
    <p:sldLayoutId id="2147484848" r:id="rId275"/>
    <p:sldLayoutId id="2147484849" r:id="rId276"/>
    <p:sldLayoutId id="2147484850" r:id="rId277"/>
    <p:sldLayoutId id="2147484851" r:id="rId278"/>
    <p:sldLayoutId id="2147484852" r:id="rId279"/>
    <p:sldLayoutId id="2147484853" r:id="rId280"/>
    <p:sldLayoutId id="2147484854" r:id="rId281"/>
    <p:sldLayoutId id="2147484855" r:id="rId282"/>
    <p:sldLayoutId id="2147484856" r:id="rId283"/>
    <p:sldLayoutId id="2147484857" r:id="rId284"/>
    <p:sldLayoutId id="2147484858" r:id="rId285"/>
    <p:sldLayoutId id="2147484859" r:id="rId286"/>
    <p:sldLayoutId id="2147484860" r:id="rId287"/>
    <p:sldLayoutId id="2147484861" r:id="rId288"/>
    <p:sldLayoutId id="2147484862" r:id="rId289"/>
    <p:sldLayoutId id="2147484863" r:id="rId290"/>
    <p:sldLayoutId id="2147484864" r:id="rId291"/>
    <p:sldLayoutId id="2147484865" r:id="rId292"/>
    <p:sldLayoutId id="2147484866" r:id="rId293"/>
    <p:sldLayoutId id="2147484867" r:id="rId294"/>
    <p:sldLayoutId id="2147484868" r:id="rId295"/>
    <p:sldLayoutId id="2147484869" r:id="rId296"/>
    <p:sldLayoutId id="2147484870" r:id="rId297"/>
    <p:sldLayoutId id="2147484871" r:id="rId298"/>
    <p:sldLayoutId id="2147484872" r:id="rId299"/>
    <p:sldLayoutId id="2147484873" r:id="rId300"/>
    <p:sldLayoutId id="2147484874" r:id="rId301"/>
    <p:sldLayoutId id="2147484875" r:id="rId302"/>
    <p:sldLayoutId id="2147484876" r:id="rId303"/>
    <p:sldLayoutId id="2147484877" r:id="rId304"/>
    <p:sldLayoutId id="2147484878" r:id="rId305"/>
    <p:sldLayoutId id="2147484879" r:id="rId306"/>
    <p:sldLayoutId id="2147484880" r:id="rId307"/>
    <p:sldLayoutId id="2147484881" r:id="rId308"/>
    <p:sldLayoutId id="2147484882" r:id="rId309"/>
    <p:sldLayoutId id="2147484883" r:id="rId310"/>
    <p:sldLayoutId id="2147484884" r:id="rId311"/>
    <p:sldLayoutId id="2147484885" r:id="rId312"/>
    <p:sldLayoutId id="2147484886" r:id="rId313"/>
    <p:sldLayoutId id="2147484887" r:id="rId314"/>
    <p:sldLayoutId id="2147484888" r:id="rId315"/>
    <p:sldLayoutId id="2147484889" r:id="rId316"/>
    <p:sldLayoutId id="2147484890" r:id="rId317"/>
    <p:sldLayoutId id="2147484891" r:id="rId318"/>
    <p:sldLayoutId id="2147484892" r:id="rId319"/>
    <p:sldLayoutId id="2147484893" r:id="rId320"/>
    <p:sldLayoutId id="2147484894" r:id="rId321"/>
    <p:sldLayoutId id="2147484895" r:id="rId322"/>
    <p:sldLayoutId id="2147484896" r:id="rId323"/>
    <p:sldLayoutId id="2147484897" r:id="rId324"/>
    <p:sldLayoutId id="2147484898" r:id="rId325"/>
    <p:sldLayoutId id="2147484899" r:id="rId326"/>
    <p:sldLayoutId id="2147484900" r:id="rId327"/>
    <p:sldLayoutId id="2147484901" r:id="rId328"/>
    <p:sldLayoutId id="2147484902" r:id="rId329"/>
    <p:sldLayoutId id="2147484903" r:id="rId330"/>
    <p:sldLayoutId id="2147484904" r:id="rId331"/>
    <p:sldLayoutId id="2147484905" r:id="rId332"/>
    <p:sldLayoutId id="2147484906" r:id="rId333"/>
    <p:sldLayoutId id="2147484907" r:id="rId334"/>
    <p:sldLayoutId id="2147484908" r:id="rId335"/>
    <p:sldLayoutId id="2147484909" r:id="rId336"/>
    <p:sldLayoutId id="2147484910" r:id="rId337"/>
    <p:sldLayoutId id="2147484911" r:id="rId338"/>
    <p:sldLayoutId id="2147484912" r:id="rId339"/>
    <p:sldLayoutId id="2147484913" r:id="rId340"/>
    <p:sldLayoutId id="2147484914" r:id="rId341"/>
    <p:sldLayoutId id="2147484915" r:id="rId342"/>
    <p:sldLayoutId id="2147484916" r:id="rId343"/>
    <p:sldLayoutId id="2147484917" r:id="rId344"/>
    <p:sldLayoutId id="2147484918" r:id="rId345"/>
    <p:sldLayoutId id="2147484919" r:id="rId346"/>
    <p:sldLayoutId id="2147484920" r:id="rId347"/>
    <p:sldLayoutId id="2147484921" r:id="rId348"/>
    <p:sldLayoutId id="2147484922" r:id="rId349"/>
    <p:sldLayoutId id="2147484923" r:id="rId350"/>
    <p:sldLayoutId id="2147484924" r:id="rId351"/>
    <p:sldLayoutId id="2147484925" r:id="rId352"/>
    <p:sldLayoutId id="2147484926" r:id="rId353"/>
    <p:sldLayoutId id="2147484927" r:id="rId354"/>
    <p:sldLayoutId id="2147484928" r:id="rId355"/>
    <p:sldLayoutId id="2147484929" r:id="rId356"/>
    <p:sldLayoutId id="2147484930" r:id="rId357"/>
    <p:sldLayoutId id="2147484931" r:id="rId358"/>
    <p:sldLayoutId id="2147484932" r:id="rId359"/>
    <p:sldLayoutId id="2147484933" r:id="rId360"/>
    <p:sldLayoutId id="2147484934" r:id="rId361"/>
    <p:sldLayoutId id="2147484935" r:id="rId362"/>
    <p:sldLayoutId id="2147484936" r:id="rId363"/>
    <p:sldLayoutId id="2147484937" r:id="rId364"/>
    <p:sldLayoutId id="2147484938" r:id="rId365"/>
    <p:sldLayoutId id="2147484939" r:id="rId366"/>
    <p:sldLayoutId id="2147484940" r:id="rId367"/>
    <p:sldLayoutId id="2147484941" r:id="rId368"/>
    <p:sldLayoutId id="2147484942" r:id="rId369"/>
    <p:sldLayoutId id="2147484943" r:id="rId370"/>
    <p:sldLayoutId id="2147484944" r:id="rId371"/>
    <p:sldLayoutId id="2147484945" r:id="rId372"/>
    <p:sldLayoutId id="2147484946" r:id="rId373"/>
    <p:sldLayoutId id="2147484947" r:id="rId374"/>
    <p:sldLayoutId id="2147484948" r:id="rId375"/>
    <p:sldLayoutId id="2147484949" r:id="rId376"/>
    <p:sldLayoutId id="2147484950" r:id="rId377"/>
    <p:sldLayoutId id="2147484951" r:id="rId378"/>
    <p:sldLayoutId id="2147484952" r:id="rId379"/>
    <p:sldLayoutId id="2147484953" r:id="rId380"/>
    <p:sldLayoutId id="2147484954" r:id="rId381"/>
    <p:sldLayoutId id="2147484955" r:id="rId382"/>
    <p:sldLayoutId id="2147484956" r:id="rId383"/>
    <p:sldLayoutId id="2147484957" r:id="rId384"/>
    <p:sldLayoutId id="2147484958" r:id="rId385"/>
    <p:sldLayoutId id="2147484959" r:id="rId386"/>
    <p:sldLayoutId id="2147484960" r:id="rId387"/>
    <p:sldLayoutId id="2147484961" r:id="rId388"/>
    <p:sldLayoutId id="2147484962" r:id="rId389"/>
    <p:sldLayoutId id="2147484963" r:id="rId390"/>
    <p:sldLayoutId id="2147484964" r:id="rId391"/>
    <p:sldLayoutId id="2147484965" r:id="rId392"/>
    <p:sldLayoutId id="2147484966" r:id="rId393"/>
    <p:sldLayoutId id="2147484967" r:id="rId394"/>
    <p:sldLayoutId id="2147484968" r:id="rId395"/>
    <p:sldLayoutId id="2147484969" r:id="rId396"/>
    <p:sldLayoutId id="2147484970" r:id="rId397"/>
    <p:sldLayoutId id="2147484971" r:id="rId398"/>
    <p:sldLayoutId id="2147484972" r:id="rId399"/>
    <p:sldLayoutId id="2147484973" r:id="rId400"/>
    <p:sldLayoutId id="2147484974" r:id="rId401"/>
    <p:sldLayoutId id="2147484975" r:id="rId402"/>
    <p:sldLayoutId id="2147484976" r:id="rId403"/>
    <p:sldLayoutId id="2147484977" r:id="rId404"/>
    <p:sldLayoutId id="2147484978" r:id="rId405"/>
    <p:sldLayoutId id="2147484979" r:id="rId406"/>
    <p:sldLayoutId id="2147484980" r:id="rId407"/>
    <p:sldLayoutId id="2147484981" r:id="rId408"/>
    <p:sldLayoutId id="2147484982" r:id="rId409"/>
    <p:sldLayoutId id="2147484983" r:id="rId410"/>
    <p:sldLayoutId id="2147484984" r:id="rId411"/>
    <p:sldLayoutId id="2147484985" r:id="rId412"/>
    <p:sldLayoutId id="2147484986" r:id="rId413"/>
    <p:sldLayoutId id="2147484987" r:id="rId414"/>
    <p:sldLayoutId id="2147484988" r:id="rId415"/>
    <p:sldLayoutId id="2147484989" r:id="rId416"/>
    <p:sldLayoutId id="2147484990" r:id="rId417"/>
    <p:sldLayoutId id="2147484991" r:id="rId418"/>
    <p:sldLayoutId id="2147484992" r:id="rId419"/>
    <p:sldLayoutId id="2147484993" r:id="rId420"/>
    <p:sldLayoutId id="2147484994" r:id="rId421"/>
    <p:sldLayoutId id="2147484995" r:id="rId422"/>
    <p:sldLayoutId id="2147484996" r:id="rId423"/>
    <p:sldLayoutId id="2147484997" r:id="rId424"/>
    <p:sldLayoutId id="2147484998" r:id="rId425"/>
    <p:sldLayoutId id="2147484999" r:id="rId426"/>
    <p:sldLayoutId id="2147485000" r:id="rId427"/>
    <p:sldLayoutId id="2147485001" r:id="rId428"/>
    <p:sldLayoutId id="2147485002" r:id="rId429"/>
    <p:sldLayoutId id="2147485003" r:id="rId430"/>
    <p:sldLayoutId id="2147485004" r:id="rId431"/>
    <p:sldLayoutId id="2147485005" r:id="rId432"/>
    <p:sldLayoutId id="2147485006" r:id="rId433"/>
    <p:sldLayoutId id="2147485007" r:id="rId434"/>
    <p:sldLayoutId id="2147485008" r:id="rId435"/>
    <p:sldLayoutId id="2147485009" r:id="rId436"/>
    <p:sldLayoutId id="2147485010" r:id="rId437"/>
    <p:sldLayoutId id="2147485011" r:id="rId438"/>
    <p:sldLayoutId id="2147485012" r:id="rId439"/>
    <p:sldLayoutId id="2147485013" r:id="rId440"/>
    <p:sldLayoutId id="2147485014" r:id="rId441"/>
    <p:sldLayoutId id="2147485015" r:id="rId442"/>
    <p:sldLayoutId id="2147485016" r:id="rId443"/>
    <p:sldLayoutId id="2147485017" r:id="rId444"/>
    <p:sldLayoutId id="2147485018" r:id="rId445"/>
    <p:sldLayoutId id="2147485019" r:id="rId446"/>
    <p:sldLayoutId id="2147485020" r:id="rId447"/>
    <p:sldLayoutId id="2147485021" r:id="rId448"/>
    <p:sldLayoutId id="2147485022" r:id="rId449"/>
    <p:sldLayoutId id="2147485023" r:id="rId450"/>
    <p:sldLayoutId id="2147485024" r:id="rId451"/>
    <p:sldLayoutId id="2147485025" r:id="rId452"/>
    <p:sldLayoutId id="2147485026" r:id="rId453"/>
    <p:sldLayoutId id="2147485027" r:id="rId454"/>
    <p:sldLayoutId id="2147485028" r:id="rId455"/>
    <p:sldLayoutId id="2147485029" r:id="rId45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2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64" name="Google Shape;12664;g3681a448973_2_25717"/>
          <p:cNvSpPr/>
          <p:nvPr/>
        </p:nvSpPr>
        <p:spPr>
          <a:xfrm>
            <a:off x="1524" y="0"/>
            <a:ext cx="12189000" cy="6858000"/>
          </a:xfrm>
          <a:prstGeom prst="rect">
            <a:avLst/>
          </a:prstGeom>
          <a:solidFill>
            <a:schemeClr val="lt2">
              <a:alpha val="4431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665" name="Google Shape;12665;g3681a448973_2_25717"/>
          <p:cNvSpPr/>
          <p:nvPr/>
        </p:nvSpPr>
        <p:spPr>
          <a:xfrm>
            <a:off x="1446276" y="685800"/>
            <a:ext cx="10744200" cy="5486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12666" name="Google Shape;12666;g3681a448973_2_25717" descr="Tag=AccentColor&#10;Flavor=Light&#10;Target=Line"/>
          <p:cNvCxnSpPr/>
          <p:nvPr/>
        </p:nvCxnSpPr>
        <p:spPr>
          <a:xfrm rot="10800000">
            <a:off x="11496184" y="5610"/>
            <a:ext cx="0" cy="6858000"/>
          </a:xfrm>
          <a:prstGeom prst="straightConnector1">
            <a:avLst/>
          </a:prstGeom>
          <a:noFill/>
          <a:ln w="9525" cap="rnd" cmpd="sng">
            <a:solidFill>
              <a:schemeClr val="accent1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2667" name="Google Shape;12667;g3681a448973_2_25717" descr="Tag=AccentColor&#10;Flavor=Light&#10;Target=Line"/>
          <p:cNvCxnSpPr/>
          <p:nvPr/>
        </p:nvCxnSpPr>
        <p:spPr>
          <a:xfrm>
            <a:off x="1524" y="6172200"/>
            <a:ext cx="12192000" cy="0"/>
          </a:xfrm>
          <a:prstGeom prst="straightConnector1">
            <a:avLst/>
          </a:prstGeom>
          <a:noFill/>
          <a:ln w="9525" cap="rnd" cmpd="sng">
            <a:solidFill>
              <a:schemeClr val="accent1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2668" name="Google Shape;12668;g3681a448973_2_25717"/>
          <p:cNvSpPr txBox="1">
            <a:spLocks noGrp="1"/>
          </p:cNvSpPr>
          <p:nvPr>
            <p:ph type="title"/>
          </p:nvPr>
        </p:nvSpPr>
        <p:spPr>
          <a:xfrm>
            <a:off x="420624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Open Sans Light"/>
              <a:buNone/>
              <a:defRPr sz="3600" b="0" i="0" u="none" strike="noStrike" cap="none">
                <a:solidFill>
                  <a:schemeClr val="dk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669" name="Google Shape;12669;g3681a448973_2_25717"/>
          <p:cNvSpPr txBox="1">
            <a:spLocks noGrp="1"/>
          </p:cNvSpPr>
          <p:nvPr>
            <p:ph type="body" idx="1"/>
          </p:nvPr>
        </p:nvSpPr>
        <p:spPr>
          <a:xfrm>
            <a:off x="420624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Noto Sans Symbols"/>
              <a:buChar char="⬩"/>
              <a:defRPr sz="18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Noto Sans Symbols"/>
              <a:buChar char="⬩"/>
              <a:defRPr sz="16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Noto Sans Symbols"/>
              <a:buChar char="⬩"/>
              <a:defRPr sz="14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Noto Sans Symbols"/>
              <a:buChar char="⬩"/>
              <a:defRPr sz="12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100"/>
              <a:buFont typeface="Noto Sans Symbols"/>
              <a:buChar char="⬩"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2670" name="Google Shape;12670;g3681a448973_2_25717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2671" name="Google Shape;12671;g3681a448973_2_25717"/>
          <p:cNvSpPr txBox="1">
            <a:spLocks noGrp="1"/>
          </p:cNvSpPr>
          <p:nvPr>
            <p:ph type="ftr" idx="11"/>
          </p:nvPr>
        </p:nvSpPr>
        <p:spPr>
          <a:xfrm>
            <a:off x="3767328" y="6217920"/>
            <a:ext cx="71964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2672" name="Google Shape;12672;g3681a448973_2_25717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586961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31" r:id="rId1"/>
    <p:sldLayoutId id="2147485032" r:id="rId2"/>
    <p:sldLayoutId id="2147485033" r:id="rId3"/>
    <p:sldLayoutId id="2147485034" r:id="rId4"/>
    <p:sldLayoutId id="2147485035" r:id="rId5"/>
    <p:sldLayoutId id="2147485036" r:id="rId6"/>
    <p:sldLayoutId id="2147485037" r:id="rId7"/>
    <p:sldLayoutId id="2147485038" r:id="rId8"/>
    <p:sldLayoutId id="2147485039" r:id="rId9"/>
    <p:sldLayoutId id="2147485040" r:id="rId10"/>
    <p:sldLayoutId id="2147485041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15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166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3" r:id="rId1"/>
    <p:sldLayoutId id="2147485044" r:id="rId2"/>
    <p:sldLayoutId id="2147485045" r:id="rId3"/>
    <p:sldLayoutId id="2147485046" r:id="rId4"/>
    <p:sldLayoutId id="2147485047" r:id="rId5"/>
    <p:sldLayoutId id="2147485048" r:id="rId6"/>
    <p:sldLayoutId id="2147485049" r:id="rId7"/>
    <p:sldLayoutId id="2147485050" r:id="rId8"/>
    <p:sldLayoutId id="2147485051" r:id="rId9"/>
    <p:sldLayoutId id="2147485052" r:id="rId10"/>
    <p:sldLayoutId id="2147485053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8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4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emf"/><Relationship Id="rId1" Type="http://schemas.openxmlformats.org/officeDocument/2006/relationships/slideLayout" Target="../slideLayouts/slideLayout134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hyperlink" Target="mailto:kmoreno@northshore.org" TargetMode="External"/><Relationship Id="rId4" Type="http://schemas.openxmlformats.org/officeDocument/2006/relationships/image" Target="../media/image8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3.png"/><Relationship Id="rId4" Type="http://schemas.openxmlformats.org/officeDocument/2006/relationships/image" Target="../media/image8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6.png"/><Relationship Id="rId4" Type="http://schemas.openxmlformats.org/officeDocument/2006/relationships/image" Target="../media/image105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7" Type="http://schemas.openxmlformats.org/officeDocument/2006/relationships/image" Target="../media/image11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3.png"/><Relationship Id="rId18" Type="http://schemas.openxmlformats.org/officeDocument/2006/relationships/image" Target="../media/image128.png"/><Relationship Id="rId3" Type="http://schemas.openxmlformats.org/officeDocument/2006/relationships/image" Target="../media/image113.png"/><Relationship Id="rId21" Type="http://schemas.openxmlformats.org/officeDocument/2006/relationships/image" Target="../media/image131.png"/><Relationship Id="rId7" Type="http://schemas.openxmlformats.org/officeDocument/2006/relationships/image" Target="../media/image117.png"/><Relationship Id="rId12" Type="http://schemas.openxmlformats.org/officeDocument/2006/relationships/image" Target="../media/image122.png"/><Relationship Id="rId17" Type="http://schemas.openxmlformats.org/officeDocument/2006/relationships/image" Target="../media/image127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126.jpeg"/><Relationship Id="rId20" Type="http://schemas.openxmlformats.org/officeDocument/2006/relationships/image" Target="../media/image13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6.png"/><Relationship Id="rId11" Type="http://schemas.openxmlformats.org/officeDocument/2006/relationships/image" Target="../media/image121.png"/><Relationship Id="rId5" Type="http://schemas.openxmlformats.org/officeDocument/2006/relationships/image" Target="../media/image115.png"/><Relationship Id="rId15" Type="http://schemas.openxmlformats.org/officeDocument/2006/relationships/image" Target="../media/image125.png"/><Relationship Id="rId10" Type="http://schemas.openxmlformats.org/officeDocument/2006/relationships/image" Target="../media/image120.png"/><Relationship Id="rId19" Type="http://schemas.openxmlformats.org/officeDocument/2006/relationships/image" Target="../media/image129.png"/><Relationship Id="rId4" Type="http://schemas.openxmlformats.org/officeDocument/2006/relationships/image" Target="../media/image114.png"/><Relationship Id="rId9" Type="http://schemas.openxmlformats.org/officeDocument/2006/relationships/image" Target="../media/image119.png"/><Relationship Id="rId14" Type="http://schemas.openxmlformats.org/officeDocument/2006/relationships/image" Target="../media/image124.png"/><Relationship Id="rId22" Type="http://schemas.openxmlformats.org/officeDocument/2006/relationships/image" Target="../media/image1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13" Type="http://schemas.openxmlformats.org/officeDocument/2006/relationships/image" Target="../media/image125.png"/><Relationship Id="rId18" Type="http://schemas.openxmlformats.org/officeDocument/2006/relationships/image" Target="../media/image137.png"/><Relationship Id="rId26" Type="http://schemas.openxmlformats.org/officeDocument/2006/relationships/image" Target="../media/image145.png"/><Relationship Id="rId3" Type="http://schemas.openxmlformats.org/officeDocument/2006/relationships/image" Target="../media/image114.png"/><Relationship Id="rId21" Type="http://schemas.openxmlformats.org/officeDocument/2006/relationships/image" Target="../media/image140.png"/><Relationship Id="rId7" Type="http://schemas.openxmlformats.org/officeDocument/2006/relationships/image" Target="../media/image119.png"/><Relationship Id="rId12" Type="http://schemas.openxmlformats.org/officeDocument/2006/relationships/image" Target="../media/image124.png"/><Relationship Id="rId17" Type="http://schemas.openxmlformats.org/officeDocument/2006/relationships/image" Target="../media/image136.png"/><Relationship Id="rId25" Type="http://schemas.openxmlformats.org/officeDocument/2006/relationships/image" Target="../media/image144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135.png"/><Relationship Id="rId20" Type="http://schemas.openxmlformats.org/officeDocument/2006/relationships/image" Target="../media/image13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8.png"/><Relationship Id="rId11" Type="http://schemas.openxmlformats.org/officeDocument/2006/relationships/image" Target="../media/image123.png"/><Relationship Id="rId24" Type="http://schemas.openxmlformats.org/officeDocument/2006/relationships/image" Target="../media/image143.png"/><Relationship Id="rId5" Type="http://schemas.openxmlformats.org/officeDocument/2006/relationships/image" Target="../media/image133.png"/><Relationship Id="rId15" Type="http://schemas.openxmlformats.org/officeDocument/2006/relationships/image" Target="../media/image134.png"/><Relationship Id="rId23" Type="http://schemas.openxmlformats.org/officeDocument/2006/relationships/image" Target="../media/image142.png"/><Relationship Id="rId10" Type="http://schemas.openxmlformats.org/officeDocument/2006/relationships/image" Target="../media/image122.png"/><Relationship Id="rId19" Type="http://schemas.openxmlformats.org/officeDocument/2006/relationships/image" Target="../media/image138.png"/><Relationship Id="rId4" Type="http://schemas.openxmlformats.org/officeDocument/2006/relationships/image" Target="../media/image116.png"/><Relationship Id="rId9" Type="http://schemas.openxmlformats.org/officeDocument/2006/relationships/image" Target="../media/image121.png"/><Relationship Id="rId14" Type="http://schemas.openxmlformats.org/officeDocument/2006/relationships/image" Target="../media/image126.jpeg"/><Relationship Id="rId22" Type="http://schemas.openxmlformats.org/officeDocument/2006/relationships/image" Target="../media/image14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4.png"/><Relationship Id="rId18" Type="http://schemas.openxmlformats.org/officeDocument/2006/relationships/image" Target="../media/image148.png"/><Relationship Id="rId3" Type="http://schemas.openxmlformats.org/officeDocument/2006/relationships/image" Target="../media/image114.png"/><Relationship Id="rId21" Type="http://schemas.openxmlformats.org/officeDocument/2006/relationships/image" Target="../media/image151.png"/><Relationship Id="rId7" Type="http://schemas.openxmlformats.org/officeDocument/2006/relationships/image" Target="../media/image118.png"/><Relationship Id="rId12" Type="http://schemas.openxmlformats.org/officeDocument/2006/relationships/image" Target="../media/image123.png"/><Relationship Id="rId17" Type="http://schemas.openxmlformats.org/officeDocument/2006/relationships/image" Target="../media/image147.png"/><Relationship Id="rId25" Type="http://schemas.openxmlformats.org/officeDocument/2006/relationships/image" Target="../media/image155.pn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146.png"/><Relationship Id="rId20" Type="http://schemas.openxmlformats.org/officeDocument/2006/relationships/image" Target="../media/image15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3.png"/><Relationship Id="rId11" Type="http://schemas.openxmlformats.org/officeDocument/2006/relationships/image" Target="../media/image122.png"/><Relationship Id="rId24" Type="http://schemas.openxmlformats.org/officeDocument/2006/relationships/image" Target="../media/image154.png"/><Relationship Id="rId5" Type="http://schemas.openxmlformats.org/officeDocument/2006/relationships/image" Target="../media/image116.png"/><Relationship Id="rId15" Type="http://schemas.openxmlformats.org/officeDocument/2006/relationships/image" Target="../media/image126.jpeg"/><Relationship Id="rId23" Type="http://schemas.openxmlformats.org/officeDocument/2006/relationships/image" Target="../media/image153.png"/><Relationship Id="rId10" Type="http://schemas.openxmlformats.org/officeDocument/2006/relationships/image" Target="../media/image121.png"/><Relationship Id="rId19" Type="http://schemas.openxmlformats.org/officeDocument/2006/relationships/image" Target="../media/image149.png"/><Relationship Id="rId4" Type="http://schemas.openxmlformats.org/officeDocument/2006/relationships/image" Target="../media/image115.png"/><Relationship Id="rId9" Type="http://schemas.openxmlformats.org/officeDocument/2006/relationships/image" Target="../media/image120.png"/><Relationship Id="rId14" Type="http://schemas.openxmlformats.org/officeDocument/2006/relationships/image" Target="../media/image125.png"/><Relationship Id="rId22" Type="http://schemas.openxmlformats.org/officeDocument/2006/relationships/image" Target="../media/image15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8.png"/><Relationship Id="rId4" Type="http://schemas.openxmlformats.org/officeDocument/2006/relationships/image" Target="../media/image1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8.png"/><Relationship Id="rId4" Type="http://schemas.openxmlformats.org/officeDocument/2006/relationships/image" Target="../media/image16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2.png"/></Relationships>
</file>

<file path=ppt/slides/_rels/slide2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3.png"/><Relationship Id="rId18" Type="http://schemas.openxmlformats.org/officeDocument/2006/relationships/image" Target="../media/image166.png"/><Relationship Id="rId26" Type="http://schemas.openxmlformats.org/officeDocument/2006/relationships/image" Target="../media/image174.png"/><Relationship Id="rId21" Type="http://schemas.openxmlformats.org/officeDocument/2006/relationships/image" Target="../media/image169.png"/><Relationship Id="rId34" Type="http://schemas.openxmlformats.org/officeDocument/2006/relationships/image" Target="../media/image182.png"/><Relationship Id="rId7" Type="http://schemas.openxmlformats.org/officeDocument/2006/relationships/image" Target="../media/image133.png"/><Relationship Id="rId12" Type="http://schemas.openxmlformats.org/officeDocument/2006/relationships/image" Target="../media/image122.png"/><Relationship Id="rId17" Type="http://schemas.openxmlformats.org/officeDocument/2006/relationships/image" Target="../media/image165.png"/><Relationship Id="rId25" Type="http://schemas.openxmlformats.org/officeDocument/2006/relationships/image" Target="../media/image173.png"/><Relationship Id="rId33" Type="http://schemas.openxmlformats.org/officeDocument/2006/relationships/image" Target="../media/image181.png"/><Relationship Id="rId38" Type="http://schemas.openxmlformats.org/officeDocument/2006/relationships/image" Target="../media/image152.pn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164.jpeg"/><Relationship Id="rId20" Type="http://schemas.openxmlformats.org/officeDocument/2006/relationships/image" Target="../media/image168.png"/><Relationship Id="rId29" Type="http://schemas.openxmlformats.org/officeDocument/2006/relationships/image" Target="../media/image17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6.png"/><Relationship Id="rId11" Type="http://schemas.openxmlformats.org/officeDocument/2006/relationships/image" Target="../media/image121.png"/><Relationship Id="rId24" Type="http://schemas.openxmlformats.org/officeDocument/2006/relationships/image" Target="../media/image172.png"/><Relationship Id="rId32" Type="http://schemas.openxmlformats.org/officeDocument/2006/relationships/image" Target="../media/image180.png"/><Relationship Id="rId37" Type="http://schemas.openxmlformats.org/officeDocument/2006/relationships/image" Target="../media/image185.jpeg"/><Relationship Id="rId5" Type="http://schemas.openxmlformats.org/officeDocument/2006/relationships/image" Target="../media/image115.png"/><Relationship Id="rId15" Type="http://schemas.openxmlformats.org/officeDocument/2006/relationships/image" Target="../media/image125.png"/><Relationship Id="rId23" Type="http://schemas.openxmlformats.org/officeDocument/2006/relationships/image" Target="../media/image171.png"/><Relationship Id="rId28" Type="http://schemas.openxmlformats.org/officeDocument/2006/relationships/image" Target="../media/image176.png"/><Relationship Id="rId36" Type="http://schemas.openxmlformats.org/officeDocument/2006/relationships/image" Target="../media/image184.png"/><Relationship Id="rId10" Type="http://schemas.openxmlformats.org/officeDocument/2006/relationships/image" Target="../media/image120.png"/><Relationship Id="rId19" Type="http://schemas.openxmlformats.org/officeDocument/2006/relationships/image" Target="../media/image167.png"/><Relationship Id="rId31" Type="http://schemas.openxmlformats.org/officeDocument/2006/relationships/image" Target="../media/image179.png"/><Relationship Id="rId4" Type="http://schemas.openxmlformats.org/officeDocument/2006/relationships/image" Target="../media/image114.png"/><Relationship Id="rId9" Type="http://schemas.openxmlformats.org/officeDocument/2006/relationships/image" Target="../media/image119.png"/><Relationship Id="rId14" Type="http://schemas.openxmlformats.org/officeDocument/2006/relationships/image" Target="../media/image124.png"/><Relationship Id="rId22" Type="http://schemas.openxmlformats.org/officeDocument/2006/relationships/image" Target="../media/image170.png"/><Relationship Id="rId27" Type="http://schemas.openxmlformats.org/officeDocument/2006/relationships/image" Target="../media/image175.png"/><Relationship Id="rId30" Type="http://schemas.openxmlformats.org/officeDocument/2006/relationships/image" Target="../media/image178.png"/><Relationship Id="rId35" Type="http://schemas.openxmlformats.org/officeDocument/2006/relationships/image" Target="../media/image183.png"/><Relationship Id="rId8" Type="http://schemas.openxmlformats.org/officeDocument/2006/relationships/image" Target="../media/image118.png"/><Relationship Id="rId3" Type="http://schemas.openxmlformats.org/officeDocument/2006/relationships/image" Target="../media/image16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ilpqc.org" TargetMode="External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7.png"/><Relationship Id="rId4" Type="http://schemas.openxmlformats.org/officeDocument/2006/relationships/image" Target="../media/image18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4.png"/><Relationship Id="rId18" Type="http://schemas.openxmlformats.org/officeDocument/2006/relationships/image" Target="../media/image190.png"/><Relationship Id="rId3" Type="http://schemas.openxmlformats.org/officeDocument/2006/relationships/image" Target="../media/image114.png"/><Relationship Id="rId7" Type="http://schemas.openxmlformats.org/officeDocument/2006/relationships/image" Target="../media/image118.png"/><Relationship Id="rId12" Type="http://schemas.openxmlformats.org/officeDocument/2006/relationships/image" Target="../media/image123.png"/><Relationship Id="rId17" Type="http://schemas.openxmlformats.org/officeDocument/2006/relationships/image" Target="../media/image189.png"/><Relationship Id="rId2" Type="http://schemas.openxmlformats.org/officeDocument/2006/relationships/notesSlide" Target="../notesSlides/notesSlide28.xml"/><Relationship Id="rId16" Type="http://schemas.openxmlformats.org/officeDocument/2006/relationships/image" Target="../media/image188.png"/><Relationship Id="rId20" Type="http://schemas.openxmlformats.org/officeDocument/2006/relationships/image" Target="../media/image19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3.png"/><Relationship Id="rId11" Type="http://schemas.openxmlformats.org/officeDocument/2006/relationships/image" Target="../media/image122.png"/><Relationship Id="rId5" Type="http://schemas.openxmlformats.org/officeDocument/2006/relationships/image" Target="../media/image116.png"/><Relationship Id="rId15" Type="http://schemas.openxmlformats.org/officeDocument/2006/relationships/image" Target="../media/image164.jpeg"/><Relationship Id="rId10" Type="http://schemas.openxmlformats.org/officeDocument/2006/relationships/image" Target="../media/image121.png"/><Relationship Id="rId19" Type="http://schemas.openxmlformats.org/officeDocument/2006/relationships/image" Target="../media/image191.png"/><Relationship Id="rId4" Type="http://schemas.openxmlformats.org/officeDocument/2006/relationships/image" Target="../media/image115.png"/><Relationship Id="rId9" Type="http://schemas.openxmlformats.org/officeDocument/2006/relationships/image" Target="../media/image120.png"/><Relationship Id="rId14" Type="http://schemas.openxmlformats.org/officeDocument/2006/relationships/image" Target="../media/image125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dph.illinois.gov/topics-services/life-stages-populations/maternal-child-family-health-services/perinatal-health/infant-mortality.html" TargetMode="External"/><Relationship Id="rId4" Type="http://schemas.openxmlformats.org/officeDocument/2006/relationships/image" Target="../media/image194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0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8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882.xml"/><Relationship Id="rId5" Type="http://schemas.openxmlformats.org/officeDocument/2006/relationships/image" Target="../media/image197.png"/><Relationship Id="rId4" Type="http://schemas.openxmlformats.org/officeDocument/2006/relationships/image" Target="../media/image19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png"/><Relationship Id="rId2" Type="http://schemas.openxmlformats.org/officeDocument/2006/relationships/image" Target="../media/image196.png"/><Relationship Id="rId1" Type="http://schemas.openxmlformats.org/officeDocument/2006/relationships/slideLayout" Target="../slideLayouts/slideLayout882.xml"/><Relationship Id="rId4" Type="http://schemas.openxmlformats.org/officeDocument/2006/relationships/image" Target="../media/image10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882.xml"/><Relationship Id="rId5" Type="http://schemas.openxmlformats.org/officeDocument/2006/relationships/image" Target="../media/image201.png"/><Relationship Id="rId4" Type="http://schemas.openxmlformats.org/officeDocument/2006/relationships/image" Target="../media/image20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882.xml"/><Relationship Id="rId5" Type="http://schemas.openxmlformats.org/officeDocument/2006/relationships/image" Target="../media/image203.png"/><Relationship Id="rId4" Type="http://schemas.openxmlformats.org/officeDocument/2006/relationships/image" Target="../media/image199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882.xml"/><Relationship Id="rId4" Type="http://schemas.openxmlformats.org/officeDocument/2006/relationships/image" Target="../media/image20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82.xml"/><Relationship Id="rId4" Type="http://schemas.openxmlformats.org/officeDocument/2006/relationships/image" Target="../media/image90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88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3.png"/><Relationship Id="rId4" Type="http://schemas.openxmlformats.org/officeDocument/2006/relationships/image" Target="../media/image8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0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0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5.png"/><Relationship Id="rId5" Type="http://schemas.openxmlformats.org/officeDocument/2006/relationships/image" Target="../media/image214.png"/><Relationship Id="rId4" Type="http://schemas.openxmlformats.org/officeDocument/2006/relationships/image" Target="../media/image84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6.png"/><Relationship Id="rId4" Type="http://schemas.openxmlformats.org/officeDocument/2006/relationships/image" Target="../media/image105.sv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35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82.xml"/><Relationship Id="rId4" Type="http://schemas.openxmlformats.org/officeDocument/2006/relationships/image" Target="../media/image92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0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2.png"/><Relationship Id="rId13" Type="http://schemas.openxmlformats.org/officeDocument/2006/relationships/image" Target="../media/image227.png"/><Relationship Id="rId3" Type="http://schemas.openxmlformats.org/officeDocument/2006/relationships/image" Target="../media/image217.png"/><Relationship Id="rId7" Type="http://schemas.openxmlformats.org/officeDocument/2006/relationships/image" Target="../media/image221.png"/><Relationship Id="rId12" Type="http://schemas.openxmlformats.org/officeDocument/2006/relationships/image" Target="../media/image226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0.png"/><Relationship Id="rId11" Type="http://schemas.openxmlformats.org/officeDocument/2006/relationships/image" Target="../media/image225.png"/><Relationship Id="rId5" Type="http://schemas.openxmlformats.org/officeDocument/2006/relationships/image" Target="../media/image219.png"/><Relationship Id="rId10" Type="http://schemas.openxmlformats.org/officeDocument/2006/relationships/image" Target="../media/image224.png"/><Relationship Id="rId4" Type="http://schemas.openxmlformats.org/officeDocument/2006/relationships/image" Target="../media/image218.png"/><Relationship Id="rId9" Type="http://schemas.openxmlformats.org/officeDocument/2006/relationships/image" Target="../media/image223.png"/><Relationship Id="rId14" Type="http://schemas.openxmlformats.org/officeDocument/2006/relationships/image" Target="../media/image228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82.xml"/><Relationship Id="rId5" Type="http://schemas.openxmlformats.org/officeDocument/2006/relationships/image" Target="../media/image95.svg"/><Relationship Id="rId4" Type="http://schemas.openxmlformats.org/officeDocument/2006/relationships/image" Target="../media/image9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7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sv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877.xml"/><Relationship Id="rId6" Type="http://schemas.openxmlformats.org/officeDocument/2006/relationships/hyperlink" Target="mailto:info@ilpqc.org" TargetMode="External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52" name="Google Shape;4152;p1"/>
          <p:cNvGrpSpPr/>
          <p:nvPr/>
        </p:nvGrpSpPr>
        <p:grpSpPr>
          <a:xfrm>
            <a:off x="0" y="1295400"/>
            <a:ext cx="12192000" cy="5562649"/>
            <a:chOff x="0" y="1295400"/>
            <a:chExt cx="12192000" cy="5562649"/>
          </a:xfrm>
        </p:grpSpPr>
        <p:sp>
          <p:nvSpPr>
            <p:cNvPr id="4153" name="Google Shape;4153;p1"/>
            <p:cNvSpPr/>
            <p:nvPr/>
          </p:nvSpPr>
          <p:spPr>
            <a:xfrm>
              <a:off x="904875" y="1295400"/>
              <a:ext cx="11287125" cy="3819525"/>
            </a:xfrm>
            <a:custGeom>
              <a:avLst/>
              <a:gdLst/>
              <a:ahLst/>
              <a:cxnLst/>
              <a:rect l="l" t="t" r="r" b="b"/>
              <a:pathLst>
                <a:path w="11287125" h="3819525" extrusionOk="0">
                  <a:moveTo>
                    <a:pt x="11287125" y="0"/>
                  </a:moveTo>
                  <a:lnTo>
                    <a:pt x="0" y="0"/>
                  </a:lnTo>
                  <a:lnTo>
                    <a:pt x="0" y="3819525"/>
                  </a:lnTo>
                  <a:lnTo>
                    <a:pt x="11287125" y="3819525"/>
                  </a:lnTo>
                  <a:lnTo>
                    <a:pt x="11287125" y="0"/>
                  </a:lnTo>
                  <a:close/>
                </a:path>
              </a:pathLst>
            </a:custGeom>
            <a:solidFill>
              <a:srgbClr val="F3F6F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4154" name="Google Shape;4154;p1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900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155" name="Google Shape;4155;p1"/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4156" name="Google Shape;4156;p1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600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157" name="Google Shape;4157;p1"/>
          <p:cNvSpPr txBox="1">
            <a:spLocks noGrp="1"/>
          </p:cNvSpPr>
          <p:nvPr>
            <p:ph type="title"/>
          </p:nvPr>
        </p:nvSpPr>
        <p:spPr>
          <a:xfrm>
            <a:off x="1991051" y="2006825"/>
            <a:ext cx="4614000" cy="109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6500" rIns="0" bIns="0" anchor="t" anchorCtr="0">
            <a:spAutoFit/>
          </a:bodyPr>
          <a:lstStyle/>
          <a:p>
            <a:pPr marL="1960245" marR="5080" lvl="0" indent="-1947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500">
                <a:latin typeface="DM Sans" pitchFamily="2" charset="77"/>
                <a:ea typeface="DM Sans"/>
                <a:cs typeface="DM Sans"/>
                <a:sym typeface="DM Sans"/>
              </a:rPr>
              <a:t>Equity and Safe</a:t>
            </a:r>
            <a:endParaRPr sz="350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1960245" marR="5080" lvl="0" indent="-194754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500">
                <a:latin typeface="DM Sans" pitchFamily="2" charset="77"/>
                <a:ea typeface="DM Sans"/>
                <a:cs typeface="DM Sans"/>
                <a:sym typeface="DM Sans"/>
              </a:rPr>
              <a:t>Sleep for Infants</a:t>
            </a:r>
            <a:endParaRPr sz="350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158" name="Google Shape;4158;p1"/>
          <p:cNvSpPr txBox="1"/>
          <p:nvPr/>
        </p:nvSpPr>
        <p:spPr>
          <a:xfrm>
            <a:off x="1473164" y="3618454"/>
            <a:ext cx="4747800" cy="11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6500" rIns="0" bIns="0" anchor="t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50" i="1" dirty="0">
                <a:solidFill>
                  <a:srgbClr val="444B54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Dissemination of Stratified Data</a:t>
            </a:r>
            <a:endParaRPr sz="2450" dirty="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0" marR="62864" lvl="0" indent="0" algn="ctr" rtl="0">
              <a:lnSpc>
                <a:spcPct val="100000"/>
              </a:lnSpc>
              <a:spcBef>
                <a:spcPts val="276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rgbClr val="444B54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August 18</a:t>
            </a:r>
            <a:r>
              <a:rPr lang="en-US" sz="2325" baseline="30000" dirty="0">
                <a:solidFill>
                  <a:srgbClr val="444B54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th</a:t>
            </a:r>
            <a:r>
              <a:rPr lang="en-US" sz="2400" dirty="0">
                <a:solidFill>
                  <a:srgbClr val="444B54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, 2025, 2:00 PM</a:t>
            </a:r>
            <a:endParaRPr sz="2400" dirty="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grpSp>
        <p:nvGrpSpPr>
          <p:cNvPr id="4159" name="Google Shape;4159;p1"/>
          <p:cNvGrpSpPr/>
          <p:nvPr/>
        </p:nvGrpSpPr>
        <p:grpSpPr>
          <a:xfrm>
            <a:off x="7467600" y="1590675"/>
            <a:ext cx="4724400" cy="3362325"/>
            <a:chOff x="7467600" y="1590675"/>
            <a:chExt cx="4724400" cy="3362325"/>
          </a:xfrm>
        </p:grpSpPr>
        <p:pic>
          <p:nvPicPr>
            <p:cNvPr id="4160" name="Google Shape;4160;p1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467600" y="1590675"/>
              <a:ext cx="4724400" cy="336232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161" name="Google Shape;4161;p1"/>
            <p:cNvPicPr preferRelativeResize="0"/>
            <p:nvPr/>
          </p:nvPicPr>
          <p:blipFill rotWithShape="1">
            <a:blip r:embed="rId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20025" y="1952625"/>
              <a:ext cx="4067175" cy="26574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162" name="Google Shape;4162;p1"/>
            <p:cNvSpPr/>
            <p:nvPr/>
          </p:nvSpPr>
          <p:spPr>
            <a:xfrm>
              <a:off x="7775575" y="1905888"/>
              <a:ext cx="4156075" cy="2748915"/>
            </a:xfrm>
            <a:custGeom>
              <a:avLst/>
              <a:gdLst/>
              <a:ahLst/>
              <a:cxnLst/>
              <a:rect l="l" t="t" r="r" b="b"/>
              <a:pathLst>
                <a:path w="4156075" h="2748915" extrusionOk="0">
                  <a:moveTo>
                    <a:pt x="531876" y="0"/>
                  </a:moveTo>
                  <a:lnTo>
                    <a:pt x="531876" y="2286"/>
                  </a:lnTo>
                  <a:lnTo>
                    <a:pt x="4156075" y="2286"/>
                  </a:lnTo>
                  <a:lnTo>
                    <a:pt x="4156075" y="2262378"/>
                  </a:lnTo>
                  <a:lnTo>
                    <a:pt x="4153661" y="2311019"/>
                  </a:lnTo>
                  <a:lnTo>
                    <a:pt x="4146169" y="2359406"/>
                  </a:lnTo>
                  <a:lnTo>
                    <a:pt x="4134230" y="2406269"/>
                  </a:lnTo>
                  <a:lnTo>
                    <a:pt x="4117848" y="2450973"/>
                  </a:lnTo>
                  <a:lnTo>
                    <a:pt x="4097274" y="2493645"/>
                  </a:lnTo>
                  <a:lnTo>
                    <a:pt x="4072890" y="2533777"/>
                  </a:lnTo>
                  <a:lnTo>
                    <a:pt x="4044823" y="2571369"/>
                  </a:lnTo>
                  <a:lnTo>
                    <a:pt x="4013327" y="2605913"/>
                  </a:lnTo>
                  <a:lnTo>
                    <a:pt x="3978782" y="2637409"/>
                  </a:lnTo>
                  <a:lnTo>
                    <a:pt x="3941191" y="2665476"/>
                  </a:lnTo>
                  <a:lnTo>
                    <a:pt x="3901058" y="2689860"/>
                  </a:lnTo>
                  <a:lnTo>
                    <a:pt x="3858386" y="2710434"/>
                  </a:lnTo>
                  <a:lnTo>
                    <a:pt x="3813682" y="2726817"/>
                  </a:lnTo>
                  <a:lnTo>
                    <a:pt x="3766820" y="2738755"/>
                  </a:lnTo>
                  <a:lnTo>
                    <a:pt x="3718432" y="2746248"/>
                  </a:lnTo>
                  <a:lnTo>
                    <a:pt x="3669792" y="2748661"/>
                  </a:lnTo>
                  <a:lnTo>
                    <a:pt x="0" y="2748661"/>
                  </a:lnTo>
                  <a:lnTo>
                    <a:pt x="0" y="488569"/>
                  </a:lnTo>
                  <a:lnTo>
                    <a:pt x="2413" y="439927"/>
                  </a:lnTo>
                  <a:lnTo>
                    <a:pt x="9905" y="391540"/>
                  </a:lnTo>
                  <a:lnTo>
                    <a:pt x="21844" y="344677"/>
                  </a:lnTo>
                  <a:lnTo>
                    <a:pt x="38226" y="299974"/>
                  </a:lnTo>
                  <a:lnTo>
                    <a:pt x="58800" y="257301"/>
                  </a:lnTo>
                  <a:lnTo>
                    <a:pt x="83184" y="217170"/>
                  </a:lnTo>
                  <a:lnTo>
                    <a:pt x="111251" y="179577"/>
                  </a:lnTo>
                  <a:lnTo>
                    <a:pt x="142748" y="145034"/>
                  </a:lnTo>
                  <a:lnTo>
                    <a:pt x="177292" y="113537"/>
                  </a:lnTo>
                  <a:lnTo>
                    <a:pt x="214883" y="85471"/>
                  </a:lnTo>
                  <a:lnTo>
                    <a:pt x="255016" y="61087"/>
                  </a:lnTo>
                  <a:lnTo>
                    <a:pt x="297688" y="40512"/>
                  </a:lnTo>
                  <a:lnTo>
                    <a:pt x="342392" y="24130"/>
                  </a:lnTo>
                  <a:lnTo>
                    <a:pt x="389254" y="12191"/>
                  </a:lnTo>
                  <a:lnTo>
                    <a:pt x="437642" y="4699"/>
                  </a:lnTo>
                  <a:lnTo>
                    <a:pt x="531876" y="0"/>
                  </a:lnTo>
                  <a:close/>
                </a:path>
              </a:pathLst>
            </a:custGeom>
            <a:noFill/>
            <a:ln w="889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77" name="Google Shape;20977;g3681a448973_2_12940"/>
          <p:cNvSpPr txBox="1">
            <a:spLocks noGrp="1"/>
          </p:cNvSpPr>
          <p:nvPr>
            <p:ph type="title"/>
          </p:nvPr>
        </p:nvSpPr>
        <p:spPr>
          <a:xfrm>
            <a:off x="899403" y="1867233"/>
            <a:ext cx="10393200" cy="2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DM Sans"/>
              <a:buNone/>
            </a:pPr>
            <a:r>
              <a:rPr lang="en-US">
                <a:latin typeface="DM Sans" pitchFamily="2" charset="77"/>
                <a:ea typeface="DM Sans"/>
                <a:cs typeface="DM Sans"/>
                <a:sym typeface="DM Sans"/>
              </a:rPr>
              <a:t>Moving from “On the Path” to QI Excellence to ESSI Excellence for Annual Conference</a:t>
            </a:r>
            <a:endParaRPr>
              <a:latin typeface="DM Sans" pitchFamily="2" charset="77"/>
            </a:endParaRPr>
          </a:p>
        </p:txBody>
      </p:sp>
      <p:sp>
        <p:nvSpPr>
          <p:cNvPr id="20978" name="Google Shape;20978;g3681a448973_2_12940"/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919497"/>
                </a:solidFill>
                <a:effectLst/>
                <a:uLnTx/>
                <a:uFillTx/>
                <a:latin typeface="DM Sans" pitchFamily="2" charset="77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19497"/>
                </a:buClr>
                <a:buSzPts val="1200"/>
                <a:buFont typeface="Calibri"/>
                <a:buNone/>
                <a:tabLst/>
                <a:defRPr/>
              </a:pPr>
              <a:t>10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919497"/>
              </a:solidFill>
              <a:effectLst/>
              <a:uLnTx/>
              <a:uFillTx/>
              <a:latin typeface="DM Sans" pitchFamily="2" charset="77"/>
              <a:sym typeface="Calibri"/>
            </a:endParaRPr>
          </a:p>
        </p:txBody>
      </p:sp>
      <p:sp>
        <p:nvSpPr>
          <p:cNvPr id="20979" name="Google Shape;20979;g3681a448973_2_12940"/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919497"/>
                </a:solidFill>
                <a:effectLst/>
                <a:uLnTx/>
                <a:uFillTx/>
                <a:latin typeface="DM Sans" pitchFamily="2" charset="77"/>
                <a:sym typeface="Calibri"/>
              </a:rPr>
              <a:t>Illinois Perinatal Quality Collaborative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919497"/>
              </a:solidFill>
              <a:effectLst/>
              <a:uLnTx/>
              <a:uFillTx/>
              <a:latin typeface="DM Sans" pitchFamily="2" charset="77"/>
              <a:sym typeface="Calibri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85" name="Google Shape;20985;g3681a448973_2_12946"/>
          <p:cNvSpPr txBox="1">
            <a:spLocks noGrp="1"/>
          </p:cNvSpPr>
          <p:nvPr>
            <p:ph type="dt" idx="10"/>
          </p:nvPr>
        </p:nvSpPr>
        <p:spPr>
          <a:xfrm>
            <a:off x="420624" y="6217920"/>
            <a:ext cx="2743200" cy="6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7495C"/>
              </a:buClr>
              <a:buSzPts val="1100"/>
              <a:buFont typeface="Open Sans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57495C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Friday, June 13, 2025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57495C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0987" name="Google Shape;20987;g3681a448973_2_12946"/>
          <p:cNvSpPr txBox="1">
            <a:spLocks noGrp="1"/>
          </p:cNvSpPr>
          <p:nvPr>
            <p:ph type="sldNum" idx="12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7495C"/>
              </a:buClr>
              <a:buSzPts val="1100"/>
              <a:buFont typeface="Open Sans"/>
              <a:buNone/>
              <a:tabLst/>
              <a:defRPr/>
            </a:pPr>
            <a:fld id="{00000000-1234-1234-1234-123412341234}" type="slidenum"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57495C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7495C"/>
                </a:buClr>
                <a:buSzPts val="1100"/>
                <a:buFont typeface="Open Sans"/>
                <a:buNone/>
                <a:tabLst/>
                <a:defRPr/>
              </a:pPr>
              <a:t>11</a:t>
            </a:fld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57495C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663120-5854-9D09-A37F-2195D82B9E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8288"/>
            <a:ext cx="12224512" cy="6876288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ADBA81-40CE-F658-7E32-58511A91BCF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CFE917-F373-C92B-8118-2798C44C606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6D78EC-2EDA-B5A6-5C22-DDFA940838A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2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893FFEA-EDBC-8474-B818-F1F916F9E6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8288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3573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9" name="Google Shape;4199;p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DM Sans" pitchFamily="2" charset="77"/>
            </a:endParaRPr>
          </a:p>
        </p:txBody>
      </p:sp>
      <p:grpSp>
        <p:nvGrpSpPr>
          <p:cNvPr id="4200" name="Google Shape;4200;p4"/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4201" name="Google Shape;4201;p4"/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4202" name="Google Shape;4202;p4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203" name="Google Shape;4203;p4"/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4204" name="Google Shape;4204;p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205" name="Google Shape;4205;p4"/>
          <p:cNvSpPr txBox="1">
            <a:spLocks noGrp="1"/>
          </p:cNvSpPr>
          <p:nvPr>
            <p:ph type="title"/>
          </p:nvPr>
        </p:nvSpPr>
        <p:spPr>
          <a:xfrm>
            <a:off x="980757" y="1942262"/>
            <a:ext cx="3574500" cy="5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latin typeface="DM Sans" pitchFamily="2" charset="77"/>
                <a:ea typeface="DM Sans"/>
                <a:cs typeface="DM Sans"/>
                <a:sym typeface="DM Sans"/>
              </a:rPr>
              <a:t>Attendance Poll</a:t>
            </a:r>
            <a:endParaRPr sz="3600" dirty="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206" name="Google Shape;4206;p4"/>
          <p:cNvSpPr txBox="1"/>
          <p:nvPr/>
        </p:nvSpPr>
        <p:spPr>
          <a:xfrm>
            <a:off x="12003658" y="6434454"/>
            <a:ext cx="118110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sym typeface="Arial"/>
              </a:rPr>
              <a:t>4</a:t>
            </a:r>
            <a:endParaRPr sz="1200">
              <a:latin typeface="DM Sans" pitchFamily="2" charset="77"/>
              <a:sym typeface="Arial"/>
            </a:endParaRPr>
          </a:p>
        </p:txBody>
      </p:sp>
      <p:sp>
        <p:nvSpPr>
          <p:cNvPr id="4207" name="Google Shape;4207;p4"/>
          <p:cNvSpPr txBox="1"/>
          <p:nvPr/>
        </p:nvSpPr>
        <p:spPr>
          <a:xfrm>
            <a:off x="78739" y="6434454"/>
            <a:ext cx="2623820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sym typeface="Arial"/>
              </a:rPr>
              <a:t>Illinois Perinatal Quality Collaborative</a:t>
            </a:r>
            <a:endParaRPr sz="1200">
              <a:latin typeface="DM Sans" pitchFamily="2" charset="77"/>
              <a:sym typeface="Arial"/>
            </a:endParaRPr>
          </a:p>
        </p:txBody>
      </p:sp>
      <p:sp>
        <p:nvSpPr>
          <p:cNvPr id="4208" name="Google Shape;4208;p4"/>
          <p:cNvSpPr txBox="1"/>
          <p:nvPr/>
        </p:nvSpPr>
        <p:spPr>
          <a:xfrm>
            <a:off x="980757" y="3164157"/>
            <a:ext cx="9949200" cy="6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50" i="1" dirty="0">
                <a:solidFill>
                  <a:srgbClr val="444B54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Please fill out the poll so that we can track hospital team attendance for ESSI</a:t>
            </a:r>
            <a:endParaRPr sz="2150" dirty="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12700" lvl="0" indent="0" algn="l" rtl="0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None/>
            </a:pPr>
            <a:r>
              <a:rPr lang="en-US" sz="2150" i="1" dirty="0">
                <a:solidFill>
                  <a:srgbClr val="444B54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Webinars. If unable to complete poll, please email </a:t>
            </a:r>
            <a:r>
              <a:rPr lang="en-US" sz="2150" i="1" u="sng" dirty="0">
                <a:solidFill>
                  <a:srgbClr val="444B54"/>
                </a:solidFill>
                <a:latin typeface="DM Sans" pitchFamily="2" charset="77"/>
                <a:ea typeface="DM Sans"/>
                <a:cs typeface="DM Sans"/>
                <a:sym typeface="DM San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moreno@northshore.org</a:t>
            </a:r>
            <a:endParaRPr sz="2150" dirty="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78" name="Google Shape;4178;p3"/>
          <p:cNvGrpSpPr/>
          <p:nvPr/>
        </p:nvGrpSpPr>
        <p:grpSpPr>
          <a:xfrm>
            <a:off x="7191375" y="0"/>
            <a:ext cx="5000625" cy="1428702"/>
            <a:chOff x="7191375" y="0"/>
            <a:chExt cx="5000625" cy="1428702"/>
          </a:xfrm>
        </p:grpSpPr>
        <p:pic>
          <p:nvPicPr>
            <p:cNvPr id="4179" name="Google Shape;4179;p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9267825" y="228600"/>
              <a:ext cx="20193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180" name="Google Shape;4180;p3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91375" y="0"/>
              <a:ext cx="5000625" cy="142870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181" name="Google Shape;4181;p3"/>
            <p:cNvSpPr/>
            <p:nvPr/>
          </p:nvSpPr>
          <p:spPr>
            <a:xfrm>
              <a:off x="7334250" y="0"/>
              <a:ext cx="4857750" cy="1390650"/>
            </a:xfrm>
            <a:custGeom>
              <a:avLst/>
              <a:gdLst/>
              <a:ahLst/>
              <a:cxnLst/>
              <a:rect l="l" t="t" r="r" b="b"/>
              <a:pathLst>
                <a:path w="4857750" h="1390650" extrusionOk="0">
                  <a:moveTo>
                    <a:pt x="229743" y="0"/>
                  </a:moveTo>
                  <a:lnTo>
                    <a:pt x="0" y="0"/>
                  </a:lnTo>
                  <a:lnTo>
                    <a:pt x="294640" y="211963"/>
                  </a:lnTo>
                  <a:lnTo>
                    <a:pt x="336443" y="241649"/>
                  </a:lnTo>
                  <a:lnTo>
                    <a:pt x="462343" y="330215"/>
                  </a:lnTo>
                  <a:lnTo>
                    <a:pt x="546742" y="388717"/>
                  </a:lnTo>
                  <a:lnTo>
                    <a:pt x="631571" y="446659"/>
                  </a:lnTo>
                  <a:lnTo>
                    <a:pt x="716933" y="503920"/>
                  </a:lnTo>
                  <a:lnTo>
                    <a:pt x="759849" y="532257"/>
                  </a:lnTo>
                  <a:lnTo>
                    <a:pt x="802929" y="560377"/>
                  </a:lnTo>
                  <a:lnTo>
                    <a:pt x="846177" y="588268"/>
                  </a:lnTo>
                  <a:lnTo>
                    <a:pt x="889598" y="615914"/>
                  </a:lnTo>
                  <a:lnTo>
                    <a:pt x="933197" y="643302"/>
                  </a:lnTo>
                  <a:lnTo>
                    <a:pt x="976979" y="670417"/>
                  </a:lnTo>
                  <a:lnTo>
                    <a:pt x="1020948" y="697244"/>
                  </a:lnTo>
                  <a:lnTo>
                    <a:pt x="1065109" y="723770"/>
                  </a:lnTo>
                  <a:lnTo>
                    <a:pt x="1109468" y="749980"/>
                  </a:lnTo>
                  <a:lnTo>
                    <a:pt x="1154029" y="775860"/>
                  </a:lnTo>
                  <a:lnTo>
                    <a:pt x="1198796" y="801396"/>
                  </a:lnTo>
                  <a:lnTo>
                    <a:pt x="1243775" y="826572"/>
                  </a:lnTo>
                  <a:lnTo>
                    <a:pt x="1288971" y="851376"/>
                  </a:lnTo>
                  <a:lnTo>
                    <a:pt x="1334389" y="875791"/>
                  </a:lnTo>
                  <a:lnTo>
                    <a:pt x="1380041" y="899734"/>
                  </a:lnTo>
                  <a:lnTo>
                    <a:pt x="1425938" y="923260"/>
                  </a:lnTo>
                  <a:lnTo>
                    <a:pt x="1472075" y="946356"/>
                  </a:lnTo>
                  <a:lnTo>
                    <a:pt x="1518451" y="969006"/>
                  </a:lnTo>
                  <a:lnTo>
                    <a:pt x="1565062" y="991196"/>
                  </a:lnTo>
                  <a:lnTo>
                    <a:pt x="1611905" y="1012911"/>
                  </a:lnTo>
                  <a:lnTo>
                    <a:pt x="1658978" y="1034138"/>
                  </a:lnTo>
                  <a:lnTo>
                    <a:pt x="1706276" y="1054862"/>
                  </a:lnTo>
                  <a:lnTo>
                    <a:pt x="1753798" y="1075067"/>
                  </a:lnTo>
                  <a:lnTo>
                    <a:pt x="1801540" y="1094740"/>
                  </a:lnTo>
                  <a:lnTo>
                    <a:pt x="1849500" y="1113866"/>
                  </a:lnTo>
                  <a:lnTo>
                    <a:pt x="1897673" y="1132431"/>
                  </a:lnTo>
                  <a:lnTo>
                    <a:pt x="1946058" y="1150419"/>
                  </a:lnTo>
                  <a:lnTo>
                    <a:pt x="1994652" y="1167818"/>
                  </a:lnTo>
                  <a:lnTo>
                    <a:pt x="2043450" y="1184611"/>
                  </a:lnTo>
                  <a:lnTo>
                    <a:pt x="2092452" y="1200785"/>
                  </a:lnTo>
                  <a:lnTo>
                    <a:pt x="2141679" y="1216319"/>
                  </a:lnTo>
                  <a:lnTo>
                    <a:pt x="2191105" y="1231202"/>
                  </a:lnTo>
                  <a:lnTo>
                    <a:pt x="2240720" y="1245432"/>
                  </a:lnTo>
                  <a:lnTo>
                    <a:pt x="2290514" y="1259006"/>
                  </a:lnTo>
                  <a:lnTo>
                    <a:pt x="2340477" y="1271922"/>
                  </a:lnTo>
                  <a:lnTo>
                    <a:pt x="2390598" y="1284179"/>
                  </a:lnTo>
                  <a:lnTo>
                    <a:pt x="2440869" y="1295773"/>
                  </a:lnTo>
                  <a:lnTo>
                    <a:pt x="2491279" y="1306702"/>
                  </a:lnTo>
                  <a:lnTo>
                    <a:pt x="2541819" y="1316965"/>
                  </a:lnTo>
                  <a:lnTo>
                    <a:pt x="2592478" y="1326559"/>
                  </a:lnTo>
                  <a:lnTo>
                    <a:pt x="2643247" y="1335482"/>
                  </a:lnTo>
                  <a:lnTo>
                    <a:pt x="2694116" y="1343731"/>
                  </a:lnTo>
                  <a:lnTo>
                    <a:pt x="2745075" y="1351304"/>
                  </a:lnTo>
                  <a:lnTo>
                    <a:pt x="2796114" y="1358200"/>
                  </a:lnTo>
                  <a:lnTo>
                    <a:pt x="2847224" y="1364415"/>
                  </a:lnTo>
                  <a:lnTo>
                    <a:pt x="2898394" y="1369949"/>
                  </a:lnTo>
                  <a:lnTo>
                    <a:pt x="2949823" y="1374812"/>
                  </a:lnTo>
                  <a:lnTo>
                    <a:pt x="3001242" y="1379023"/>
                  </a:lnTo>
                  <a:lnTo>
                    <a:pt x="3052652" y="1382582"/>
                  </a:lnTo>
                  <a:lnTo>
                    <a:pt x="3104054" y="1385490"/>
                  </a:lnTo>
                  <a:lnTo>
                    <a:pt x="3155451" y="1387750"/>
                  </a:lnTo>
                  <a:lnTo>
                    <a:pt x="3206843" y="1389362"/>
                  </a:lnTo>
                  <a:lnTo>
                    <a:pt x="3258232" y="1390328"/>
                  </a:lnTo>
                  <a:lnTo>
                    <a:pt x="3309620" y="1390650"/>
                  </a:lnTo>
                  <a:lnTo>
                    <a:pt x="3464179" y="1387475"/>
                  </a:lnTo>
                  <a:lnTo>
                    <a:pt x="3515741" y="1384808"/>
                  </a:lnTo>
                  <a:lnTo>
                    <a:pt x="3618229" y="1378965"/>
                  </a:lnTo>
                  <a:lnTo>
                    <a:pt x="3771773" y="1364614"/>
                  </a:lnTo>
                  <a:lnTo>
                    <a:pt x="3912044" y="1346962"/>
                  </a:lnTo>
                  <a:lnTo>
                    <a:pt x="4051807" y="1324228"/>
                  </a:lnTo>
                  <a:lnTo>
                    <a:pt x="4127246" y="1309751"/>
                  </a:lnTo>
                  <a:lnTo>
                    <a:pt x="4202558" y="1294695"/>
                  </a:lnTo>
                  <a:lnTo>
                    <a:pt x="4327525" y="1266189"/>
                  </a:lnTo>
                  <a:lnTo>
                    <a:pt x="4451858" y="1234313"/>
                  </a:lnTo>
                  <a:lnTo>
                    <a:pt x="4476242" y="1227327"/>
                  </a:lnTo>
                  <a:lnTo>
                    <a:pt x="4525645" y="1213612"/>
                  </a:lnTo>
                  <a:lnTo>
                    <a:pt x="4574795" y="1199179"/>
                  </a:lnTo>
                  <a:lnTo>
                    <a:pt x="4623768" y="1184259"/>
                  </a:lnTo>
                  <a:lnTo>
                    <a:pt x="4672574" y="1168838"/>
                  </a:lnTo>
                  <a:lnTo>
                    <a:pt x="4721225" y="1152905"/>
                  </a:lnTo>
                  <a:lnTo>
                    <a:pt x="4857750" y="1104011"/>
                  </a:lnTo>
                  <a:lnTo>
                    <a:pt x="4857750" y="1092327"/>
                  </a:lnTo>
                  <a:lnTo>
                    <a:pt x="4717288" y="1139063"/>
                  </a:lnTo>
                  <a:lnTo>
                    <a:pt x="4668428" y="1153777"/>
                  </a:lnTo>
                  <a:lnTo>
                    <a:pt x="4619402" y="1168003"/>
                  </a:lnTo>
                  <a:lnTo>
                    <a:pt x="4570233" y="1181729"/>
                  </a:lnTo>
                  <a:lnTo>
                    <a:pt x="4520946" y="1194942"/>
                  </a:lnTo>
                  <a:lnTo>
                    <a:pt x="4447032" y="1214120"/>
                  </a:lnTo>
                  <a:lnTo>
                    <a:pt x="4322699" y="1242822"/>
                  </a:lnTo>
                  <a:lnTo>
                    <a:pt x="4197750" y="1268172"/>
                  </a:lnTo>
                  <a:lnTo>
                    <a:pt x="4072001" y="1289558"/>
                  </a:lnTo>
                  <a:lnTo>
                    <a:pt x="4055491" y="1292733"/>
                  </a:lnTo>
                  <a:lnTo>
                    <a:pt x="4021454" y="1297051"/>
                  </a:lnTo>
                  <a:lnTo>
                    <a:pt x="3914235" y="1311890"/>
                  </a:lnTo>
                  <a:lnTo>
                    <a:pt x="3768598" y="1327403"/>
                  </a:lnTo>
                  <a:lnTo>
                    <a:pt x="3666942" y="1334708"/>
                  </a:lnTo>
                  <a:lnTo>
                    <a:pt x="3616178" y="1337689"/>
                  </a:lnTo>
                  <a:lnTo>
                    <a:pt x="3565388" y="1340030"/>
                  </a:lnTo>
                  <a:lnTo>
                    <a:pt x="3514581" y="1341730"/>
                  </a:lnTo>
                  <a:lnTo>
                    <a:pt x="3463764" y="1342788"/>
                  </a:lnTo>
                  <a:lnTo>
                    <a:pt x="3412946" y="1343203"/>
                  </a:lnTo>
                  <a:lnTo>
                    <a:pt x="3362136" y="1342975"/>
                  </a:lnTo>
                  <a:lnTo>
                    <a:pt x="3311342" y="1342104"/>
                  </a:lnTo>
                  <a:lnTo>
                    <a:pt x="3260572" y="1340588"/>
                  </a:lnTo>
                  <a:lnTo>
                    <a:pt x="3209836" y="1338427"/>
                  </a:lnTo>
                  <a:lnTo>
                    <a:pt x="3159141" y="1335620"/>
                  </a:lnTo>
                  <a:lnTo>
                    <a:pt x="3108496" y="1332167"/>
                  </a:lnTo>
                  <a:lnTo>
                    <a:pt x="3057910" y="1328067"/>
                  </a:lnTo>
                  <a:lnTo>
                    <a:pt x="3007390" y="1323319"/>
                  </a:lnTo>
                  <a:lnTo>
                    <a:pt x="2956946" y="1317923"/>
                  </a:lnTo>
                  <a:lnTo>
                    <a:pt x="2906585" y="1311878"/>
                  </a:lnTo>
                  <a:lnTo>
                    <a:pt x="2856317" y="1305183"/>
                  </a:lnTo>
                  <a:lnTo>
                    <a:pt x="2806149" y="1297838"/>
                  </a:lnTo>
                  <a:lnTo>
                    <a:pt x="2756091" y="1289842"/>
                  </a:lnTo>
                  <a:lnTo>
                    <a:pt x="2706150" y="1281194"/>
                  </a:lnTo>
                  <a:lnTo>
                    <a:pt x="2656336" y="1271895"/>
                  </a:lnTo>
                  <a:lnTo>
                    <a:pt x="2606656" y="1261942"/>
                  </a:lnTo>
                  <a:lnTo>
                    <a:pt x="2557119" y="1251336"/>
                  </a:lnTo>
                  <a:lnTo>
                    <a:pt x="2507734" y="1240075"/>
                  </a:lnTo>
                  <a:lnTo>
                    <a:pt x="2458508" y="1228160"/>
                  </a:lnTo>
                  <a:lnTo>
                    <a:pt x="2409451" y="1215589"/>
                  </a:lnTo>
                  <a:lnTo>
                    <a:pt x="2360571" y="1202362"/>
                  </a:lnTo>
                  <a:lnTo>
                    <a:pt x="2311877" y="1188478"/>
                  </a:lnTo>
                  <a:lnTo>
                    <a:pt x="2263376" y="1173937"/>
                  </a:lnTo>
                  <a:lnTo>
                    <a:pt x="2215078" y="1158738"/>
                  </a:lnTo>
                  <a:lnTo>
                    <a:pt x="2166990" y="1142880"/>
                  </a:lnTo>
                  <a:lnTo>
                    <a:pt x="2119122" y="1126363"/>
                  </a:lnTo>
                  <a:lnTo>
                    <a:pt x="2071507" y="1109303"/>
                  </a:lnTo>
                  <a:lnTo>
                    <a:pt x="2024106" y="1091658"/>
                  </a:lnTo>
                  <a:lnTo>
                    <a:pt x="1976919" y="1073439"/>
                  </a:lnTo>
                  <a:lnTo>
                    <a:pt x="1929949" y="1054657"/>
                  </a:lnTo>
                  <a:lnTo>
                    <a:pt x="1883197" y="1035322"/>
                  </a:lnTo>
                  <a:lnTo>
                    <a:pt x="1836664" y="1015445"/>
                  </a:lnTo>
                  <a:lnTo>
                    <a:pt x="1790353" y="995036"/>
                  </a:lnTo>
                  <a:lnTo>
                    <a:pt x="1744265" y="974105"/>
                  </a:lnTo>
                  <a:lnTo>
                    <a:pt x="1698402" y="952665"/>
                  </a:lnTo>
                  <a:lnTo>
                    <a:pt x="1652765" y="930724"/>
                  </a:lnTo>
                  <a:lnTo>
                    <a:pt x="1607356" y="908294"/>
                  </a:lnTo>
                  <a:lnTo>
                    <a:pt x="1562177" y="885386"/>
                  </a:lnTo>
                  <a:lnTo>
                    <a:pt x="1517229" y="862009"/>
                  </a:lnTo>
                  <a:lnTo>
                    <a:pt x="1472515" y="838175"/>
                  </a:lnTo>
                  <a:lnTo>
                    <a:pt x="1428035" y="813895"/>
                  </a:lnTo>
                  <a:lnTo>
                    <a:pt x="1383792" y="789177"/>
                  </a:lnTo>
                  <a:lnTo>
                    <a:pt x="1339777" y="764138"/>
                  </a:lnTo>
                  <a:lnTo>
                    <a:pt x="1295980" y="738703"/>
                  </a:lnTo>
                  <a:lnTo>
                    <a:pt x="1252391" y="712887"/>
                  </a:lnTo>
                  <a:lnTo>
                    <a:pt x="1209006" y="686704"/>
                  </a:lnTo>
                  <a:lnTo>
                    <a:pt x="1165816" y="660171"/>
                  </a:lnTo>
                  <a:lnTo>
                    <a:pt x="1122815" y="633301"/>
                  </a:lnTo>
                  <a:lnTo>
                    <a:pt x="1079996" y="606109"/>
                  </a:lnTo>
                  <a:lnTo>
                    <a:pt x="1037351" y="578611"/>
                  </a:lnTo>
                  <a:lnTo>
                    <a:pt x="994875" y="550822"/>
                  </a:lnTo>
                  <a:lnTo>
                    <a:pt x="952561" y="522755"/>
                  </a:lnTo>
                  <a:lnTo>
                    <a:pt x="910401" y="494427"/>
                  </a:lnTo>
                  <a:lnTo>
                    <a:pt x="868388" y="465851"/>
                  </a:lnTo>
                  <a:lnTo>
                    <a:pt x="826516" y="437044"/>
                  </a:lnTo>
                  <a:lnTo>
                    <a:pt x="743166" y="378791"/>
                  </a:lnTo>
                  <a:lnTo>
                    <a:pt x="660293" y="319762"/>
                  </a:lnTo>
                  <a:lnTo>
                    <a:pt x="577822" y="260044"/>
                  </a:lnTo>
                  <a:lnTo>
                    <a:pt x="495690" y="199755"/>
                  </a:lnTo>
                  <a:lnTo>
                    <a:pt x="372999" y="108457"/>
                  </a:lnTo>
                  <a:lnTo>
                    <a:pt x="22974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</p:grpSp>
      <p:sp>
        <p:nvSpPr>
          <p:cNvPr id="4182" name="Google Shape;4182;p3"/>
          <p:cNvSpPr/>
          <p:nvPr/>
        </p:nvSpPr>
        <p:spPr>
          <a:xfrm>
            <a:off x="614362" y="6338887"/>
            <a:ext cx="10973435" cy="0"/>
          </a:xfrm>
          <a:custGeom>
            <a:avLst/>
            <a:gdLst/>
            <a:ahLst/>
            <a:cxnLst/>
            <a:rect l="l" t="t" r="r" b="b"/>
            <a:pathLst>
              <a:path w="10973435" h="120000" extrusionOk="0">
                <a:moveTo>
                  <a:pt x="0" y="0"/>
                </a:moveTo>
                <a:lnTo>
                  <a:pt x="10972863" y="0"/>
                </a:lnTo>
              </a:path>
            </a:pathLst>
          </a:custGeom>
          <a:noFill/>
          <a:ln w="9525" cap="flat" cmpd="sng">
            <a:solidFill>
              <a:srgbClr val="ADB3B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DM Sans" pitchFamily="2" charset="77"/>
            </a:endParaRPr>
          </a:p>
        </p:txBody>
      </p:sp>
      <p:sp>
        <p:nvSpPr>
          <p:cNvPr id="4183" name="Google Shape;4183;p3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700" cy="9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242800" rIns="0" bIns="0" anchor="t" anchorCtr="0">
            <a:spAutoFit/>
          </a:bodyPr>
          <a:lstStyle/>
          <a:p>
            <a:pPr marL="266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800">
                <a:latin typeface="DM Sans" pitchFamily="2" charset="77"/>
                <a:ea typeface="DM Sans"/>
                <a:cs typeface="DM Sans"/>
                <a:sym typeface="DM Sans"/>
              </a:rPr>
              <a:t>Objectives</a:t>
            </a:r>
            <a:endParaRPr sz="480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184" name="Google Shape;4184;p3"/>
          <p:cNvSpPr txBox="1"/>
          <p:nvPr/>
        </p:nvSpPr>
        <p:spPr>
          <a:xfrm>
            <a:off x="685165" y="2368486"/>
            <a:ext cx="10239300" cy="3936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1425" rIns="0" bIns="0" anchor="t" anchorCtr="0">
            <a:spAutoFit/>
          </a:bodyPr>
          <a:lstStyle/>
          <a:p>
            <a:pPr marL="298450" lvl="0" indent="0" algn="l" rtl="0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None/>
            </a:pPr>
            <a:endParaRPr sz="2400">
              <a:latin typeface="DM Sans" pitchFamily="2" charset="77"/>
              <a:sym typeface="Arial"/>
            </a:endParaRPr>
          </a:p>
        </p:txBody>
      </p:sp>
      <p:sp>
        <p:nvSpPr>
          <p:cNvPr id="4185" name="Google Shape;4185;p3"/>
          <p:cNvSpPr txBox="1"/>
          <p:nvPr/>
        </p:nvSpPr>
        <p:spPr>
          <a:xfrm>
            <a:off x="431165" y="1525439"/>
            <a:ext cx="10310103" cy="4959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457200" lvl="0" indent="-3810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C488A"/>
              </a:buClr>
              <a:buSzPts val="2400"/>
              <a:buFont typeface="DM Sans"/>
              <a:buChar char="•"/>
            </a:pPr>
            <a:r>
              <a:rPr lang="en-US" sz="24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Establish sustainable data collection and utilization processes for race, ethnicity, and insurance status that can be applied across current and future QI initiatives (both within and beyond ILPQC).</a:t>
            </a:r>
          </a:p>
          <a:p>
            <a:pPr marL="742950" marR="0" lvl="1" indent="-285750">
              <a:lnSpc>
                <a:spcPct val="116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lphaLcPeriod"/>
            </a:pPr>
            <a:r>
              <a:rPr lang="en-US" sz="2200" dirty="0">
                <a:solidFill>
                  <a:schemeClr val="dk1"/>
                </a:solidFill>
                <a:latin typeface="DM Sans" pitchFamily="2" charset="77"/>
              </a:rPr>
              <a:t>Learn how to turn your data into a compelling story that drives change using data visualization to make your point clear and notable.</a:t>
            </a:r>
          </a:p>
          <a:p>
            <a:pPr marL="742950" marR="0" lvl="1" indent="-285750">
              <a:lnSpc>
                <a:spcPct val="116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lphaLcPeriod"/>
            </a:pPr>
            <a:r>
              <a:rPr lang="en-US" sz="2200" dirty="0">
                <a:solidFill>
                  <a:schemeClr val="dk1"/>
                </a:solidFill>
                <a:latin typeface="DM Sans" pitchFamily="2" charset="77"/>
              </a:rPr>
              <a:t>Gain hands-on experience retrieving and reviewing your data in REDCap, including a live demo of how to view ESSI data by race, ethnicity, and insurance status.</a:t>
            </a:r>
          </a:p>
          <a:p>
            <a:pPr marL="742950" marR="0" lvl="1" indent="-285750">
              <a:lnSpc>
                <a:spcPct val="116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lphaLcPeriod"/>
            </a:pPr>
            <a:r>
              <a:rPr lang="en-US" sz="2200" dirty="0">
                <a:solidFill>
                  <a:schemeClr val="dk1"/>
                </a:solidFill>
                <a:latin typeface="DM Sans" pitchFamily="2" charset="77"/>
              </a:rPr>
              <a:t>Reflect on progress by reviewing last month’s homework and sharing insights.</a:t>
            </a:r>
            <a:endParaRPr lang="en-US" sz="2200" dirty="0">
              <a:solidFill>
                <a:srgbClr val="1C488A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pic>
        <p:nvPicPr>
          <p:cNvPr id="4186" name="Google Shape;4186;p3" title="Data clipboard color.png"/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21565">
            <a:off x="10056190" y="4212624"/>
            <a:ext cx="2053487" cy="262257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2" name="Google Shape;4192;g374da0147aa_0_4132"/>
          <p:cNvSpPr txBox="1"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800"/>
              <a:buFont typeface="DM Sans"/>
              <a:buNone/>
            </a:pPr>
            <a:r>
              <a:rPr lang="en-US" sz="4800" dirty="0">
                <a:latin typeface="DM Sans" pitchFamily="2" charset="77"/>
                <a:ea typeface="DM Sans"/>
                <a:cs typeface="DM Sans"/>
                <a:sym typeface="DM Sans"/>
              </a:rPr>
              <a:t>Last month:</a:t>
            </a:r>
            <a:endParaRPr dirty="0">
              <a:latin typeface="DM Sans" pitchFamily="2" charset="77"/>
            </a:endParaRPr>
          </a:p>
        </p:txBody>
      </p:sp>
      <p:sp>
        <p:nvSpPr>
          <p:cNvPr id="4193" name="Google Shape;4193;g374da0147aa_0_4132"/>
          <p:cNvSpPr txBox="1">
            <a:spLocks noGrp="1"/>
          </p:cNvSpPr>
          <p:nvPr>
            <p:ph type="body" idx="1"/>
          </p:nvPr>
        </p:nvSpPr>
        <p:spPr>
          <a:xfrm>
            <a:off x="504159" y="1720370"/>
            <a:ext cx="10371600" cy="31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50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80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228600" lvl="0" indent="-508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800"/>
              <a:buNone/>
            </a:pPr>
            <a:endParaRPr sz="280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194" name="Google Shape;4194;g374da0147aa_0_4132"/>
          <p:cNvSpPr txBox="1"/>
          <p:nvPr/>
        </p:nvSpPr>
        <p:spPr>
          <a:xfrm>
            <a:off x="397654" y="1686299"/>
            <a:ext cx="7410706" cy="48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Pts val="2800"/>
              <a:buFont typeface="Arial"/>
              <a:buNone/>
            </a:pPr>
            <a:r>
              <a:rPr lang="en-US" sz="2800" i="1" dirty="0">
                <a:latin typeface="DM Sans" pitchFamily="2" charset="77"/>
                <a:ea typeface="DM Sans"/>
                <a:cs typeface="DM Sans"/>
                <a:sym typeface="DM Sans"/>
              </a:rPr>
              <a:t>Delving into Data Collection: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Pts val="2800"/>
              <a:buFont typeface="Arial"/>
              <a:buNone/>
            </a:pPr>
            <a:r>
              <a:rPr lang="en-US" sz="2800" i="1" dirty="0">
                <a:latin typeface="DM Sans" pitchFamily="2" charset="77"/>
                <a:ea typeface="DM Sans"/>
                <a:cs typeface="DM Sans"/>
                <a:sym typeface="DM Sans"/>
              </a:rPr>
              <a:t>Accurate Collection of Race and Ethnicity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Pts val="2800"/>
              <a:buFont typeface="Arial"/>
              <a:buNone/>
            </a:pPr>
            <a:endParaRPr lang="en-US" sz="2800" i="1" dirty="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457200" lvl="0" indent="-38735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500"/>
              <a:buFont typeface="DM Sans"/>
              <a:buChar char="•"/>
            </a:pPr>
            <a:r>
              <a:rPr lang="en-US" sz="2500" dirty="0">
                <a:solidFill>
                  <a:schemeClr val="accent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Locate the new tool on our website under “Driver 5: Healthcare Data Utilization”</a:t>
            </a:r>
          </a:p>
          <a:p>
            <a:pPr marL="457200" lvl="1" indent="-387350">
              <a:buClr>
                <a:schemeClr val="accent1"/>
              </a:buClr>
              <a:buSzPts val="2500"/>
              <a:buFont typeface="DM Sans"/>
              <a:buChar char="•"/>
            </a:pPr>
            <a:endParaRPr lang="en-US" sz="2500" b="1" i="0" u="none" strike="noStrike" cap="none" dirty="0">
              <a:solidFill>
                <a:srgbClr val="463A35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457200" indent="-387350">
              <a:buClr>
                <a:schemeClr val="accent1"/>
              </a:buClr>
              <a:buSzPts val="2500"/>
              <a:buFont typeface="Wingdings" panose="05000000000000000000" pitchFamily="2" charset="2"/>
              <a:buChar char="Ø"/>
            </a:pPr>
            <a:r>
              <a:rPr lang="en-US" sz="2500" dirty="0">
                <a:solidFill>
                  <a:schemeClr val="accent1"/>
                </a:solidFill>
                <a:latin typeface="DM Sans" pitchFamily="2" charset="77"/>
                <a:sym typeface="DM Sans"/>
              </a:rPr>
              <a:t>Collection of Race and Ethnicity Workflow Questionnaire</a:t>
            </a:r>
          </a:p>
          <a:p>
            <a:pPr marL="457200" lvl="1" indent="-387350">
              <a:buClr>
                <a:schemeClr val="accent1"/>
              </a:buClr>
              <a:buSzPts val="2500"/>
              <a:buFont typeface="DM Sans"/>
              <a:buChar char="•"/>
            </a:pPr>
            <a:endParaRPr lang="en-US" sz="2500" dirty="0">
              <a:solidFill>
                <a:schemeClr val="accent1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457200" lvl="0" indent="-38735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500"/>
              <a:buFont typeface="DM Sans"/>
              <a:buChar char="•"/>
            </a:pPr>
            <a:r>
              <a:rPr lang="en-US" sz="2500" dirty="0">
                <a:solidFill>
                  <a:schemeClr val="accent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Use this tool to understand how your team is currently collecting and using this data.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Pts val="2800"/>
              <a:buFont typeface="Arial"/>
              <a:buNone/>
            </a:pPr>
            <a:endParaRPr lang="en-US" sz="2800" b="0" i="1" u="none" strike="noStrike" cap="none" dirty="0">
              <a:solidFill>
                <a:srgbClr val="444C55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Pts val="2800"/>
              <a:buFont typeface="Arial"/>
              <a:buNone/>
            </a:pPr>
            <a:endParaRPr sz="2800" b="0" i="0" u="none" strike="noStrike" cap="none" dirty="0">
              <a:solidFill>
                <a:srgbClr val="444C55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pic>
        <p:nvPicPr>
          <p:cNvPr id="7" name="Graphic 6" descr="Checklist with solid fill">
            <a:extLst>
              <a:ext uri="{FF2B5EF4-FFF2-40B4-BE49-F238E27FC236}">
                <a16:creationId xmlns:a16="http://schemas.microsoft.com/office/drawing/2014/main" id="{4E6854FE-DB9F-4C00-95AB-379C8ABD7B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693546">
            <a:off x="4844446" y="221063"/>
            <a:ext cx="1375449" cy="1375449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3FE0DB1-0078-4440-A6A9-C51409F05831}"/>
              </a:ext>
            </a:extLst>
          </p:cNvPr>
          <p:cNvSpPr/>
          <p:nvPr/>
        </p:nvSpPr>
        <p:spPr>
          <a:xfrm>
            <a:off x="6657654" y="0"/>
            <a:ext cx="5534346" cy="770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 pitchFamily="2" charset="77"/>
            </a:endParaRPr>
          </a:p>
        </p:txBody>
      </p:sp>
      <p:pic>
        <p:nvPicPr>
          <p:cNvPr id="11" name="Google Shape;21285;p8" title="Screenshot 2025-07-18 at 4.03.57 PM.png">
            <a:extLst>
              <a:ext uri="{FF2B5EF4-FFF2-40B4-BE49-F238E27FC236}">
                <a16:creationId xmlns:a16="http://schemas.microsoft.com/office/drawing/2014/main" id="{6EB55989-AF9B-4C15-99E8-5B0E2E1B4036}"/>
              </a:ext>
            </a:extLst>
          </p:cNvPr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5344" y="413535"/>
            <a:ext cx="4496656" cy="603093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8" name="Google Shape;4228;p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DM Sans" pitchFamily="2" charset="77"/>
            </a:endParaRPr>
          </a:p>
        </p:txBody>
      </p:sp>
      <p:grpSp>
        <p:nvGrpSpPr>
          <p:cNvPr id="4229" name="Google Shape;4229;p9"/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4230" name="Google Shape;4230;p9"/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4231" name="Google Shape;4231;p9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232" name="Google Shape;4232;p9"/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4233" name="Google Shape;4233;p9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234" name="Google Shape;4234;p9"/>
          <p:cNvSpPr txBox="1"/>
          <p:nvPr/>
        </p:nvSpPr>
        <p:spPr>
          <a:xfrm>
            <a:off x="12018009" y="6434454"/>
            <a:ext cx="102870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ea typeface="Calibri"/>
                <a:cs typeface="Calibri"/>
                <a:sym typeface="Calibri"/>
              </a:rPr>
              <a:t>9</a:t>
            </a:r>
            <a:endParaRPr sz="1200"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4235" name="Google Shape;4235;p9"/>
          <p:cNvSpPr txBox="1"/>
          <p:nvPr/>
        </p:nvSpPr>
        <p:spPr>
          <a:xfrm>
            <a:off x="78739" y="6434454"/>
            <a:ext cx="2345690" cy="382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ea typeface="Calibri"/>
                <a:cs typeface="Calibri"/>
                <a:sym typeface="Calibri"/>
              </a:rPr>
              <a:t>Illinois Perinatal Quality Collaborative</a:t>
            </a:r>
            <a:endParaRPr sz="1200"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4236" name="Google Shape;4236;p9"/>
          <p:cNvSpPr txBox="1"/>
          <p:nvPr/>
        </p:nvSpPr>
        <p:spPr>
          <a:xfrm>
            <a:off x="1049815" y="3267000"/>
            <a:ext cx="9285300" cy="3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i="1" dirty="0">
                <a:solidFill>
                  <a:srgbClr val="1B498A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Building on our successes to power the path ahead.</a:t>
            </a:r>
            <a:endParaRPr lang="en-US" sz="2000" dirty="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237" name="Google Shape;4237;p9"/>
          <p:cNvSpPr txBox="1">
            <a:spLocks noGrp="1"/>
          </p:cNvSpPr>
          <p:nvPr>
            <p:ph type="title" idx="4294967295"/>
          </p:nvPr>
        </p:nvSpPr>
        <p:spPr>
          <a:xfrm>
            <a:off x="954402" y="2502495"/>
            <a:ext cx="10183500" cy="5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</a:pPr>
            <a:r>
              <a:rPr lang="en-US" sz="3600">
                <a:latin typeface="DM Sans" pitchFamily="2" charset="77"/>
                <a:ea typeface="DM Sans"/>
                <a:cs typeface="DM Sans"/>
                <a:sym typeface="DM Sans"/>
              </a:rPr>
              <a:t>Data Overview and Initiative Progress</a:t>
            </a:r>
            <a:endParaRPr sz="360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2" name="Google Shape;4242;p10"/>
          <p:cNvSpPr/>
          <p:nvPr/>
        </p:nvSpPr>
        <p:spPr>
          <a:xfrm>
            <a:off x="614362" y="6338887"/>
            <a:ext cx="10973435" cy="0"/>
          </a:xfrm>
          <a:custGeom>
            <a:avLst/>
            <a:gdLst/>
            <a:ahLst/>
            <a:cxnLst/>
            <a:rect l="l" t="t" r="r" b="b"/>
            <a:pathLst>
              <a:path w="10973435" h="120000" extrusionOk="0">
                <a:moveTo>
                  <a:pt x="0" y="0"/>
                </a:moveTo>
                <a:lnTo>
                  <a:pt x="10972863" y="0"/>
                </a:lnTo>
              </a:path>
            </a:pathLst>
          </a:custGeom>
          <a:noFill/>
          <a:ln w="9525" cap="flat" cmpd="sng">
            <a:solidFill>
              <a:srgbClr val="ADB3B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243" name="Google Shape;4243;p10"/>
          <p:cNvGrpSpPr/>
          <p:nvPr/>
        </p:nvGrpSpPr>
        <p:grpSpPr>
          <a:xfrm>
            <a:off x="95250" y="0"/>
            <a:ext cx="12096750" cy="2133600"/>
            <a:chOff x="95250" y="0"/>
            <a:chExt cx="12096750" cy="2133600"/>
          </a:xfrm>
        </p:grpSpPr>
        <p:pic>
          <p:nvPicPr>
            <p:cNvPr id="4244" name="Google Shape;4244;p1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9267825" y="228600"/>
              <a:ext cx="2019300" cy="9144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245" name="Google Shape;4245;p10"/>
            <p:cNvSpPr/>
            <p:nvPr/>
          </p:nvSpPr>
          <p:spPr>
            <a:xfrm>
              <a:off x="7048500" y="0"/>
              <a:ext cx="5143500" cy="1838325"/>
            </a:xfrm>
            <a:custGeom>
              <a:avLst/>
              <a:gdLst/>
              <a:ahLst/>
              <a:cxnLst/>
              <a:rect l="l" t="t" r="r" b="b"/>
              <a:pathLst>
                <a:path w="5143500" h="1838325" extrusionOk="0">
                  <a:moveTo>
                    <a:pt x="5143500" y="0"/>
                  </a:moveTo>
                  <a:lnTo>
                    <a:pt x="0" y="0"/>
                  </a:lnTo>
                  <a:lnTo>
                    <a:pt x="0" y="1838325"/>
                  </a:lnTo>
                  <a:lnTo>
                    <a:pt x="5143500" y="1838325"/>
                  </a:lnTo>
                  <a:lnTo>
                    <a:pt x="514350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246" name="Google Shape;4246;p10"/>
            <p:cNvSpPr/>
            <p:nvPr/>
          </p:nvSpPr>
          <p:spPr>
            <a:xfrm>
              <a:off x="609600" y="895350"/>
              <a:ext cx="11249025" cy="1238250"/>
            </a:xfrm>
            <a:custGeom>
              <a:avLst/>
              <a:gdLst/>
              <a:ahLst/>
              <a:cxnLst/>
              <a:rect l="l" t="t" r="r" b="b"/>
              <a:pathLst>
                <a:path w="11249025" h="1238250" extrusionOk="0">
                  <a:moveTo>
                    <a:pt x="11107928" y="0"/>
                  </a:moveTo>
                  <a:lnTo>
                    <a:pt x="141122" y="0"/>
                  </a:lnTo>
                  <a:lnTo>
                    <a:pt x="113463" y="1355"/>
                  </a:lnTo>
                  <a:lnTo>
                    <a:pt x="62832" y="11733"/>
                  </a:lnTo>
                  <a:lnTo>
                    <a:pt x="23713" y="31077"/>
                  </a:lnTo>
                  <a:lnTo>
                    <a:pt x="0" y="69850"/>
                  </a:lnTo>
                  <a:lnTo>
                    <a:pt x="0" y="1168400"/>
                  </a:lnTo>
                  <a:lnTo>
                    <a:pt x="23713" y="1207172"/>
                  </a:lnTo>
                  <a:lnTo>
                    <a:pt x="62832" y="1226516"/>
                  </a:lnTo>
                  <a:lnTo>
                    <a:pt x="113463" y="1236894"/>
                  </a:lnTo>
                  <a:lnTo>
                    <a:pt x="141122" y="1238250"/>
                  </a:lnTo>
                  <a:lnTo>
                    <a:pt x="11107928" y="1238250"/>
                  </a:lnTo>
                  <a:lnTo>
                    <a:pt x="11161934" y="1232931"/>
                  </a:lnTo>
                  <a:lnTo>
                    <a:pt x="11207750" y="1217802"/>
                  </a:lnTo>
                  <a:lnTo>
                    <a:pt x="11246290" y="1182102"/>
                  </a:lnTo>
                  <a:lnTo>
                    <a:pt x="11249025" y="1168400"/>
                  </a:lnTo>
                  <a:lnTo>
                    <a:pt x="11249025" y="69850"/>
                  </a:lnTo>
                  <a:lnTo>
                    <a:pt x="11225343" y="31077"/>
                  </a:lnTo>
                  <a:lnTo>
                    <a:pt x="11186223" y="11733"/>
                  </a:lnTo>
                  <a:lnTo>
                    <a:pt x="11135598" y="1355"/>
                  </a:lnTo>
                  <a:lnTo>
                    <a:pt x="11107928" y="0"/>
                  </a:lnTo>
                  <a:close/>
                </a:path>
              </a:pathLst>
            </a:custGeom>
            <a:solidFill>
              <a:srgbClr val="6B94F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247" name="Google Shape;4247;p10"/>
            <p:cNvSpPr/>
            <p:nvPr/>
          </p:nvSpPr>
          <p:spPr>
            <a:xfrm>
              <a:off x="95250" y="1152525"/>
              <a:ext cx="809625" cy="828675"/>
            </a:xfrm>
            <a:custGeom>
              <a:avLst/>
              <a:gdLst/>
              <a:ahLst/>
              <a:cxnLst/>
              <a:rect l="l" t="t" r="r" b="b"/>
              <a:pathLst>
                <a:path w="809625" h="828675" extrusionOk="0">
                  <a:moveTo>
                    <a:pt x="404812" y="0"/>
                  </a:moveTo>
                  <a:lnTo>
                    <a:pt x="357602" y="2788"/>
                  </a:lnTo>
                  <a:lnTo>
                    <a:pt x="311993" y="10944"/>
                  </a:lnTo>
                  <a:lnTo>
                    <a:pt x="268286" y="24159"/>
                  </a:lnTo>
                  <a:lnTo>
                    <a:pt x="226786" y="42119"/>
                  </a:lnTo>
                  <a:lnTo>
                    <a:pt x="187797" y="64514"/>
                  </a:lnTo>
                  <a:lnTo>
                    <a:pt x="151623" y="91033"/>
                  </a:lnTo>
                  <a:lnTo>
                    <a:pt x="118567" y="121364"/>
                  </a:lnTo>
                  <a:lnTo>
                    <a:pt x="88933" y="155196"/>
                  </a:lnTo>
                  <a:lnTo>
                    <a:pt x="63024" y="192217"/>
                  </a:lnTo>
                  <a:lnTo>
                    <a:pt x="41145" y="232117"/>
                  </a:lnTo>
                  <a:lnTo>
                    <a:pt x="23600" y="274584"/>
                  </a:lnTo>
                  <a:lnTo>
                    <a:pt x="10691" y="319306"/>
                  </a:lnTo>
                  <a:lnTo>
                    <a:pt x="2723" y="365973"/>
                  </a:lnTo>
                  <a:lnTo>
                    <a:pt x="0" y="414274"/>
                  </a:lnTo>
                  <a:lnTo>
                    <a:pt x="2723" y="462599"/>
                  </a:lnTo>
                  <a:lnTo>
                    <a:pt x="10691" y="509288"/>
                  </a:lnTo>
                  <a:lnTo>
                    <a:pt x="23600" y="554029"/>
                  </a:lnTo>
                  <a:lnTo>
                    <a:pt x="41145" y="596511"/>
                  </a:lnTo>
                  <a:lnTo>
                    <a:pt x="63024" y="636423"/>
                  </a:lnTo>
                  <a:lnTo>
                    <a:pt x="88933" y="673455"/>
                  </a:lnTo>
                  <a:lnTo>
                    <a:pt x="118567" y="707294"/>
                  </a:lnTo>
                  <a:lnTo>
                    <a:pt x="151623" y="737631"/>
                  </a:lnTo>
                  <a:lnTo>
                    <a:pt x="187797" y="764154"/>
                  </a:lnTo>
                  <a:lnTo>
                    <a:pt x="226786" y="786552"/>
                  </a:lnTo>
                  <a:lnTo>
                    <a:pt x="268286" y="804514"/>
                  </a:lnTo>
                  <a:lnTo>
                    <a:pt x="311993" y="817729"/>
                  </a:lnTo>
                  <a:lnTo>
                    <a:pt x="357602" y="825886"/>
                  </a:lnTo>
                  <a:lnTo>
                    <a:pt x="404812" y="828675"/>
                  </a:lnTo>
                  <a:lnTo>
                    <a:pt x="452022" y="825886"/>
                  </a:lnTo>
                  <a:lnTo>
                    <a:pt x="497631" y="817729"/>
                  </a:lnTo>
                  <a:lnTo>
                    <a:pt x="541338" y="804514"/>
                  </a:lnTo>
                  <a:lnTo>
                    <a:pt x="582838" y="786552"/>
                  </a:lnTo>
                  <a:lnTo>
                    <a:pt x="621827" y="764154"/>
                  </a:lnTo>
                  <a:lnTo>
                    <a:pt x="658001" y="737631"/>
                  </a:lnTo>
                  <a:lnTo>
                    <a:pt x="691057" y="707294"/>
                  </a:lnTo>
                  <a:lnTo>
                    <a:pt x="720691" y="673455"/>
                  </a:lnTo>
                  <a:lnTo>
                    <a:pt x="746600" y="636423"/>
                  </a:lnTo>
                  <a:lnTo>
                    <a:pt x="768479" y="596511"/>
                  </a:lnTo>
                  <a:lnTo>
                    <a:pt x="786024" y="554029"/>
                  </a:lnTo>
                  <a:lnTo>
                    <a:pt x="798933" y="509288"/>
                  </a:lnTo>
                  <a:lnTo>
                    <a:pt x="806901" y="462599"/>
                  </a:lnTo>
                  <a:lnTo>
                    <a:pt x="809625" y="414274"/>
                  </a:lnTo>
                  <a:lnTo>
                    <a:pt x="806901" y="365973"/>
                  </a:lnTo>
                  <a:lnTo>
                    <a:pt x="798933" y="319306"/>
                  </a:lnTo>
                  <a:lnTo>
                    <a:pt x="786024" y="274584"/>
                  </a:lnTo>
                  <a:lnTo>
                    <a:pt x="768479" y="232117"/>
                  </a:lnTo>
                  <a:lnTo>
                    <a:pt x="746600" y="192217"/>
                  </a:lnTo>
                  <a:lnTo>
                    <a:pt x="720691" y="155196"/>
                  </a:lnTo>
                  <a:lnTo>
                    <a:pt x="691057" y="121364"/>
                  </a:lnTo>
                  <a:lnTo>
                    <a:pt x="658001" y="91033"/>
                  </a:lnTo>
                  <a:lnTo>
                    <a:pt x="621827" y="64514"/>
                  </a:lnTo>
                  <a:lnTo>
                    <a:pt x="582838" y="42119"/>
                  </a:lnTo>
                  <a:lnTo>
                    <a:pt x="541338" y="24159"/>
                  </a:lnTo>
                  <a:lnTo>
                    <a:pt x="497631" y="10944"/>
                  </a:lnTo>
                  <a:lnTo>
                    <a:pt x="452022" y="2788"/>
                  </a:lnTo>
                  <a:lnTo>
                    <a:pt x="404812" y="0"/>
                  </a:lnTo>
                  <a:close/>
                </a:path>
              </a:pathLst>
            </a:custGeom>
            <a:solidFill>
              <a:srgbClr val="C45ED1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248" name="Google Shape;4248;p10"/>
          <p:cNvSpPr txBox="1"/>
          <p:nvPr/>
        </p:nvSpPr>
        <p:spPr>
          <a:xfrm>
            <a:off x="11519534" y="6455092"/>
            <a:ext cx="180975" cy="208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Arial"/>
                <a:ea typeface="Arial"/>
                <a:cs typeface="Arial"/>
                <a:sym typeface="Arial"/>
              </a:rPr>
              <a:t>10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49" name="Google Shape;4249;p10"/>
          <p:cNvSpPr txBox="1"/>
          <p:nvPr/>
        </p:nvSpPr>
        <p:spPr>
          <a:xfrm>
            <a:off x="688975" y="6434454"/>
            <a:ext cx="2623820" cy="2082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Arial"/>
                <a:ea typeface="Arial"/>
                <a:cs typeface="Arial"/>
                <a:sym typeface="Arial"/>
              </a:rPr>
              <a:t>Illinois Perinatal Quality Collaborative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50" name="Google Shape;4250;p10"/>
          <p:cNvSpPr txBox="1">
            <a:spLocks noGrp="1"/>
          </p:cNvSpPr>
          <p:nvPr>
            <p:ph type="title"/>
          </p:nvPr>
        </p:nvSpPr>
        <p:spPr>
          <a:xfrm>
            <a:off x="324471" y="52700"/>
            <a:ext cx="8050500" cy="7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800">
                <a:solidFill>
                  <a:srgbClr val="1B498A"/>
                </a:solidFill>
                <a:latin typeface="DM Sans"/>
                <a:ea typeface="DM Sans"/>
                <a:cs typeface="DM Sans"/>
                <a:sym typeface="DM Sans"/>
              </a:rPr>
              <a:t>ESSI Initiative Aims</a:t>
            </a:r>
            <a:endParaRPr sz="48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4251" name="Google Shape;4251;p10"/>
          <p:cNvSpPr/>
          <p:nvPr/>
        </p:nvSpPr>
        <p:spPr>
          <a:xfrm>
            <a:off x="609600" y="2352675"/>
            <a:ext cx="11287125" cy="1133475"/>
          </a:xfrm>
          <a:custGeom>
            <a:avLst/>
            <a:gdLst/>
            <a:ahLst/>
            <a:cxnLst/>
            <a:rect l="l" t="t" r="r" b="b"/>
            <a:pathLst>
              <a:path w="11287125" h="1133475" extrusionOk="0">
                <a:moveTo>
                  <a:pt x="11145520" y="0"/>
                </a:moveTo>
                <a:lnTo>
                  <a:pt x="141604" y="0"/>
                </a:lnTo>
                <a:lnTo>
                  <a:pt x="113846" y="1613"/>
                </a:lnTo>
                <a:lnTo>
                  <a:pt x="63043" y="13983"/>
                </a:lnTo>
                <a:lnTo>
                  <a:pt x="23794" y="37147"/>
                </a:lnTo>
                <a:lnTo>
                  <a:pt x="0" y="83438"/>
                </a:lnTo>
                <a:lnTo>
                  <a:pt x="0" y="1050036"/>
                </a:lnTo>
                <a:lnTo>
                  <a:pt x="23794" y="1096327"/>
                </a:lnTo>
                <a:lnTo>
                  <a:pt x="63043" y="1119491"/>
                </a:lnTo>
                <a:lnTo>
                  <a:pt x="113846" y="1131861"/>
                </a:lnTo>
                <a:lnTo>
                  <a:pt x="141604" y="1133475"/>
                </a:lnTo>
                <a:lnTo>
                  <a:pt x="11145520" y="1133475"/>
                </a:lnTo>
                <a:lnTo>
                  <a:pt x="11199701" y="1127140"/>
                </a:lnTo>
                <a:lnTo>
                  <a:pt x="11245596" y="1109090"/>
                </a:lnTo>
                <a:lnTo>
                  <a:pt x="11276361" y="1081944"/>
                </a:lnTo>
                <a:lnTo>
                  <a:pt x="11287125" y="1050036"/>
                </a:lnTo>
                <a:lnTo>
                  <a:pt x="11287125" y="83438"/>
                </a:lnTo>
                <a:lnTo>
                  <a:pt x="11263336" y="37147"/>
                </a:lnTo>
                <a:lnTo>
                  <a:pt x="11224047" y="13983"/>
                </a:lnTo>
                <a:lnTo>
                  <a:pt x="11173283" y="1613"/>
                </a:lnTo>
                <a:lnTo>
                  <a:pt x="11145520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252" name="Google Shape;4252;p10"/>
          <p:cNvSpPr txBox="1"/>
          <p:nvPr/>
        </p:nvSpPr>
        <p:spPr>
          <a:xfrm>
            <a:off x="980122" y="1094471"/>
            <a:ext cx="10772100" cy="82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73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rgbClr val="FFFFFF"/>
                </a:solidFill>
                <a:latin typeface="DM Sans"/>
                <a:ea typeface="DM Sans"/>
                <a:cs typeface="DM Sans"/>
                <a:sym typeface="DM Sans"/>
              </a:rPr>
              <a:t>By December 2025, greater than 70% of Illinois birthing and children’s hospitals will address</a:t>
            </a:r>
            <a:endParaRPr sz="2000">
              <a:latin typeface="DM Sans"/>
              <a:ea typeface="DM Sans"/>
              <a:cs typeface="DM Sans"/>
              <a:sym typeface="DM Sans"/>
            </a:endParaRPr>
          </a:p>
          <a:p>
            <a:pPr marL="12700" lvl="0" indent="0" algn="l" rtl="0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rgbClr val="FFFFFF"/>
                </a:solidFill>
                <a:latin typeface="DM Sans"/>
                <a:ea typeface="DM Sans"/>
                <a:cs typeface="DM Sans"/>
                <a:sym typeface="DM Sans"/>
              </a:rPr>
              <a:t>disparities and promote neonatal equity by actively participating in the ESSI initiative.</a:t>
            </a:r>
            <a:endParaRPr sz="20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4253" name="Google Shape;4253;p10"/>
          <p:cNvSpPr txBox="1"/>
          <p:nvPr/>
        </p:nvSpPr>
        <p:spPr>
          <a:xfrm>
            <a:off x="1099502" y="2487231"/>
            <a:ext cx="10342800" cy="72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12700" marR="5080" lvl="0" indent="0" algn="l" rtl="0">
              <a:lnSpc>
                <a:spcPct val="1314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rgbClr val="FFFFFF"/>
                </a:solidFill>
                <a:latin typeface="DM Sans"/>
                <a:ea typeface="DM Sans"/>
                <a:cs typeface="DM Sans"/>
                <a:sym typeface="DM Sans"/>
              </a:rPr>
              <a:t>By December 2025, greater than 80% of infants will be discharged from ILPQC hospitals with a completed ESSI Bundle.</a:t>
            </a:r>
            <a:endParaRPr sz="2000"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4254" name="Google Shape;4254;p1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85825" y="4619625"/>
            <a:ext cx="3143250" cy="609600"/>
          </a:xfrm>
          <a:prstGeom prst="rect">
            <a:avLst/>
          </a:prstGeom>
          <a:noFill/>
          <a:ln>
            <a:noFill/>
          </a:ln>
        </p:spPr>
      </p:pic>
      <p:sp>
        <p:nvSpPr>
          <p:cNvPr id="4255" name="Google Shape;4255;p10"/>
          <p:cNvSpPr txBox="1"/>
          <p:nvPr/>
        </p:nvSpPr>
        <p:spPr>
          <a:xfrm>
            <a:off x="1625600" y="4788598"/>
            <a:ext cx="1559700" cy="37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300">
                <a:solidFill>
                  <a:srgbClr val="FFFFFF"/>
                </a:solidFill>
                <a:latin typeface="DM Sans"/>
                <a:ea typeface="DM Sans"/>
                <a:cs typeface="DM Sans"/>
                <a:sym typeface="DM Sans"/>
              </a:rPr>
              <a:t>READINESS</a:t>
            </a:r>
            <a:endParaRPr sz="2300"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4256" name="Google Shape;4256;p1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85825" y="5381625"/>
            <a:ext cx="3143250" cy="561975"/>
          </a:xfrm>
          <a:prstGeom prst="rect">
            <a:avLst/>
          </a:prstGeom>
          <a:noFill/>
          <a:ln>
            <a:noFill/>
          </a:ln>
        </p:spPr>
      </p:pic>
      <p:sp>
        <p:nvSpPr>
          <p:cNvPr id="4257" name="Google Shape;4257;p10"/>
          <p:cNvSpPr txBox="1"/>
          <p:nvPr/>
        </p:nvSpPr>
        <p:spPr>
          <a:xfrm>
            <a:off x="1070292" y="5529262"/>
            <a:ext cx="2743200" cy="37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300">
                <a:solidFill>
                  <a:srgbClr val="FFFFFF"/>
                </a:solidFill>
                <a:latin typeface="DM Sans"/>
                <a:ea typeface="DM Sans"/>
                <a:cs typeface="DM Sans"/>
                <a:sym typeface="DM Sans"/>
              </a:rPr>
              <a:t>TRANSFER OF CARE</a:t>
            </a:r>
            <a:endParaRPr sz="2300"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4258" name="Google Shape;4258;p1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85825" y="3819525"/>
            <a:ext cx="3143250" cy="609600"/>
          </a:xfrm>
          <a:prstGeom prst="rect">
            <a:avLst/>
          </a:prstGeom>
          <a:noFill/>
          <a:ln>
            <a:noFill/>
          </a:ln>
        </p:spPr>
      </p:pic>
      <p:sp>
        <p:nvSpPr>
          <p:cNvPr id="4259" name="Google Shape;4259;p10"/>
          <p:cNvSpPr txBox="1"/>
          <p:nvPr/>
        </p:nvSpPr>
        <p:spPr>
          <a:xfrm>
            <a:off x="1583689" y="3972877"/>
            <a:ext cx="1757700" cy="37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300">
                <a:solidFill>
                  <a:srgbClr val="FFFFFF"/>
                </a:solidFill>
                <a:latin typeface="DM Sans"/>
                <a:ea typeface="DM Sans"/>
                <a:cs typeface="DM Sans"/>
                <a:sym typeface="DM Sans"/>
              </a:rPr>
              <a:t>AWARENESS</a:t>
            </a:r>
            <a:endParaRPr sz="23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4260" name="Google Shape;4260;p10"/>
          <p:cNvSpPr txBox="1"/>
          <p:nvPr/>
        </p:nvSpPr>
        <p:spPr>
          <a:xfrm>
            <a:off x="4302378" y="3837622"/>
            <a:ext cx="7148100" cy="21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2700" marR="5080" lvl="0" indent="0" algn="l" rtl="0">
              <a:lnSpc>
                <a:spcPct val="1048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50">
                <a:latin typeface="DM Sans"/>
                <a:ea typeface="DM Sans"/>
                <a:cs typeface="DM Sans"/>
                <a:sym typeface="DM Sans"/>
              </a:rPr>
              <a:t>Parents or caregivers report an understanding of a safe sleep environment.</a:t>
            </a:r>
            <a:endParaRPr sz="2150">
              <a:latin typeface="DM Sans"/>
              <a:ea typeface="DM Sans"/>
              <a:cs typeface="DM Sans"/>
              <a:sym typeface="DM Sans"/>
            </a:endParaRPr>
          </a:p>
          <a:p>
            <a:pPr marL="12700" lvl="0" indent="0" algn="l" rtl="0">
              <a:lnSpc>
                <a:spcPct val="100000"/>
              </a:lnSpc>
              <a:spcBef>
                <a:spcPts val="1240"/>
              </a:spcBef>
              <a:spcAft>
                <a:spcPts val="0"/>
              </a:spcAft>
              <a:buNone/>
            </a:pPr>
            <a:r>
              <a:rPr lang="en-US" sz="2150">
                <a:latin typeface="DM Sans"/>
                <a:ea typeface="DM Sans"/>
                <a:cs typeface="DM Sans"/>
                <a:sym typeface="DM Sans"/>
              </a:rPr>
              <a:t>Family is prepared for a transition to home,</a:t>
            </a:r>
            <a:endParaRPr sz="2150">
              <a:latin typeface="DM Sans"/>
              <a:ea typeface="DM Sans"/>
              <a:cs typeface="DM Sans"/>
              <a:sym typeface="DM Sans"/>
            </a:endParaRPr>
          </a:p>
          <a:p>
            <a:pPr marL="12700" lvl="0" indent="0" algn="l" rtl="0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None/>
            </a:pPr>
            <a:r>
              <a:rPr lang="en-US" sz="2150">
                <a:latin typeface="DM Sans"/>
                <a:ea typeface="DM Sans"/>
                <a:cs typeface="DM Sans"/>
                <a:sym typeface="DM Sans"/>
              </a:rPr>
              <a:t>including SDoH screening and resource linkage.</a:t>
            </a:r>
            <a:endParaRPr sz="2150">
              <a:latin typeface="DM Sans"/>
              <a:ea typeface="DM Sans"/>
              <a:cs typeface="DM Sans"/>
              <a:sym typeface="DM Sans"/>
            </a:endParaRPr>
          </a:p>
          <a:p>
            <a:pPr marL="15875" lvl="0" indent="0" algn="l" rtl="0">
              <a:lnSpc>
                <a:spcPct val="100000"/>
              </a:lnSpc>
              <a:spcBef>
                <a:spcPts val="2365"/>
              </a:spcBef>
              <a:spcAft>
                <a:spcPts val="0"/>
              </a:spcAft>
              <a:buNone/>
            </a:pPr>
            <a:r>
              <a:rPr lang="en-US" sz="2150">
                <a:latin typeface="DM Sans"/>
                <a:ea typeface="DM Sans"/>
                <a:cs typeface="DM Sans"/>
                <a:sym typeface="DM Sans"/>
              </a:rPr>
              <a:t>Communication to primary care provider completed.</a:t>
            </a:r>
            <a:endParaRPr sz="215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4261" name="Google Shape;4261;p10"/>
          <p:cNvSpPr/>
          <p:nvPr/>
        </p:nvSpPr>
        <p:spPr>
          <a:xfrm>
            <a:off x="95250" y="2495550"/>
            <a:ext cx="809625" cy="828675"/>
          </a:xfrm>
          <a:custGeom>
            <a:avLst/>
            <a:gdLst/>
            <a:ahLst/>
            <a:cxnLst/>
            <a:rect l="l" t="t" r="r" b="b"/>
            <a:pathLst>
              <a:path w="809625" h="828675" extrusionOk="0">
                <a:moveTo>
                  <a:pt x="404812" y="0"/>
                </a:moveTo>
                <a:lnTo>
                  <a:pt x="357602" y="2788"/>
                </a:lnTo>
                <a:lnTo>
                  <a:pt x="311993" y="10944"/>
                </a:lnTo>
                <a:lnTo>
                  <a:pt x="268286" y="24159"/>
                </a:lnTo>
                <a:lnTo>
                  <a:pt x="226786" y="42119"/>
                </a:lnTo>
                <a:lnTo>
                  <a:pt x="187797" y="64514"/>
                </a:lnTo>
                <a:lnTo>
                  <a:pt x="151623" y="91033"/>
                </a:lnTo>
                <a:lnTo>
                  <a:pt x="118567" y="121364"/>
                </a:lnTo>
                <a:lnTo>
                  <a:pt x="88933" y="155196"/>
                </a:lnTo>
                <a:lnTo>
                  <a:pt x="63024" y="192217"/>
                </a:lnTo>
                <a:lnTo>
                  <a:pt x="41145" y="232117"/>
                </a:lnTo>
                <a:lnTo>
                  <a:pt x="23600" y="274584"/>
                </a:lnTo>
                <a:lnTo>
                  <a:pt x="10691" y="319306"/>
                </a:lnTo>
                <a:lnTo>
                  <a:pt x="2723" y="365973"/>
                </a:lnTo>
                <a:lnTo>
                  <a:pt x="0" y="414274"/>
                </a:lnTo>
                <a:lnTo>
                  <a:pt x="2723" y="462599"/>
                </a:lnTo>
                <a:lnTo>
                  <a:pt x="10691" y="509288"/>
                </a:lnTo>
                <a:lnTo>
                  <a:pt x="23600" y="554029"/>
                </a:lnTo>
                <a:lnTo>
                  <a:pt x="41145" y="596511"/>
                </a:lnTo>
                <a:lnTo>
                  <a:pt x="63024" y="636423"/>
                </a:lnTo>
                <a:lnTo>
                  <a:pt x="88933" y="673455"/>
                </a:lnTo>
                <a:lnTo>
                  <a:pt x="118567" y="707294"/>
                </a:lnTo>
                <a:lnTo>
                  <a:pt x="151623" y="737631"/>
                </a:lnTo>
                <a:lnTo>
                  <a:pt x="187797" y="764154"/>
                </a:lnTo>
                <a:lnTo>
                  <a:pt x="226786" y="786552"/>
                </a:lnTo>
                <a:lnTo>
                  <a:pt x="268286" y="804514"/>
                </a:lnTo>
                <a:lnTo>
                  <a:pt x="311993" y="817729"/>
                </a:lnTo>
                <a:lnTo>
                  <a:pt x="357602" y="825886"/>
                </a:lnTo>
                <a:lnTo>
                  <a:pt x="404812" y="828675"/>
                </a:lnTo>
                <a:lnTo>
                  <a:pt x="452022" y="825886"/>
                </a:lnTo>
                <a:lnTo>
                  <a:pt x="497631" y="817729"/>
                </a:lnTo>
                <a:lnTo>
                  <a:pt x="541338" y="804514"/>
                </a:lnTo>
                <a:lnTo>
                  <a:pt x="582838" y="786552"/>
                </a:lnTo>
                <a:lnTo>
                  <a:pt x="621827" y="764154"/>
                </a:lnTo>
                <a:lnTo>
                  <a:pt x="658001" y="737631"/>
                </a:lnTo>
                <a:lnTo>
                  <a:pt x="691057" y="707294"/>
                </a:lnTo>
                <a:lnTo>
                  <a:pt x="720691" y="673455"/>
                </a:lnTo>
                <a:lnTo>
                  <a:pt x="746600" y="636423"/>
                </a:lnTo>
                <a:lnTo>
                  <a:pt x="768479" y="596511"/>
                </a:lnTo>
                <a:lnTo>
                  <a:pt x="786024" y="554029"/>
                </a:lnTo>
                <a:lnTo>
                  <a:pt x="798933" y="509288"/>
                </a:lnTo>
                <a:lnTo>
                  <a:pt x="806901" y="462599"/>
                </a:lnTo>
                <a:lnTo>
                  <a:pt x="809625" y="414274"/>
                </a:lnTo>
                <a:lnTo>
                  <a:pt x="806901" y="365973"/>
                </a:lnTo>
                <a:lnTo>
                  <a:pt x="798933" y="319306"/>
                </a:lnTo>
                <a:lnTo>
                  <a:pt x="786024" y="274584"/>
                </a:lnTo>
                <a:lnTo>
                  <a:pt x="768479" y="232117"/>
                </a:lnTo>
                <a:lnTo>
                  <a:pt x="746600" y="192217"/>
                </a:lnTo>
                <a:lnTo>
                  <a:pt x="720691" y="155196"/>
                </a:lnTo>
                <a:lnTo>
                  <a:pt x="691057" y="121364"/>
                </a:lnTo>
                <a:lnTo>
                  <a:pt x="658001" y="91033"/>
                </a:lnTo>
                <a:lnTo>
                  <a:pt x="621827" y="64514"/>
                </a:lnTo>
                <a:lnTo>
                  <a:pt x="582838" y="42119"/>
                </a:lnTo>
                <a:lnTo>
                  <a:pt x="541338" y="24159"/>
                </a:lnTo>
                <a:lnTo>
                  <a:pt x="497631" y="10944"/>
                </a:lnTo>
                <a:lnTo>
                  <a:pt x="452022" y="2788"/>
                </a:lnTo>
                <a:lnTo>
                  <a:pt x="404812" y="0"/>
                </a:lnTo>
                <a:close/>
              </a:path>
            </a:pathLst>
          </a:custGeom>
          <a:solidFill>
            <a:srgbClr val="C45ED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262" name="Google Shape;4262;p10"/>
          <p:cNvSpPr txBox="1"/>
          <p:nvPr/>
        </p:nvSpPr>
        <p:spPr>
          <a:xfrm>
            <a:off x="271779" y="724534"/>
            <a:ext cx="473075" cy="2726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25450" rIns="0" bIns="0" anchor="t" anchorCtr="0">
            <a:spAutoFit/>
          </a:bodyPr>
          <a:lstStyle/>
          <a:p>
            <a:pPr marL="114935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15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6150">
              <a:latin typeface="Arial"/>
              <a:ea typeface="Arial"/>
              <a:cs typeface="Arial"/>
              <a:sym typeface="Arial"/>
            </a:endParaRPr>
          </a:p>
          <a:p>
            <a:pPr marL="12700" lvl="0" indent="0" algn="l" rtl="0">
              <a:lnSpc>
                <a:spcPct val="100000"/>
              </a:lnSpc>
              <a:spcBef>
                <a:spcPts val="3250"/>
              </a:spcBef>
              <a:spcAft>
                <a:spcPts val="0"/>
              </a:spcAft>
              <a:buNone/>
            </a:pPr>
            <a:r>
              <a:rPr lang="en-US" sz="615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615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263" name="Google Shape;4263;p10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563100" y="161925"/>
            <a:ext cx="1524000" cy="6572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8" name="Google Shape;4268;p11"/>
          <p:cNvSpPr/>
          <p:nvPr/>
        </p:nvSpPr>
        <p:spPr>
          <a:xfrm>
            <a:off x="461962" y="957325"/>
            <a:ext cx="2350770" cy="0"/>
          </a:xfrm>
          <a:custGeom>
            <a:avLst/>
            <a:gdLst/>
            <a:ahLst/>
            <a:cxnLst/>
            <a:rect l="l" t="t" r="r" b="b"/>
            <a:pathLst>
              <a:path w="2350770" h="120000" extrusionOk="0">
                <a:moveTo>
                  <a:pt x="0" y="0"/>
                </a:moveTo>
                <a:lnTo>
                  <a:pt x="2350198" y="0"/>
                </a:lnTo>
              </a:path>
            </a:pathLst>
          </a:custGeom>
          <a:noFill/>
          <a:ln w="3175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269" name="Google Shape;4269;p11"/>
          <p:cNvGrpSpPr/>
          <p:nvPr/>
        </p:nvGrpSpPr>
        <p:grpSpPr>
          <a:xfrm>
            <a:off x="0" y="5381625"/>
            <a:ext cx="2809875" cy="752472"/>
            <a:chOff x="0" y="5381625"/>
            <a:chExt cx="2809875" cy="752472"/>
          </a:xfrm>
        </p:grpSpPr>
        <p:pic>
          <p:nvPicPr>
            <p:cNvPr id="4270" name="Google Shape;4270;p11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534025"/>
              <a:ext cx="2809875" cy="60007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271" name="Google Shape;4271;p11"/>
            <p:cNvSpPr/>
            <p:nvPr/>
          </p:nvSpPr>
          <p:spPr>
            <a:xfrm>
              <a:off x="0" y="5381625"/>
              <a:ext cx="2809875" cy="647700"/>
            </a:xfrm>
            <a:custGeom>
              <a:avLst/>
              <a:gdLst/>
              <a:ahLst/>
              <a:cxnLst/>
              <a:rect l="l" t="t" r="r" b="b"/>
              <a:pathLst>
                <a:path w="2809875" h="647700" extrusionOk="0">
                  <a:moveTo>
                    <a:pt x="0" y="0"/>
                  </a:moveTo>
                  <a:lnTo>
                    <a:pt x="0" y="271043"/>
                  </a:lnTo>
                  <a:lnTo>
                    <a:pt x="105708" y="304888"/>
                  </a:lnTo>
                  <a:lnTo>
                    <a:pt x="153014" y="319349"/>
                  </a:lnTo>
                  <a:lnTo>
                    <a:pt x="247674" y="347634"/>
                  </a:lnTo>
                  <a:lnTo>
                    <a:pt x="342438" y="375021"/>
                  </a:lnTo>
                  <a:lnTo>
                    <a:pt x="437354" y="401451"/>
                  </a:lnTo>
                  <a:lnTo>
                    <a:pt x="484883" y="414289"/>
                  </a:lnTo>
                  <a:lnTo>
                    <a:pt x="532469" y="426866"/>
                  </a:lnTo>
                  <a:lnTo>
                    <a:pt x="580116" y="439174"/>
                  </a:lnTo>
                  <a:lnTo>
                    <a:pt x="627831" y="451207"/>
                  </a:lnTo>
                  <a:lnTo>
                    <a:pt x="675620" y="462957"/>
                  </a:lnTo>
                  <a:lnTo>
                    <a:pt x="723488" y="474416"/>
                  </a:lnTo>
                  <a:lnTo>
                    <a:pt x="771442" y="485578"/>
                  </a:lnTo>
                  <a:lnTo>
                    <a:pt x="819487" y="496434"/>
                  </a:lnTo>
                  <a:lnTo>
                    <a:pt x="867630" y="506979"/>
                  </a:lnTo>
                  <a:lnTo>
                    <a:pt x="915876" y="517203"/>
                  </a:lnTo>
                  <a:lnTo>
                    <a:pt x="964232" y="527101"/>
                  </a:lnTo>
                  <a:lnTo>
                    <a:pt x="1012703" y="536665"/>
                  </a:lnTo>
                  <a:lnTo>
                    <a:pt x="1061295" y="545887"/>
                  </a:lnTo>
                  <a:lnTo>
                    <a:pt x="1110015" y="554760"/>
                  </a:lnTo>
                  <a:lnTo>
                    <a:pt x="1158868" y="563277"/>
                  </a:lnTo>
                  <a:lnTo>
                    <a:pt x="1207860" y="571430"/>
                  </a:lnTo>
                  <a:lnTo>
                    <a:pt x="1256997" y="579213"/>
                  </a:lnTo>
                  <a:lnTo>
                    <a:pt x="1306286" y="586617"/>
                  </a:lnTo>
                  <a:lnTo>
                    <a:pt x="1355731" y="593636"/>
                  </a:lnTo>
                  <a:lnTo>
                    <a:pt x="1405340" y="600262"/>
                  </a:lnTo>
                  <a:lnTo>
                    <a:pt x="1455117" y="606488"/>
                  </a:lnTo>
                  <a:lnTo>
                    <a:pt x="1505069" y="612307"/>
                  </a:lnTo>
                  <a:lnTo>
                    <a:pt x="1555202" y="617711"/>
                  </a:lnTo>
                  <a:lnTo>
                    <a:pt x="1605523" y="622693"/>
                  </a:lnTo>
                  <a:lnTo>
                    <a:pt x="1656035" y="627245"/>
                  </a:lnTo>
                  <a:lnTo>
                    <a:pt x="1706747" y="631361"/>
                  </a:lnTo>
                  <a:lnTo>
                    <a:pt x="1757663" y="635033"/>
                  </a:lnTo>
                  <a:lnTo>
                    <a:pt x="1808790" y="638254"/>
                  </a:lnTo>
                  <a:lnTo>
                    <a:pt x="1860134" y="641016"/>
                  </a:lnTo>
                  <a:lnTo>
                    <a:pt x="1911700" y="643312"/>
                  </a:lnTo>
                  <a:lnTo>
                    <a:pt x="1963494" y="645134"/>
                  </a:lnTo>
                  <a:lnTo>
                    <a:pt x="2015524" y="646477"/>
                  </a:lnTo>
                  <a:lnTo>
                    <a:pt x="2067793" y="647331"/>
                  </a:lnTo>
                  <a:lnTo>
                    <a:pt x="2120309" y="647690"/>
                  </a:lnTo>
                  <a:lnTo>
                    <a:pt x="2173077" y="647546"/>
                  </a:lnTo>
                  <a:lnTo>
                    <a:pt x="2226104" y="646893"/>
                  </a:lnTo>
                  <a:lnTo>
                    <a:pt x="2279395" y="645723"/>
                  </a:lnTo>
                  <a:lnTo>
                    <a:pt x="2332956" y="644028"/>
                  </a:lnTo>
                  <a:lnTo>
                    <a:pt x="2386793" y="641801"/>
                  </a:lnTo>
                  <a:lnTo>
                    <a:pt x="2440913" y="639035"/>
                  </a:lnTo>
                  <a:lnTo>
                    <a:pt x="2495320" y="635723"/>
                  </a:lnTo>
                  <a:lnTo>
                    <a:pt x="2550022" y="631857"/>
                  </a:lnTo>
                  <a:lnTo>
                    <a:pt x="2605024" y="627430"/>
                  </a:lnTo>
                  <a:lnTo>
                    <a:pt x="2809875" y="603592"/>
                  </a:lnTo>
                  <a:lnTo>
                    <a:pt x="2809875" y="67056"/>
                  </a:lnTo>
                  <a:lnTo>
                    <a:pt x="2708910" y="96138"/>
                  </a:lnTo>
                  <a:lnTo>
                    <a:pt x="2659612" y="107924"/>
                  </a:lnTo>
                  <a:lnTo>
                    <a:pt x="2610068" y="119161"/>
                  </a:lnTo>
                  <a:lnTo>
                    <a:pt x="2560291" y="129849"/>
                  </a:lnTo>
                  <a:lnTo>
                    <a:pt x="2510297" y="139992"/>
                  </a:lnTo>
                  <a:lnTo>
                    <a:pt x="2460101" y="149589"/>
                  </a:lnTo>
                  <a:lnTo>
                    <a:pt x="2409719" y="158644"/>
                  </a:lnTo>
                  <a:lnTo>
                    <a:pt x="2359165" y="167158"/>
                  </a:lnTo>
                  <a:lnTo>
                    <a:pt x="2308454" y="175131"/>
                  </a:lnTo>
                  <a:lnTo>
                    <a:pt x="2257602" y="182566"/>
                  </a:lnTo>
                  <a:lnTo>
                    <a:pt x="2206624" y="189465"/>
                  </a:lnTo>
                  <a:lnTo>
                    <a:pt x="2155536" y="195829"/>
                  </a:lnTo>
                  <a:lnTo>
                    <a:pt x="2104351" y="201659"/>
                  </a:lnTo>
                  <a:lnTo>
                    <a:pt x="2053086" y="206958"/>
                  </a:lnTo>
                  <a:lnTo>
                    <a:pt x="2001755" y="211726"/>
                  </a:lnTo>
                  <a:lnTo>
                    <a:pt x="1950374" y="215966"/>
                  </a:lnTo>
                  <a:lnTo>
                    <a:pt x="1898958" y="219679"/>
                  </a:lnTo>
                  <a:lnTo>
                    <a:pt x="1847522" y="222866"/>
                  </a:lnTo>
                  <a:lnTo>
                    <a:pt x="1796080" y="225530"/>
                  </a:lnTo>
                  <a:lnTo>
                    <a:pt x="1744650" y="227672"/>
                  </a:lnTo>
                  <a:lnTo>
                    <a:pt x="1693244" y="229293"/>
                  </a:lnTo>
                  <a:lnTo>
                    <a:pt x="1641880" y="230395"/>
                  </a:lnTo>
                  <a:lnTo>
                    <a:pt x="1590571" y="230979"/>
                  </a:lnTo>
                  <a:lnTo>
                    <a:pt x="1539333" y="231048"/>
                  </a:lnTo>
                  <a:lnTo>
                    <a:pt x="1488181" y="230603"/>
                  </a:lnTo>
                  <a:lnTo>
                    <a:pt x="1437130" y="229646"/>
                  </a:lnTo>
                  <a:lnTo>
                    <a:pt x="1386196" y="228177"/>
                  </a:lnTo>
                  <a:lnTo>
                    <a:pt x="1335393" y="226199"/>
                  </a:lnTo>
                  <a:lnTo>
                    <a:pt x="1284737" y="223714"/>
                  </a:lnTo>
                  <a:lnTo>
                    <a:pt x="1234243" y="220722"/>
                  </a:lnTo>
                  <a:lnTo>
                    <a:pt x="1183926" y="217226"/>
                  </a:lnTo>
                  <a:lnTo>
                    <a:pt x="1133801" y="213226"/>
                  </a:lnTo>
                  <a:lnTo>
                    <a:pt x="1083884" y="208726"/>
                  </a:lnTo>
                  <a:lnTo>
                    <a:pt x="1034189" y="203726"/>
                  </a:lnTo>
                  <a:lnTo>
                    <a:pt x="984731" y="198228"/>
                  </a:lnTo>
                  <a:lnTo>
                    <a:pt x="935527" y="192233"/>
                  </a:lnTo>
                  <a:lnTo>
                    <a:pt x="886590" y="185743"/>
                  </a:lnTo>
                  <a:lnTo>
                    <a:pt x="837937" y="178761"/>
                  </a:lnTo>
                  <a:lnTo>
                    <a:pt x="789582" y="171286"/>
                  </a:lnTo>
                  <a:lnTo>
                    <a:pt x="741540" y="163322"/>
                  </a:lnTo>
                  <a:lnTo>
                    <a:pt x="690765" y="154410"/>
                  </a:lnTo>
                  <a:lnTo>
                    <a:pt x="639942" y="145124"/>
                  </a:lnTo>
                  <a:lnTo>
                    <a:pt x="589071" y="135476"/>
                  </a:lnTo>
                  <a:lnTo>
                    <a:pt x="538153" y="125476"/>
                  </a:lnTo>
                  <a:lnTo>
                    <a:pt x="487191" y="115136"/>
                  </a:lnTo>
                  <a:lnTo>
                    <a:pt x="436187" y="104469"/>
                  </a:lnTo>
                  <a:lnTo>
                    <a:pt x="385140" y="93484"/>
                  </a:lnTo>
                  <a:lnTo>
                    <a:pt x="334054" y="82195"/>
                  </a:lnTo>
                  <a:lnTo>
                    <a:pt x="282930" y="70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4272" name="Google Shape;4272;p1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14350" y="4381500"/>
            <a:ext cx="2028825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4273" name="Google Shape;4273;p11"/>
          <p:cNvSpPr txBox="1"/>
          <p:nvPr/>
        </p:nvSpPr>
        <p:spPr>
          <a:xfrm>
            <a:off x="121602" y="1860930"/>
            <a:ext cx="2559685" cy="12426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600" rIns="0" bIns="0" anchor="t" anchorCtr="0">
            <a:spAutoFit/>
          </a:bodyPr>
          <a:lstStyle/>
          <a:p>
            <a:pPr marL="255270" marR="5080" lvl="0" indent="-243204" algn="l" rtl="0">
              <a:lnSpc>
                <a:spcPct val="1014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50" b="1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rPr>
              <a:t>Key Driver Diagram</a:t>
            </a:r>
            <a:endParaRPr sz="395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74" name="Google Shape;4274;p11"/>
          <p:cNvSpPr txBox="1"/>
          <p:nvPr/>
        </p:nvSpPr>
        <p:spPr>
          <a:xfrm>
            <a:off x="11940158" y="6119177"/>
            <a:ext cx="177800" cy="208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Calibri"/>
                <a:ea typeface="Calibri"/>
                <a:cs typeface="Calibri"/>
                <a:sym typeface="Calibri"/>
              </a:rPr>
              <a:t>11</a:t>
            </a:r>
            <a:endParaRPr sz="12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75" name="Google Shape;4275;p11"/>
          <p:cNvSpPr txBox="1"/>
          <p:nvPr/>
        </p:nvSpPr>
        <p:spPr>
          <a:xfrm>
            <a:off x="78739" y="6483350"/>
            <a:ext cx="2623185" cy="208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Arial"/>
                <a:ea typeface="Arial"/>
                <a:cs typeface="Arial"/>
                <a:sym typeface="Arial"/>
              </a:rPr>
              <a:t>Illinois Perinatal Quality Collaborative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276" name="Google Shape;4276;p11"/>
          <p:cNvGrpSpPr/>
          <p:nvPr/>
        </p:nvGrpSpPr>
        <p:grpSpPr>
          <a:xfrm>
            <a:off x="2805176" y="652526"/>
            <a:ext cx="9201150" cy="5895911"/>
            <a:chOff x="2805176" y="652526"/>
            <a:chExt cx="9201150" cy="5895911"/>
          </a:xfrm>
        </p:grpSpPr>
        <p:sp>
          <p:nvSpPr>
            <p:cNvPr id="4277" name="Google Shape;4277;p11"/>
            <p:cNvSpPr/>
            <p:nvPr/>
          </p:nvSpPr>
          <p:spPr>
            <a:xfrm>
              <a:off x="2862326" y="5662612"/>
              <a:ext cx="9144000" cy="885825"/>
            </a:xfrm>
            <a:custGeom>
              <a:avLst/>
              <a:gdLst/>
              <a:ahLst/>
              <a:cxnLst/>
              <a:rect l="l" t="t" r="r" b="b"/>
              <a:pathLst>
                <a:path w="9144000" h="885825" extrusionOk="0">
                  <a:moveTo>
                    <a:pt x="9144000" y="0"/>
                  </a:moveTo>
                  <a:lnTo>
                    <a:pt x="0" y="0"/>
                  </a:lnTo>
                  <a:lnTo>
                    <a:pt x="0" y="885825"/>
                  </a:lnTo>
                  <a:lnTo>
                    <a:pt x="9144000" y="885825"/>
                  </a:lnTo>
                  <a:lnTo>
                    <a:pt x="914400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278" name="Google Shape;4278;p11"/>
            <p:cNvSpPr/>
            <p:nvPr/>
          </p:nvSpPr>
          <p:spPr>
            <a:xfrm>
              <a:off x="2805176" y="652526"/>
              <a:ext cx="1924050" cy="4762500"/>
            </a:xfrm>
            <a:custGeom>
              <a:avLst/>
              <a:gdLst/>
              <a:ahLst/>
              <a:cxnLst/>
              <a:rect l="l" t="t" r="r" b="b"/>
              <a:pathLst>
                <a:path w="1924050" h="4762500" extrusionOk="0">
                  <a:moveTo>
                    <a:pt x="0" y="320675"/>
                  </a:moveTo>
                  <a:lnTo>
                    <a:pt x="3475" y="273274"/>
                  </a:lnTo>
                  <a:lnTo>
                    <a:pt x="13572" y="228037"/>
                  </a:lnTo>
                  <a:lnTo>
                    <a:pt x="29794" y="185460"/>
                  </a:lnTo>
                  <a:lnTo>
                    <a:pt x="51647" y="146037"/>
                  </a:lnTo>
                  <a:lnTo>
                    <a:pt x="78635" y="110263"/>
                  </a:lnTo>
                  <a:lnTo>
                    <a:pt x="110263" y="78635"/>
                  </a:lnTo>
                  <a:lnTo>
                    <a:pt x="146037" y="51647"/>
                  </a:lnTo>
                  <a:lnTo>
                    <a:pt x="185460" y="29794"/>
                  </a:lnTo>
                  <a:lnTo>
                    <a:pt x="228037" y="13572"/>
                  </a:lnTo>
                  <a:lnTo>
                    <a:pt x="273274" y="3475"/>
                  </a:lnTo>
                  <a:lnTo>
                    <a:pt x="320675" y="0"/>
                  </a:lnTo>
                  <a:lnTo>
                    <a:pt x="1603248" y="0"/>
                  </a:lnTo>
                  <a:lnTo>
                    <a:pt x="1650651" y="3475"/>
                  </a:lnTo>
                  <a:lnTo>
                    <a:pt x="1695896" y="13572"/>
                  </a:lnTo>
                  <a:lnTo>
                    <a:pt x="1738486" y="29794"/>
                  </a:lnTo>
                  <a:lnTo>
                    <a:pt x="1777924" y="51647"/>
                  </a:lnTo>
                  <a:lnTo>
                    <a:pt x="1813714" y="78635"/>
                  </a:lnTo>
                  <a:lnTo>
                    <a:pt x="1845359" y="110263"/>
                  </a:lnTo>
                  <a:lnTo>
                    <a:pt x="1872364" y="146037"/>
                  </a:lnTo>
                  <a:lnTo>
                    <a:pt x="1894232" y="185460"/>
                  </a:lnTo>
                  <a:lnTo>
                    <a:pt x="1910466" y="228037"/>
                  </a:lnTo>
                  <a:lnTo>
                    <a:pt x="1920571" y="273274"/>
                  </a:lnTo>
                  <a:lnTo>
                    <a:pt x="1924050" y="320675"/>
                  </a:lnTo>
                  <a:lnTo>
                    <a:pt x="1924050" y="4441698"/>
                  </a:lnTo>
                  <a:lnTo>
                    <a:pt x="1920571" y="4489101"/>
                  </a:lnTo>
                  <a:lnTo>
                    <a:pt x="1910466" y="4534346"/>
                  </a:lnTo>
                  <a:lnTo>
                    <a:pt x="1894232" y="4576936"/>
                  </a:lnTo>
                  <a:lnTo>
                    <a:pt x="1872364" y="4616374"/>
                  </a:lnTo>
                  <a:lnTo>
                    <a:pt x="1845359" y="4652164"/>
                  </a:lnTo>
                  <a:lnTo>
                    <a:pt x="1813714" y="4683809"/>
                  </a:lnTo>
                  <a:lnTo>
                    <a:pt x="1777924" y="4710814"/>
                  </a:lnTo>
                  <a:lnTo>
                    <a:pt x="1738486" y="4732682"/>
                  </a:lnTo>
                  <a:lnTo>
                    <a:pt x="1695896" y="4748916"/>
                  </a:lnTo>
                  <a:lnTo>
                    <a:pt x="1650651" y="4759021"/>
                  </a:lnTo>
                  <a:lnTo>
                    <a:pt x="1603248" y="4762500"/>
                  </a:lnTo>
                  <a:lnTo>
                    <a:pt x="320675" y="4762500"/>
                  </a:lnTo>
                  <a:lnTo>
                    <a:pt x="273274" y="4759021"/>
                  </a:lnTo>
                  <a:lnTo>
                    <a:pt x="228037" y="4748916"/>
                  </a:lnTo>
                  <a:lnTo>
                    <a:pt x="185460" y="4732682"/>
                  </a:lnTo>
                  <a:lnTo>
                    <a:pt x="146037" y="4710814"/>
                  </a:lnTo>
                  <a:lnTo>
                    <a:pt x="110263" y="4683809"/>
                  </a:lnTo>
                  <a:lnTo>
                    <a:pt x="78635" y="4652164"/>
                  </a:lnTo>
                  <a:lnTo>
                    <a:pt x="51647" y="4616374"/>
                  </a:lnTo>
                  <a:lnTo>
                    <a:pt x="29794" y="4576936"/>
                  </a:lnTo>
                  <a:lnTo>
                    <a:pt x="13572" y="4534346"/>
                  </a:lnTo>
                  <a:lnTo>
                    <a:pt x="3475" y="4489101"/>
                  </a:lnTo>
                  <a:lnTo>
                    <a:pt x="0" y="4441698"/>
                  </a:lnTo>
                  <a:lnTo>
                    <a:pt x="0" y="320675"/>
                  </a:lnTo>
                  <a:close/>
                </a:path>
              </a:pathLst>
            </a:custGeom>
            <a:noFill/>
            <a:ln w="12700" cap="flat" cmpd="sng">
              <a:solidFill>
                <a:srgbClr val="1C488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279" name="Google Shape;4279;p11"/>
          <p:cNvSpPr txBox="1"/>
          <p:nvPr/>
        </p:nvSpPr>
        <p:spPr>
          <a:xfrm>
            <a:off x="2979166" y="720978"/>
            <a:ext cx="1062355" cy="483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508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By December 2025:</a:t>
            </a:r>
            <a:endParaRPr sz="15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80" name="Google Shape;4280;p11"/>
          <p:cNvSpPr txBox="1"/>
          <p:nvPr/>
        </p:nvSpPr>
        <p:spPr>
          <a:xfrm>
            <a:off x="2979166" y="1407795"/>
            <a:ext cx="1517015" cy="2314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1. Greater than</a:t>
            </a:r>
            <a:endParaRPr sz="1500">
              <a:latin typeface="Calibri"/>
              <a:ea typeface="Calibri"/>
              <a:cs typeface="Calibri"/>
              <a:sym typeface="Calibri"/>
            </a:endParaRPr>
          </a:p>
          <a:p>
            <a:pPr marL="12700" marR="422909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70% of Illinois birthing and</a:t>
            </a:r>
            <a:endParaRPr sz="1500">
              <a:latin typeface="Calibri"/>
              <a:ea typeface="Calibri"/>
              <a:cs typeface="Calibri"/>
              <a:sym typeface="Calibri"/>
            </a:endParaRPr>
          </a:p>
          <a:p>
            <a:pPr marL="12700" marR="5080" lvl="0" indent="0" algn="l" rtl="0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None/>
            </a:pPr>
            <a:r>
              <a:rPr lang="en-US" sz="15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children’s hospitals will address disparities and promote neonatal equity by actively participating in the ESSI initiative.</a:t>
            </a:r>
            <a:endParaRPr sz="15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81" name="Google Shape;4281;p11"/>
          <p:cNvSpPr txBox="1"/>
          <p:nvPr/>
        </p:nvSpPr>
        <p:spPr>
          <a:xfrm>
            <a:off x="2979166" y="3925823"/>
            <a:ext cx="1529080" cy="1398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508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2. Greater than 80% of infants will be discharged from ILPQC hospitals with a completed ESSI bundle.</a:t>
            </a:r>
            <a:endParaRPr sz="15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82" name="Google Shape;4282;p11"/>
          <p:cNvSpPr txBox="1">
            <a:spLocks noGrp="1"/>
          </p:cNvSpPr>
          <p:nvPr>
            <p:ph type="title"/>
          </p:nvPr>
        </p:nvSpPr>
        <p:spPr>
          <a:xfrm>
            <a:off x="3329304" y="296862"/>
            <a:ext cx="581025" cy="3003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/>
              <a:t>Aims</a:t>
            </a:r>
            <a:endParaRPr sz="1800"/>
          </a:p>
        </p:txBody>
      </p:sp>
      <p:sp>
        <p:nvSpPr>
          <p:cNvPr id="4283" name="Google Shape;4283;p11"/>
          <p:cNvSpPr txBox="1"/>
          <p:nvPr/>
        </p:nvSpPr>
        <p:spPr>
          <a:xfrm>
            <a:off x="4800346" y="300037"/>
            <a:ext cx="1723389" cy="3003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rPr>
              <a:t>Primary Drivers</a:t>
            </a:r>
            <a:endParaRPr sz="18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84" name="Google Shape;4284;p11"/>
          <p:cNvSpPr/>
          <p:nvPr/>
        </p:nvSpPr>
        <p:spPr>
          <a:xfrm>
            <a:off x="4786376" y="804926"/>
            <a:ext cx="1666875" cy="695325"/>
          </a:xfrm>
          <a:custGeom>
            <a:avLst/>
            <a:gdLst/>
            <a:ahLst/>
            <a:cxnLst/>
            <a:rect l="l" t="t" r="r" b="b"/>
            <a:pathLst>
              <a:path w="1666875" h="695325" extrusionOk="0">
                <a:moveTo>
                  <a:pt x="0" y="115824"/>
                </a:moveTo>
                <a:lnTo>
                  <a:pt x="9096" y="70723"/>
                </a:lnTo>
                <a:lnTo>
                  <a:pt x="33909" y="33909"/>
                </a:lnTo>
                <a:lnTo>
                  <a:pt x="70723" y="9096"/>
                </a:lnTo>
                <a:lnTo>
                  <a:pt x="115824" y="0"/>
                </a:lnTo>
                <a:lnTo>
                  <a:pt x="1550924" y="0"/>
                </a:lnTo>
                <a:lnTo>
                  <a:pt x="1596044" y="9096"/>
                </a:lnTo>
                <a:lnTo>
                  <a:pt x="1632902" y="33909"/>
                </a:lnTo>
                <a:lnTo>
                  <a:pt x="1657758" y="70723"/>
                </a:lnTo>
                <a:lnTo>
                  <a:pt x="1666875" y="115824"/>
                </a:lnTo>
                <a:lnTo>
                  <a:pt x="1666875" y="579374"/>
                </a:lnTo>
                <a:lnTo>
                  <a:pt x="1657758" y="624494"/>
                </a:lnTo>
                <a:lnTo>
                  <a:pt x="1632902" y="661352"/>
                </a:lnTo>
                <a:lnTo>
                  <a:pt x="1596044" y="686208"/>
                </a:lnTo>
                <a:lnTo>
                  <a:pt x="1550924" y="695325"/>
                </a:lnTo>
                <a:lnTo>
                  <a:pt x="115824" y="695325"/>
                </a:lnTo>
                <a:lnTo>
                  <a:pt x="70723" y="686208"/>
                </a:lnTo>
                <a:lnTo>
                  <a:pt x="33909" y="661352"/>
                </a:lnTo>
                <a:lnTo>
                  <a:pt x="9096" y="624494"/>
                </a:lnTo>
                <a:lnTo>
                  <a:pt x="0" y="579374"/>
                </a:lnTo>
                <a:lnTo>
                  <a:pt x="0" y="115824"/>
                </a:lnTo>
                <a:close/>
              </a:path>
            </a:pathLst>
          </a:custGeom>
          <a:noFill/>
          <a:ln w="12700" cap="flat" cmpd="sng">
            <a:solidFill>
              <a:srgbClr val="1C488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285" name="Google Shape;4285;p11"/>
          <p:cNvSpPr txBox="1"/>
          <p:nvPr/>
        </p:nvSpPr>
        <p:spPr>
          <a:xfrm>
            <a:off x="5061203" y="763206"/>
            <a:ext cx="1120140" cy="752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875" rIns="0" bIns="0" anchor="t" anchorCtr="0">
            <a:spAutoFit/>
          </a:bodyPr>
          <a:lstStyle/>
          <a:p>
            <a:pPr marL="12700" marR="5080" lvl="0" indent="95250" algn="just" rtl="0">
              <a:lnSpc>
                <a:spcPct val="10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Healthcare Professional Commitment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86" name="Google Shape;4286;p11"/>
          <p:cNvSpPr/>
          <p:nvPr/>
        </p:nvSpPr>
        <p:spPr>
          <a:xfrm>
            <a:off x="4786376" y="1786001"/>
            <a:ext cx="1666875" cy="590550"/>
          </a:xfrm>
          <a:custGeom>
            <a:avLst/>
            <a:gdLst/>
            <a:ahLst/>
            <a:cxnLst/>
            <a:rect l="l" t="t" r="r" b="b"/>
            <a:pathLst>
              <a:path w="1666875" h="590550" extrusionOk="0">
                <a:moveTo>
                  <a:pt x="0" y="98425"/>
                </a:moveTo>
                <a:lnTo>
                  <a:pt x="7717" y="60061"/>
                </a:lnTo>
                <a:lnTo>
                  <a:pt x="28781" y="28781"/>
                </a:lnTo>
                <a:lnTo>
                  <a:pt x="60061" y="7717"/>
                </a:lnTo>
                <a:lnTo>
                  <a:pt x="98425" y="0"/>
                </a:lnTo>
                <a:lnTo>
                  <a:pt x="1568323" y="0"/>
                </a:lnTo>
                <a:lnTo>
                  <a:pt x="1606706" y="7717"/>
                </a:lnTo>
                <a:lnTo>
                  <a:pt x="1638030" y="28781"/>
                </a:lnTo>
                <a:lnTo>
                  <a:pt x="1659137" y="60061"/>
                </a:lnTo>
                <a:lnTo>
                  <a:pt x="1666875" y="98425"/>
                </a:lnTo>
                <a:lnTo>
                  <a:pt x="1666875" y="491998"/>
                </a:lnTo>
                <a:lnTo>
                  <a:pt x="1659137" y="530381"/>
                </a:lnTo>
                <a:lnTo>
                  <a:pt x="1638030" y="561705"/>
                </a:lnTo>
                <a:lnTo>
                  <a:pt x="1606706" y="582812"/>
                </a:lnTo>
                <a:lnTo>
                  <a:pt x="1568323" y="590550"/>
                </a:lnTo>
                <a:lnTo>
                  <a:pt x="98425" y="590550"/>
                </a:lnTo>
                <a:lnTo>
                  <a:pt x="60061" y="582812"/>
                </a:lnTo>
                <a:lnTo>
                  <a:pt x="28781" y="561705"/>
                </a:lnTo>
                <a:lnTo>
                  <a:pt x="7717" y="530381"/>
                </a:lnTo>
                <a:lnTo>
                  <a:pt x="0" y="491998"/>
                </a:lnTo>
                <a:lnTo>
                  <a:pt x="0" y="98425"/>
                </a:lnTo>
                <a:close/>
              </a:path>
            </a:pathLst>
          </a:custGeom>
          <a:noFill/>
          <a:ln w="12700" cap="flat" cmpd="sng">
            <a:solidFill>
              <a:srgbClr val="1C488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287" name="Google Shape;4287;p11"/>
          <p:cNvSpPr txBox="1"/>
          <p:nvPr/>
        </p:nvSpPr>
        <p:spPr>
          <a:xfrm>
            <a:off x="4936490" y="1810765"/>
            <a:ext cx="1365885" cy="5137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800" rIns="0" bIns="0" anchor="t" anchorCtr="0">
            <a:spAutoFit/>
          </a:bodyPr>
          <a:lstStyle/>
          <a:p>
            <a:pPr marL="149225" marR="5080" lvl="0" indent="-136525" algn="l" rtl="0">
              <a:lnSpc>
                <a:spcPct val="1049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Inclusive Clinical Environment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88" name="Google Shape;4288;p11"/>
          <p:cNvSpPr/>
          <p:nvPr/>
        </p:nvSpPr>
        <p:spPr>
          <a:xfrm>
            <a:off x="4795901" y="2719451"/>
            <a:ext cx="1676400" cy="790575"/>
          </a:xfrm>
          <a:custGeom>
            <a:avLst/>
            <a:gdLst/>
            <a:ahLst/>
            <a:cxnLst/>
            <a:rect l="l" t="t" r="r" b="b"/>
            <a:pathLst>
              <a:path w="1676400" h="790575" extrusionOk="0">
                <a:moveTo>
                  <a:pt x="0" y="131699"/>
                </a:moveTo>
                <a:lnTo>
                  <a:pt x="6710" y="90058"/>
                </a:lnTo>
                <a:lnTo>
                  <a:pt x="25400" y="53903"/>
                </a:lnTo>
                <a:lnTo>
                  <a:pt x="53903" y="25400"/>
                </a:lnTo>
                <a:lnTo>
                  <a:pt x="90058" y="6710"/>
                </a:lnTo>
                <a:lnTo>
                  <a:pt x="131699" y="0"/>
                </a:lnTo>
                <a:lnTo>
                  <a:pt x="1544574" y="0"/>
                </a:lnTo>
                <a:lnTo>
                  <a:pt x="1586227" y="6710"/>
                </a:lnTo>
                <a:lnTo>
                  <a:pt x="1622413" y="25400"/>
                </a:lnTo>
                <a:lnTo>
                  <a:pt x="1650955" y="53903"/>
                </a:lnTo>
                <a:lnTo>
                  <a:pt x="1669676" y="90058"/>
                </a:lnTo>
                <a:lnTo>
                  <a:pt x="1676400" y="131699"/>
                </a:lnTo>
                <a:lnTo>
                  <a:pt x="1676400" y="658749"/>
                </a:lnTo>
                <a:lnTo>
                  <a:pt x="1669676" y="700402"/>
                </a:lnTo>
                <a:lnTo>
                  <a:pt x="1650955" y="736588"/>
                </a:lnTo>
                <a:lnTo>
                  <a:pt x="1622413" y="765130"/>
                </a:lnTo>
                <a:lnTo>
                  <a:pt x="1586227" y="783851"/>
                </a:lnTo>
                <a:lnTo>
                  <a:pt x="1544574" y="790575"/>
                </a:lnTo>
                <a:lnTo>
                  <a:pt x="131699" y="790575"/>
                </a:lnTo>
                <a:lnTo>
                  <a:pt x="90058" y="783851"/>
                </a:lnTo>
                <a:lnTo>
                  <a:pt x="53903" y="765130"/>
                </a:lnTo>
                <a:lnTo>
                  <a:pt x="25400" y="736588"/>
                </a:lnTo>
                <a:lnTo>
                  <a:pt x="6710" y="700402"/>
                </a:lnTo>
                <a:lnTo>
                  <a:pt x="0" y="658749"/>
                </a:lnTo>
                <a:lnTo>
                  <a:pt x="0" y="131699"/>
                </a:lnTo>
                <a:close/>
              </a:path>
            </a:pathLst>
          </a:custGeom>
          <a:noFill/>
          <a:ln w="12700" cap="flat" cmpd="sng">
            <a:solidFill>
              <a:srgbClr val="1C488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289" name="Google Shape;4289;p11"/>
          <p:cNvSpPr txBox="1"/>
          <p:nvPr/>
        </p:nvSpPr>
        <p:spPr>
          <a:xfrm>
            <a:off x="5001259" y="2723197"/>
            <a:ext cx="1257935" cy="752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875" rIns="0" bIns="0" anchor="t" anchorCtr="0">
            <a:spAutoFit/>
          </a:bodyPr>
          <a:lstStyle/>
          <a:p>
            <a:pPr marL="12700" marR="5080" lvl="0" indent="4445" algn="ctr" rtl="0">
              <a:lnSpc>
                <a:spcPct val="103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Parent and Caregiver Empowerment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0" name="Google Shape;4290;p11"/>
          <p:cNvSpPr/>
          <p:nvPr/>
        </p:nvSpPr>
        <p:spPr>
          <a:xfrm>
            <a:off x="4795901" y="3776726"/>
            <a:ext cx="1676400" cy="676275"/>
          </a:xfrm>
          <a:custGeom>
            <a:avLst/>
            <a:gdLst/>
            <a:ahLst/>
            <a:cxnLst/>
            <a:rect l="l" t="t" r="r" b="b"/>
            <a:pathLst>
              <a:path w="1676400" h="676275" extrusionOk="0">
                <a:moveTo>
                  <a:pt x="0" y="112649"/>
                </a:moveTo>
                <a:lnTo>
                  <a:pt x="8850" y="68794"/>
                </a:lnTo>
                <a:lnTo>
                  <a:pt x="32988" y="32988"/>
                </a:lnTo>
                <a:lnTo>
                  <a:pt x="68794" y="8850"/>
                </a:lnTo>
                <a:lnTo>
                  <a:pt x="112649" y="0"/>
                </a:lnTo>
                <a:lnTo>
                  <a:pt x="1563624" y="0"/>
                </a:lnTo>
                <a:lnTo>
                  <a:pt x="1607498" y="8850"/>
                </a:lnTo>
                <a:lnTo>
                  <a:pt x="1643348" y="32988"/>
                </a:lnTo>
                <a:lnTo>
                  <a:pt x="1667529" y="68794"/>
                </a:lnTo>
                <a:lnTo>
                  <a:pt x="1676400" y="112649"/>
                </a:lnTo>
                <a:lnTo>
                  <a:pt x="1676400" y="563499"/>
                </a:lnTo>
                <a:lnTo>
                  <a:pt x="1667529" y="607373"/>
                </a:lnTo>
                <a:lnTo>
                  <a:pt x="1643348" y="643223"/>
                </a:lnTo>
                <a:lnTo>
                  <a:pt x="1607498" y="667404"/>
                </a:lnTo>
                <a:lnTo>
                  <a:pt x="1563624" y="676275"/>
                </a:lnTo>
                <a:lnTo>
                  <a:pt x="112649" y="676275"/>
                </a:lnTo>
                <a:lnTo>
                  <a:pt x="68794" y="667404"/>
                </a:lnTo>
                <a:lnTo>
                  <a:pt x="32988" y="643223"/>
                </a:lnTo>
                <a:lnTo>
                  <a:pt x="8850" y="607373"/>
                </a:lnTo>
                <a:lnTo>
                  <a:pt x="0" y="563499"/>
                </a:lnTo>
                <a:lnTo>
                  <a:pt x="0" y="112649"/>
                </a:lnTo>
                <a:close/>
              </a:path>
            </a:pathLst>
          </a:custGeom>
          <a:noFill/>
          <a:ln w="12700" cap="flat" cmpd="sng">
            <a:solidFill>
              <a:srgbClr val="1C488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291" name="Google Shape;4291;p11"/>
          <p:cNvSpPr txBox="1"/>
          <p:nvPr/>
        </p:nvSpPr>
        <p:spPr>
          <a:xfrm>
            <a:off x="5098796" y="3851338"/>
            <a:ext cx="1065530" cy="5137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25" rIns="0" bIns="0" anchor="t" anchorCtr="0">
            <a:spAutoFit/>
          </a:bodyPr>
          <a:lstStyle/>
          <a:p>
            <a:pPr marL="12700" marR="5080" lvl="0" indent="15875" algn="l" rtl="0">
              <a:lnSpc>
                <a:spcPct val="1049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Community Partnerships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2" name="Google Shape;4292;p11"/>
          <p:cNvSpPr/>
          <p:nvPr/>
        </p:nvSpPr>
        <p:spPr>
          <a:xfrm>
            <a:off x="4795901" y="4700651"/>
            <a:ext cx="1695450" cy="590550"/>
          </a:xfrm>
          <a:custGeom>
            <a:avLst/>
            <a:gdLst/>
            <a:ahLst/>
            <a:cxnLst/>
            <a:rect l="l" t="t" r="r" b="b"/>
            <a:pathLst>
              <a:path w="1695450" h="590550" extrusionOk="0">
                <a:moveTo>
                  <a:pt x="0" y="98425"/>
                </a:moveTo>
                <a:lnTo>
                  <a:pt x="7717" y="60061"/>
                </a:lnTo>
                <a:lnTo>
                  <a:pt x="28781" y="28781"/>
                </a:lnTo>
                <a:lnTo>
                  <a:pt x="60061" y="7717"/>
                </a:lnTo>
                <a:lnTo>
                  <a:pt x="98425" y="0"/>
                </a:lnTo>
                <a:lnTo>
                  <a:pt x="1596898" y="0"/>
                </a:lnTo>
                <a:lnTo>
                  <a:pt x="1635281" y="7717"/>
                </a:lnTo>
                <a:lnTo>
                  <a:pt x="1666605" y="28781"/>
                </a:lnTo>
                <a:lnTo>
                  <a:pt x="1687712" y="60061"/>
                </a:lnTo>
                <a:lnTo>
                  <a:pt x="1695450" y="98425"/>
                </a:lnTo>
                <a:lnTo>
                  <a:pt x="1695450" y="491998"/>
                </a:lnTo>
                <a:lnTo>
                  <a:pt x="1687712" y="530381"/>
                </a:lnTo>
                <a:lnTo>
                  <a:pt x="1666605" y="561705"/>
                </a:lnTo>
                <a:lnTo>
                  <a:pt x="1635281" y="582812"/>
                </a:lnTo>
                <a:lnTo>
                  <a:pt x="1596898" y="590550"/>
                </a:lnTo>
                <a:lnTo>
                  <a:pt x="98425" y="590550"/>
                </a:lnTo>
                <a:lnTo>
                  <a:pt x="60061" y="582812"/>
                </a:lnTo>
                <a:lnTo>
                  <a:pt x="28781" y="561705"/>
                </a:lnTo>
                <a:lnTo>
                  <a:pt x="7717" y="530381"/>
                </a:lnTo>
                <a:lnTo>
                  <a:pt x="0" y="491998"/>
                </a:lnTo>
                <a:lnTo>
                  <a:pt x="0" y="98425"/>
                </a:lnTo>
                <a:close/>
              </a:path>
            </a:pathLst>
          </a:custGeom>
          <a:noFill/>
          <a:ln w="12700" cap="flat" cmpd="sng">
            <a:solidFill>
              <a:srgbClr val="1C488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293" name="Google Shape;4293;p11"/>
          <p:cNvSpPr txBox="1"/>
          <p:nvPr/>
        </p:nvSpPr>
        <p:spPr>
          <a:xfrm>
            <a:off x="4962525" y="4733353"/>
            <a:ext cx="1363980" cy="5137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25" rIns="0" bIns="0" anchor="t" anchorCtr="0">
            <a:spAutoFit/>
          </a:bodyPr>
          <a:lstStyle/>
          <a:p>
            <a:pPr marL="258445" marR="5080" lvl="0" indent="-246379" algn="l" rtl="0">
              <a:lnSpc>
                <a:spcPct val="1049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Healthcare Data Utilization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4" name="Google Shape;4294;p11"/>
          <p:cNvSpPr/>
          <p:nvPr/>
        </p:nvSpPr>
        <p:spPr>
          <a:xfrm>
            <a:off x="6548501" y="862075"/>
            <a:ext cx="5534025" cy="590550"/>
          </a:xfrm>
          <a:custGeom>
            <a:avLst/>
            <a:gdLst/>
            <a:ahLst/>
            <a:cxnLst/>
            <a:rect l="l" t="t" r="r" b="b"/>
            <a:pathLst>
              <a:path w="5534025" h="590550" extrusionOk="0">
                <a:moveTo>
                  <a:pt x="0" y="98425"/>
                </a:moveTo>
                <a:lnTo>
                  <a:pt x="7717" y="60061"/>
                </a:lnTo>
                <a:lnTo>
                  <a:pt x="28781" y="28781"/>
                </a:lnTo>
                <a:lnTo>
                  <a:pt x="60061" y="7717"/>
                </a:lnTo>
                <a:lnTo>
                  <a:pt x="98425" y="0"/>
                </a:lnTo>
                <a:lnTo>
                  <a:pt x="5435600" y="0"/>
                </a:lnTo>
                <a:lnTo>
                  <a:pt x="5473910" y="7717"/>
                </a:lnTo>
                <a:lnTo>
                  <a:pt x="5505196" y="28781"/>
                </a:lnTo>
                <a:lnTo>
                  <a:pt x="5526289" y="60061"/>
                </a:lnTo>
                <a:lnTo>
                  <a:pt x="5534025" y="98425"/>
                </a:lnTo>
                <a:lnTo>
                  <a:pt x="5534025" y="491998"/>
                </a:lnTo>
                <a:lnTo>
                  <a:pt x="5526289" y="530381"/>
                </a:lnTo>
                <a:lnTo>
                  <a:pt x="5505195" y="561705"/>
                </a:lnTo>
                <a:lnTo>
                  <a:pt x="5473910" y="582812"/>
                </a:lnTo>
                <a:lnTo>
                  <a:pt x="5435600" y="590550"/>
                </a:lnTo>
                <a:lnTo>
                  <a:pt x="98425" y="590550"/>
                </a:lnTo>
                <a:lnTo>
                  <a:pt x="60061" y="582812"/>
                </a:lnTo>
                <a:lnTo>
                  <a:pt x="28781" y="561705"/>
                </a:lnTo>
                <a:lnTo>
                  <a:pt x="7717" y="530381"/>
                </a:lnTo>
                <a:lnTo>
                  <a:pt x="0" y="491998"/>
                </a:lnTo>
                <a:lnTo>
                  <a:pt x="0" y="98425"/>
                </a:lnTo>
                <a:close/>
              </a:path>
            </a:pathLst>
          </a:custGeom>
          <a:noFill/>
          <a:ln w="12700" cap="flat" cmpd="sng">
            <a:solidFill>
              <a:srgbClr val="1C488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295" name="Google Shape;4295;p11"/>
          <p:cNvSpPr txBox="1"/>
          <p:nvPr/>
        </p:nvSpPr>
        <p:spPr>
          <a:xfrm>
            <a:off x="6656069" y="918781"/>
            <a:ext cx="4769485" cy="4533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298450" lvl="0" indent="-285750" algn="l" rtl="0">
              <a:lnSpc>
                <a:spcPct val="118857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Equitable and Respectful Care Education and Implementation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  <a:p>
            <a:pPr marL="298450" lvl="0" indent="-285750" algn="l" rtl="0">
              <a:lnSpc>
                <a:spcPct val="118857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Safe Sleep Environment Education and Implementation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6" name="Google Shape;4296;p11"/>
          <p:cNvSpPr txBox="1"/>
          <p:nvPr/>
        </p:nvSpPr>
        <p:spPr>
          <a:xfrm>
            <a:off x="8057515" y="298132"/>
            <a:ext cx="2051685" cy="3003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rPr>
              <a:t>Secondary Drivers</a:t>
            </a:r>
            <a:endParaRPr sz="18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97" name="Google Shape;4297;p11"/>
          <p:cNvSpPr/>
          <p:nvPr/>
        </p:nvSpPr>
        <p:spPr>
          <a:xfrm>
            <a:off x="6605651" y="1719326"/>
            <a:ext cx="5486400" cy="733425"/>
          </a:xfrm>
          <a:custGeom>
            <a:avLst/>
            <a:gdLst/>
            <a:ahLst/>
            <a:cxnLst/>
            <a:rect l="l" t="t" r="r" b="b"/>
            <a:pathLst>
              <a:path w="5486400" h="733425" extrusionOk="0">
                <a:moveTo>
                  <a:pt x="0" y="122174"/>
                </a:moveTo>
                <a:lnTo>
                  <a:pt x="9588" y="74580"/>
                </a:lnTo>
                <a:lnTo>
                  <a:pt x="35750" y="35750"/>
                </a:lnTo>
                <a:lnTo>
                  <a:pt x="74580" y="9588"/>
                </a:lnTo>
                <a:lnTo>
                  <a:pt x="122174" y="0"/>
                </a:lnTo>
                <a:lnTo>
                  <a:pt x="5364099" y="0"/>
                </a:lnTo>
                <a:lnTo>
                  <a:pt x="5411712" y="9588"/>
                </a:lnTo>
                <a:lnTo>
                  <a:pt x="5450586" y="35750"/>
                </a:lnTo>
                <a:lnTo>
                  <a:pt x="5476791" y="74580"/>
                </a:lnTo>
                <a:lnTo>
                  <a:pt x="5486400" y="122174"/>
                </a:lnTo>
                <a:lnTo>
                  <a:pt x="5486400" y="611124"/>
                </a:lnTo>
                <a:lnTo>
                  <a:pt x="5476791" y="658737"/>
                </a:lnTo>
                <a:lnTo>
                  <a:pt x="5450586" y="697611"/>
                </a:lnTo>
                <a:lnTo>
                  <a:pt x="5411712" y="723816"/>
                </a:lnTo>
                <a:lnTo>
                  <a:pt x="5364099" y="733425"/>
                </a:lnTo>
                <a:lnTo>
                  <a:pt x="122174" y="733425"/>
                </a:lnTo>
                <a:lnTo>
                  <a:pt x="74580" y="723816"/>
                </a:lnTo>
                <a:lnTo>
                  <a:pt x="35750" y="697611"/>
                </a:lnTo>
                <a:lnTo>
                  <a:pt x="9588" y="658737"/>
                </a:lnTo>
                <a:lnTo>
                  <a:pt x="0" y="611124"/>
                </a:lnTo>
                <a:lnTo>
                  <a:pt x="0" y="122174"/>
                </a:lnTo>
                <a:close/>
              </a:path>
            </a:pathLst>
          </a:custGeom>
          <a:noFill/>
          <a:ln w="12700" cap="flat" cmpd="sng">
            <a:solidFill>
              <a:srgbClr val="1C488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298" name="Google Shape;4298;p11"/>
          <p:cNvSpPr txBox="1"/>
          <p:nvPr/>
        </p:nvSpPr>
        <p:spPr>
          <a:xfrm>
            <a:off x="6722491" y="1730692"/>
            <a:ext cx="2915285" cy="2432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29845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Equitable and Inclusive Unit Policies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9" name="Google Shape;4299;p11"/>
          <p:cNvSpPr txBox="1"/>
          <p:nvPr/>
        </p:nvSpPr>
        <p:spPr>
          <a:xfrm>
            <a:off x="6722491" y="1950148"/>
            <a:ext cx="3711575" cy="452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298450" lvl="0" indent="-285750" algn="l" rtl="0">
              <a:lnSpc>
                <a:spcPct val="118857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Organizational Leadership Commitment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  <a:p>
            <a:pPr marL="298450" lvl="0" indent="-285750" algn="l" rtl="0">
              <a:lnSpc>
                <a:spcPct val="118857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 b="1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Parent and Caregiver Experience Prioritization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00" name="Google Shape;4300;p11"/>
          <p:cNvSpPr/>
          <p:nvPr/>
        </p:nvSpPr>
        <p:spPr>
          <a:xfrm>
            <a:off x="6615176" y="2709926"/>
            <a:ext cx="5577205" cy="790575"/>
          </a:xfrm>
          <a:custGeom>
            <a:avLst/>
            <a:gdLst/>
            <a:ahLst/>
            <a:cxnLst/>
            <a:rect l="l" t="t" r="r" b="b"/>
            <a:pathLst>
              <a:path w="5577205" h="790575" extrusionOk="0">
                <a:moveTo>
                  <a:pt x="5576824" y="754070"/>
                </a:moveTo>
                <a:lnTo>
                  <a:pt x="5565763" y="765130"/>
                </a:lnTo>
                <a:lnTo>
                  <a:pt x="5529577" y="783851"/>
                </a:lnTo>
                <a:lnTo>
                  <a:pt x="5487924" y="790575"/>
                </a:lnTo>
                <a:lnTo>
                  <a:pt x="131699" y="790575"/>
                </a:lnTo>
                <a:lnTo>
                  <a:pt x="90058" y="783851"/>
                </a:lnTo>
                <a:lnTo>
                  <a:pt x="53903" y="765130"/>
                </a:lnTo>
                <a:lnTo>
                  <a:pt x="25399" y="736588"/>
                </a:lnTo>
                <a:lnTo>
                  <a:pt x="6710" y="700402"/>
                </a:lnTo>
                <a:lnTo>
                  <a:pt x="0" y="658749"/>
                </a:lnTo>
                <a:lnTo>
                  <a:pt x="0" y="131699"/>
                </a:lnTo>
                <a:lnTo>
                  <a:pt x="6710" y="90058"/>
                </a:lnTo>
                <a:lnTo>
                  <a:pt x="25400" y="53903"/>
                </a:lnTo>
                <a:lnTo>
                  <a:pt x="53903" y="25400"/>
                </a:lnTo>
                <a:lnTo>
                  <a:pt x="90058" y="6710"/>
                </a:lnTo>
                <a:lnTo>
                  <a:pt x="131699" y="0"/>
                </a:lnTo>
                <a:lnTo>
                  <a:pt x="5487924" y="0"/>
                </a:lnTo>
                <a:lnTo>
                  <a:pt x="5529577" y="6710"/>
                </a:lnTo>
                <a:lnTo>
                  <a:pt x="5565763" y="25400"/>
                </a:lnTo>
                <a:lnTo>
                  <a:pt x="5576824" y="36445"/>
                </a:lnTo>
              </a:path>
            </a:pathLst>
          </a:custGeom>
          <a:noFill/>
          <a:ln w="12700" cap="flat" cmpd="sng">
            <a:solidFill>
              <a:srgbClr val="1C488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01" name="Google Shape;4301;p11"/>
          <p:cNvSpPr txBox="1"/>
          <p:nvPr/>
        </p:nvSpPr>
        <p:spPr>
          <a:xfrm>
            <a:off x="6734556" y="2754629"/>
            <a:ext cx="5252085" cy="671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29845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Respectful Parent and Caregiver Partnerships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  <a:p>
            <a:pPr marL="298450" lvl="0" indent="-285750" algn="l" rtl="0">
              <a:lnSpc>
                <a:spcPct val="118857"/>
              </a:lnSpc>
              <a:spcBef>
                <a:spcPts val="45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Safe Sleep Awareness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  <a:p>
            <a:pPr marL="298450" lvl="0" indent="-285750" algn="l" rtl="0">
              <a:lnSpc>
                <a:spcPct val="118857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Transition to Home, including SDoH Screening and Resource Linkage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02" name="Google Shape;4302;p11"/>
          <p:cNvSpPr/>
          <p:nvPr/>
        </p:nvSpPr>
        <p:spPr>
          <a:xfrm>
            <a:off x="6615176" y="3671951"/>
            <a:ext cx="5467350" cy="790575"/>
          </a:xfrm>
          <a:custGeom>
            <a:avLst/>
            <a:gdLst/>
            <a:ahLst/>
            <a:cxnLst/>
            <a:rect l="l" t="t" r="r" b="b"/>
            <a:pathLst>
              <a:path w="5467350" h="790575" extrusionOk="0">
                <a:moveTo>
                  <a:pt x="0" y="131699"/>
                </a:moveTo>
                <a:lnTo>
                  <a:pt x="6710" y="90058"/>
                </a:lnTo>
                <a:lnTo>
                  <a:pt x="25400" y="53903"/>
                </a:lnTo>
                <a:lnTo>
                  <a:pt x="53903" y="25400"/>
                </a:lnTo>
                <a:lnTo>
                  <a:pt x="90058" y="6710"/>
                </a:lnTo>
                <a:lnTo>
                  <a:pt x="131699" y="0"/>
                </a:lnTo>
                <a:lnTo>
                  <a:pt x="5335524" y="0"/>
                </a:lnTo>
                <a:lnTo>
                  <a:pt x="5377177" y="6710"/>
                </a:lnTo>
                <a:lnTo>
                  <a:pt x="5413363" y="25400"/>
                </a:lnTo>
                <a:lnTo>
                  <a:pt x="5441905" y="53903"/>
                </a:lnTo>
                <a:lnTo>
                  <a:pt x="5460626" y="90058"/>
                </a:lnTo>
                <a:lnTo>
                  <a:pt x="5467350" y="131699"/>
                </a:lnTo>
                <a:lnTo>
                  <a:pt x="5467350" y="658749"/>
                </a:lnTo>
                <a:lnTo>
                  <a:pt x="5460626" y="700402"/>
                </a:lnTo>
                <a:lnTo>
                  <a:pt x="5441905" y="736588"/>
                </a:lnTo>
                <a:lnTo>
                  <a:pt x="5413363" y="765130"/>
                </a:lnTo>
                <a:lnTo>
                  <a:pt x="5377177" y="783851"/>
                </a:lnTo>
                <a:lnTo>
                  <a:pt x="5335524" y="790575"/>
                </a:lnTo>
                <a:lnTo>
                  <a:pt x="131699" y="790575"/>
                </a:lnTo>
                <a:lnTo>
                  <a:pt x="90058" y="783851"/>
                </a:lnTo>
                <a:lnTo>
                  <a:pt x="53903" y="765130"/>
                </a:lnTo>
                <a:lnTo>
                  <a:pt x="25399" y="736588"/>
                </a:lnTo>
                <a:lnTo>
                  <a:pt x="6710" y="700402"/>
                </a:lnTo>
                <a:lnTo>
                  <a:pt x="0" y="658749"/>
                </a:lnTo>
                <a:lnTo>
                  <a:pt x="0" y="131699"/>
                </a:lnTo>
                <a:close/>
              </a:path>
            </a:pathLst>
          </a:custGeom>
          <a:noFill/>
          <a:ln w="12700" cap="flat" cmpd="sng">
            <a:solidFill>
              <a:srgbClr val="1C488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03" name="Google Shape;4303;p11"/>
          <p:cNvSpPr txBox="1"/>
          <p:nvPr/>
        </p:nvSpPr>
        <p:spPr>
          <a:xfrm>
            <a:off x="6728841" y="3723322"/>
            <a:ext cx="4193540" cy="662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298450" lvl="0" indent="-285750" algn="l" rtl="0">
              <a:lnSpc>
                <a:spcPct val="118857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Resource Mapping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  <a:p>
            <a:pPr marL="298450" lvl="0" indent="-285750" algn="l" rtl="0">
              <a:lnSpc>
                <a:spcPct val="118214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Building Relationships with Community Organizations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  <a:p>
            <a:pPr marL="298450" lvl="0" indent="-285750" algn="l" rtl="0">
              <a:lnSpc>
                <a:spcPct val="118857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Transfer of Care to Community Providers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304" name="Google Shape;4304;p11"/>
          <p:cNvGrpSpPr/>
          <p:nvPr/>
        </p:nvGrpSpPr>
        <p:grpSpPr>
          <a:xfrm>
            <a:off x="6615176" y="4633976"/>
            <a:ext cx="5467350" cy="733425"/>
            <a:chOff x="6615176" y="4633976"/>
            <a:chExt cx="5467350" cy="733425"/>
          </a:xfrm>
        </p:grpSpPr>
        <p:sp>
          <p:nvSpPr>
            <p:cNvPr id="4305" name="Google Shape;4305;p11"/>
            <p:cNvSpPr/>
            <p:nvPr/>
          </p:nvSpPr>
          <p:spPr>
            <a:xfrm>
              <a:off x="6615176" y="4633976"/>
              <a:ext cx="5467350" cy="733425"/>
            </a:xfrm>
            <a:custGeom>
              <a:avLst/>
              <a:gdLst/>
              <a:ahLst/>
              <a:cxnLst/>
              <a:rect l="l" t="t" r="r" b="b"/>
              <a:pathLst>
                <a:path w="5467350" h="733425" extrusionOk="0">
                  <a:moveTo>
                    <a:pt x="0" y="122174"/>
                  </a:moveTo>
                  <a:lnTo>
                    <a:pt x="9588" y="74580"/>
                  </a:lnTo>
                  <a:lnTo>
                    <a:pt x="35750" y="35750"/>
                  </a:lnTo>
                  <a:lnTo>
                    <a:pt x="74580" y="9588"/>
                  </a:lnTo>
                  <a:lnTo>
                    <a:pt x="122174" y="0"/>
                  </a:lnTo>
                  <a:lnTo>
                    <a:pt x="5345049" y="0"/>
                  </a:lnTo>
                  <a:lnTo>
                    <a:pt x="5392662" y="9588"/>
                  </a:lnTo>
                  <a:lnTo>
                    <a:pt x="5431536" y="35750"/>
                  </a:lnTo>
                  <a:lnTo>
                    <a:pt x="5457741" y="74580"/>
                  </a:lnTo>
                  <a:lnTo>
                    <a:pt x="5467350" y="122174"/>
                  </a:lnTo>
                  <a:lnTo>
                    <a:pt x="5467350" y="611124"/>
                  </a:lnTo>
                  <a:lnTo>
                    <a:pt x="5457741" y="658737"/>
                  </a:lnTo>
                  <a:lnTo>
                    <a:pt x="5431536" y="697610"/>
                  </a:lnTo>
                  <a:lnTo>
                    <a:pt x="5392662" y="723816"/>
                  </a:lnTo>
                  <a:lnTo>
                    <a:pt x="5345049" y="733425"/>
                  </a:lnTo>
                  <a:lnTo>
                    <a:pt x="122174" y="733425"/>
                  </a:lnTo>
                  <a:lnTo>
                    <a:pt x="74580" y="723816"/>
                  </a:lnTo>
                  <a:lnTo>
                    <a:pt x="35750" y="697610"/>
                  </a:lnTo>
                  <a:lnTo>
                    <a:pt x="9588" y="658737"/>
                  </a:lnTo>
                  <a:lnTo>
                    <a:pt x="0" y="611124"/>
                  </a:lnTo>
                  <a:lnTo>
                    <a:pt x="0" y="122174"/>
                  </a:lnTo>
                  <a:close/>
                </a:path>
              </a:pathLst>
            </a:custGeom>
            <a:noFill/>
            <a:ln w="12700" cap="flat" cmpd="sng">
              <a:solidFill>
                <a:srgbClr val="1C488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306" name="Google Shape;4306;p11"/>
            <p:cNvSpPr/>
            <p:nvPr/>
          </p:nvSpPr>
          <p:spPr>
            <a:xfrm>
              <a:off x="9980295" y="5094731"/>
              <a:ext cx="908050" cy="219075"/>
            </a:xfrm>
            <a:custGeom>
              <a:avLst/>
              <a:gdLst/>
              <a:ahLst/>
              <a:cxnLst/>
              <a:rect l="l" t="t" r="r" b="b"/>
              <a:pathLst>
                <a:path w="908050" h="219075" extrusionOk="0">
                  <a:moveTo>
                    <a:pt x="907986" y="0"/>
                  </a:moveTo>
                  <a:lnTo>
                    <a:pt x="39687" y="0"/>
                  </a:lnTo>
                  <a:lnTo>
                    <a:pt x="0" y="0"/>
                  </a:lnTo>
                  <a:lnTo>
                    <a:pt x="0" y="219075"/>
                  </a:lnTo>
                  <a:lnTo>
                    <a:pt x="39624" y="219075"/>
                  </a:lnTo>
                  <a:lnTo>
                    <a:pt x="907986" y="219075"/>
                  </a:lnTo>
                  <a:lnTo>
                    <a:pt x="907986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307" name="Google Shape;4307;p11"/>
          <p:cNvSpPr txBox="1"/>
          <p:nvPr/>
        </p:nvSpPr>
        <p:spPr>
          <a:xfrm>
            <a:off x="6728841" y="4620386"/>
            <a:ext cx="4242435" cy="662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298450" lvl="0" indent="-285750" algn="l" rtl="0">
              <a:lnSpc>
                <a:spcPct val="118857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 dirty="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Collection of Accurate Race and Ethnicity Data</a:t>
            </a:r>
            <a:endParaRPr sz="1400" dirty="0">
              <a:latin typeface="Calibri"/>
              <a:ea typeface="Calibri"/>
              <a:cs typeface="Calibri"/>
              <a:sym typeface="Calibri"/>
            </a:endParaRPr>
          </a:p>
          <a:p>
            <a:pPr marL="298450" lvl="0" indent="-285750" algn="l" rtl="0">
              <a:lnSpc>
                <a:spcPct val="118214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 dirty="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Dissemination of Stratified Data</a:t>
            </a:r>
            <a:endParaRPr sz="1400" dirty="0">
              <a:latin typeface="Calibri"/>
              <a:ea typeface="Calibri"/>
              <a:cs typeface="Calibri"/>
              <a:sym typeface="Calibri"/>
            </a:endParaRPr>
          </a:p>
          <a:p>
            <a:pPr marL="298450" lvl="0" indent="-285750" algn="l" rtl="0">
              <a:lnSpc>
                <a:spcPct val="118857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 dirty="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Application of Data to Address Inequities </a:t>
            </a:r>
            <a:r>
              <a:rPr lang="en-US" sz="1400" b="1" dirty="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[September]</a:t>
            </a:r>
            <a:endParaRPr sz="1400" dirty="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308" name="Google Shape;4308;p11"/>
          <p:cNvGrpSpPr/>
          <p:nvPr/>
        </p:nvGrpSpPr>
        <p:grpSpPr>
          <a:xfrm>
            <a:off x="2986151" y="5815012"/>
            <a:ext cx="1057275" cy="600075"/>
            <a:chOff x="2986151" y="5815012"/>
            <a:chExt cx="1057275" cy="600075"/>
          </a:xfrm>
        </p:grpSpPr>
        <p:sp>
          <p:nvSpPr>
            <p:cNvPr id="4309" name="Google Shape;4309;p11"/>
            <p:cNvSpPr/>
            <p:nvPr/>
          </p:nvSpPr>
          <p:spPr>
            <a:xfrm>
              <a:off x="2986151" y="5815012"/>
              <a:ext cx="1057275" cy="600075"/>
            </a:xfrm>
            <a:custGeom>
              <a:avLst/>
              <a:gdLst/>
              <a:ahLst/>
              <a:cxnLst/>
              <a:rect l="l" t="t" r="r" b="b"/>
              <a:pathLst>
                <a:path w="1057275" h="600075" extrusionOk="0">
                  <a:moveTo>
                    <a:pt x="957199" y="0"/>
                  </a:moveTo>
                  <a:lnTo>
                    <a:pt x="99949" y="0"/>
                  </a:lnTo>
                  <a:lnTo>
                    <a:pt x="61025" y="7859"/>
                  </a:lnTo>
                  <a:lnTo>
                    <a:pt x="29257" y="29294"/>
                  </a:lnTo>
                  <a:lnTo>
                    <a:pt x="7848" y="61084"/>
                  </a:lnTo>
                  <a:lnTo>
                    <a:pt x="0" y="100012"/>
                  </a:lnTo>
                  <a:lnTo>
                    <a:pt x="0" y="500062"/>
                  </a:lnTo>
                  <a:lnTo>
                    <a:pt x="7848" y="538990"/>
                  </a:lnTo>
                  <a:lnTo>
                    <a:pt x="29257" y="570780"/>
                  </a:lnTo>
                  <a:lnTo>
                    <a:pt x="61025" y="592215"/>
                  </a:lnTo>
                  <a:lnTo>
                    <a:pt x="99949" y="600075"/>
                  </a:lnTo>
                  <a:lnTo>
                    <a:pt x="957199" y="600075"/>
                  </a:lnTo>
                  <a:lnTo>
                    <a:pt x="996142" y="592215"/>
                  </a:lnTo>
                  <a:lnTo>
                    <a:pt x="1027953" y="570780"/>
                  </a:lnTo>
                  <a:lnTo>
                    <a:pt x="1049406" y="538990"/>
                  </a:lnTo>
                  <a:lnTo>
                    <a:pt x="1057275" y="500062"/>
                  </a:lnTo>
                  <a:lnTo>
                    <a:pt x="1057275" y="100012"/>
                  </a:lnTo>
                  <a:lnTo>
                    <a:pt x="1049406" y="61084"/>
                  </a:lnTo>
                  <a:lnTo>
                    <a:pt x="1027953" y="29294"/>
                  </a:lnTo>
                  <a:lnTo>
                    <a:pt x="996142" y="7859"/>
                  </a:lnTo>
                  <a:lnTo>
                    <a:pt x="957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310" name="Google Shape;4310;p11"/>
            <p:cNvSpPr/>
            <p:nvPr/>
          </p:nvSpPr>
          <p:spPr>
            <a:xfrm>
              <a:off x="2986151" y="5815012"/>
              <a:ext cx="1057275" cy="600075"/>
            </a:xfrm>
            <a:custGeom>
              <a:avLst/>
              <a:gdLst/>
              <a:ahLst/>
              <a:cxnLst/>
              <a:rect l="l" t="t" r="r" b="b"/>
              <a:pathLst>
                <a:path w="1057275" h="600075" extrusionOk="0">
                  <a:moveTo>
                    <a:pt x="0" y="100012"/>
                  </a:moveTo>
                  <a:lnTo>
                    <a:pt x="7848" y="61084"/>
                  </a:lnTo>
                  <a:lnTo>
                    <a:pt x="29257" y="29294"/>
                  </a:lnTo>
                  <a:lnTo>
                    <a:pt x="61025" y="7859"/>
                  </a:lnTo>
                  <a:lnTo>
                    <a:pt x="99949" y="0"/>
                  </a:lnTo>
                  <a:lnTo>
                    <a:pt x="957199" y="0"/>
                  </a:lnTo>
                  <a:lnTo>
                    <a:pt x="996142" y="7859"/>
                  </a:lnTo>
                  <a:lnTo>
                    <a:pt x="1027953" y="29294"/>
                  </a:lnTo>
                  <a:lnTo>
                    <a:pt x="1049406" y="61084"/>
                  </a:lnTo>
                  <a:lnTo>
                    <a:pt x="1057275" y="100012"/>
                  </a:lnTo>
                  <a:lnTo>
                    <a:pt x="1057275" y="500062"/>
                  </a:lnTo>
                  <a:lnTo>
                    <a:pt x="1049406" y="538990"/>
                  </a:lnTo>
                  <a:lnTo>
                    <a:pt x="1027953" y="570780"/>
                  </a:lnTo>
                  <a:lnTo>
                    <a:pt x="996142" y="592215"/>
                  </a:lnTo>
                  <a:lnTo>
                    <a:pt x="957199" y="600075"/>
                  </a:lnTo>
                  <a:lnTo>
                    <a:pt x="99949" y="600075"/>
                  </a:lnTo>
                  <a:lnTo>
                    <a:pt x="61025" y="592215"/>
                  </a:lnTo>
                  <a:lnTo>
                    <a:pt x="29257" y="570780"/>
                  </a:lnTo>
                  <a:lnTo>
                    <a:pt x="7848" y="538990"/>
                  </a:lnTo>
                  <a:lnTo>
                    <a:pt x="0" y="500062"/>
                  </a:lnTo>
                  <a:lnTo>
                    <a:pt x="0" y="100012"/>
                  </a:lnTo>
                  <a:close/>
                </a:path>
              </a:pathLst>
            </a:custGeom>
            <a:noFill/>
            <a:ln w="12700" cap="flat" cmpd="sng">
              <a:solidFill>
                <a:srgbClr val="1C488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311" name="Google Shape;4311;p11"/>
          <p:cNvSpPr txBox="1"/>
          <p:nvPr/>
        </p:nvSpPr>
        <p:spPr>
          <a:xfrm>
            <a:off x="3213735" y="5872162"/>
            <a:ext cx="593725" cy="462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ESSI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Bundle</a:t>
            </a: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: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312" name="Google Shape;4312;p11"/>
          <p:cNvGrpSpPr/>
          <p:nvPr/>
        </p:nvGrpSpPr>
        <p:grpSpPr>
          <a:xfrm>
            <a:off x="4195826" y="5510276"/>
            <a:ext cx="7905750" cy="1209675"/>
            <a:chOff x="4195826" y="5510276"/>
            <a:chExt cx="7905750" cy="1209675"/>
          </a:xfrm>
        </p:grpSpPr>
        <p:sp>
          <p:nvSpPr>
            <p:cNvPr id="4313" name="Google Shape;4313;p11"/>
            <p:cNvSpPr/>
            <p:nvPr/>
          </p:nvSpPr>
          <p:spPr>
            <a:xfrm>
              <a:off x="4195826" y="5510276"/>
              <a:ext cx="7905750" cy="1209675"/>
            </a:xfrm>
            <a:custGeom>
              <a:avLst/>
              <a:gdLst/>
              <a:ahLst/>
              <a:cxnLst/>
              <a:rect l="l" t="t" r="r" b="b"/>
              <a:pathLst>
                <a:path w="7905750" h="1209675" extrusionOk="0">
                  <a:moveTo>
                    <a:pt x="7704074" y="0"/>
                  </a:moveTo>
                  <a:lnTo>
                    <a:pt x="201549" y="0"/>
                  </a:lnTo>
                  <a:lnTo>
                    <a:pt x="155314" y="5321"/>
                  </a:lnTo>
                  <a:lnTo>
                    <a:pt x="112883" y="20480"/>
                  </a:lnTo>
                  <a:lnTo>
                    <a:pt x="75462" y="44269"/>
                  </a:lnTo>
                  <a:lnTo>
                    <a:pt x="44257" y="75478"/>
                  </a:lnTo>
                  <a:lnTo>
                    <a:pt x="20474" y="112900"/>
                  </a:lnTo>
                  <a:lnTo>
                    <a:pt x="5319" y="155326"/>
                  </a:lnTo>
                  <a:lnTo>
                    <a:pt x="0" y="201549"/>
                  </a:lnTo>
                  <a:lnTo>
                    <a:pt x="0" y="1007999"/>
                  </a:lnTo>
                  <a:lnTo>
                    <a:pt x="5319" y="1054228"/>
                  </a:lnTo>
                  <a:lnTo>
                    <a:pt x="20474" y="1096665"/>
                  </a:lnTo>
                  <a:lnTo>
                    <a:pt x="44257" y="1134099"/>
                  </a:lnTo>
                  <a:lnTo>
                    <a:pt x="75462" y="1165321"/>
                  </a:lnTo>
                  <a:lnTo>
                    <a:pt x="112883" y="1189120"/>
                  </a:lnTo>
                  <a:lnTo>
                    <a:pt x="155314" y="1204287"/>
                  </a:lnTo>
                  <a:lnTo>
                    <a:pt x="201549" y="1209611"/>
                  </a:lnTo>
                  <a:lnTo>
                    <a:pt x="7704074" y="1209611"/>
                  </a:lnTo>
                  <a:lnTo>
                    <a:pt x="7750315" y="1204287"/>
                  </a:lnTo>
                  <a:lnTo>
                    <a:pt x="7792764" y="1189120"/>
                  </a:lnTo>
                  <a:lnTo>
                    <a:pt x="7830210" y="1165321"/>
                  </a:lnTo>
                  <a:lnTo>
                    <a:pt x="7861442" y="1134099"/>
                  </a:lnTo>
                  <a:lnTo>
                    <a:pt x="7885250" y="1096665"/>
                  </a:lnTo>
                  <a:lnTo>
                    <a:pt x="7900423" y="1054228"/>
                  </a:lnTo>
                  <a:lnTo>
                    <a:pt x="7905750" y="1007999"/>
                  </a:lnTo>
                  <a:lnTo>
                    <a:pt x="7905750" y="201549"/>
                  </a:lnTo>
                  <a:lnTo>
                    <a:pt x="7900423" y="155326"/>
                  </a:lnTo>
                  <a:lnTo>
                    <a:pt x="7885250" y="112900"/>
                  </a:lnTo>
                  <a:lnTo>
                    <a:pt x="7861442" y="75478"/>
                  </a:lnTo>
                  <a:lnTo>
                    <a:pt x="7830210" y="44269"/>
                  </a:lnTo>
                  <a:lnTo>
                    <a:pt x="7792764" y="20480"/>
                  </a:lnTo>
                  <a:lnTo>
                    <a:pt x="7750315" y="5321"/>
                  </a:lnTo>
                  <a:lnTo>
                    <a:pt x="77040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314" name="Google Shape;4314;p11"/>
            <p:cNvSpPr/>
            <p:nvPr/>
          </p:nvSpPr>
          <p:spPr>
            <a:xfrm>
              <a:off x="4195826" y="5510276"/>
              <a:ext cx="7905750" cy="1209675"/>
            </a:xfrm>
            <a:custGeom>
              <a:avLst/>
              <a:gdLst/>
              <a:ahLst/>
              <a:cxnLst/>
              <a:rect l="l" t="t" r="r" b="b"/>
              <a:pathLst>
                <a:path w="7905750" h="1209675" extrusionOk="0">
                  <a:moveTo>
                    <a:pt x="0" y="201549"/>
                  </a:moveTo>
                  <a:lnTo>
                    <a:pt x="5319" y="155326"/>
                  </a:lnTo>
                  <a:lnTo>
                    <a:pt x="20474" y="112900"/>
                  </a:lnTo>
                  <a:lnTo>
                    <a:pt x="44257" y="75478"/>
                  </a:lnTo>
                  <a:lnTo>
                    <a:pt x="75462" y="44269"/>
                  </a:lnTo>
                  <a:lnTo>
                    <a:pt x="112883" y="20480"/>
                  </a:lnTo>
                  <a:lnTo>
                    <a:pt x="155314" y="5321"/>
                  </a:lnTo>
                  <a:lnTo>
                    <a:pt x="201549" y="0"/>
                  </a:lnTo>
                  <a:lnTo>
                    <a:pt x="7704074" y="0"/>
                  </a:lnTo>
                  <a:lnTo>
                    <a:pt x="7750315" y="5321"/>
                  </a:lnTo>
                  <a:lnTo>
                    <a:pt x="7792764" y="20480"/>
                  </a:lnTo>
                  <a:lnTo>
                    <a:pt x="7830210" y="44269"/>
                  </a:lnTo>
                  <a:lnTo>
                    <a:pt x="7861442" y="75478"/>
                  </a:lnTo>
                  <a:lnTo>
                    <a:pt x="7885250" y="112900"/>
                  </a:lnTo>
                  <a:lnTo>
                    <a:pt x="7900423" y="155326"/>
                  </a:lnTo>
                  <a:lnTo>
                    <a:pt x="7905750" y="201549"/>
                  </a:lnTo>
                  <a:lnTo>
                    <a:pt x="7905750" y="1007999"/>
                  </a:lnTo>
                  <a:lnTo>
                    <a:pt x="7900423" y="1054228"/>
                  </a:lnTo>
                  <a:lnTo>
                    <a:pt x="7885250" y="1096665"/>
                  </a:lnTo>
                  <a:lnTo>
                    <a:pt x="7861442" y="1134099"/>
                  </a:lnTo>
                  <a:lnTo>
                    <a:pt x="7830210" y="1165321"/>
                  </a:lnTo>
                  <a:lnTo>
                    <a:pt x="7792764" y="1189120"/>
                  </a:lnTo>
                  <a:lnTo>
                    <a:pt x="7750315" y="1204287"/>
                  </a:lnTo>
                  <a:lnTo>
                    <a:pt x="7704074" y="1209611"/>
                  </a:lnTo>
                  <a:lnTo>
                    <a:pt x="201549" y="1209611"/>
                  </a:lnTo>
                  <a:lnTo>
                    <a:pt x="155314" y="1204287"/>
                  </a:lnTo>
                  <a:lnTo>
                    <a:pt x="112883" y="1189120"/>
                  </a:lnTo>
                  <a:lnTo>
                    <a:pt x="75462" y="1165321"/>
                  </a:lnTo>
                  <a:lnTo>
                    <a:pt x="44257" y="1134099"/>
                  </a:lnTo>
                  <a:lnTo>
                    <a:pt x="20474" y="1096665"/>
                  </a:lnTo>
                  <a:lnTo>
                    <a:pt x="5319" y="1054228"/>
                  </a:lnTo>
                  <a:lnTo>
                    <a:pt x="0" y="1007999"/>
                  </a:lnTo>
                  <a:lnTo>
                    <a:pt x="0" y="201549"/>
                  </a:lnTo>
                  <a:close/>
                </a:path>
              </a:pathLst>
            </a:custGeom>
            <a:noFill/>
            <a:ln w="12700" cap="flat" cmpd="sng">
              <a:solidFill>
                <a:srgbClr val="1C488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315" name="Google Shape;4315;p11"/>
          <p:cNvSpPr txBox="1"/>
          <p:nvPr/>
        </p:nvSpPr>
        <p:spPr>
          <a:xfrm>
            <a:off x="4331715" y="5551804"/>
            <a:ext cx="7352665" cy="462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150" rIns="0" bIns="0" anchor="t" anchorCtr="0">
            <a:spAutoFit/>
          </a:bodyPr>
          <a:lstStyle/>
          <a:p>
            <a:pPr marL="298450" marR="5080" lvl="0" indent="-285750" algn="l" rtl="0">
              <a:lnSpc>
                <a:spcPct val="102800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 b="1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Awareness</a:t>
            </a: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: Parents or caregivers report an understanding of a safe sleep environment, including navigating challenges to safe sleep at home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16" name="Google Shape;4316;p11"/>
          <p:cNvSpPr txBox="1"/>
          <p:nvPr/>
        </p:nvSpPr>
        <p:spPr>
          <a:xfrm>
            <a:off x="4331715" y="5981065"/>
            <a:ext cx="7322184" cy="6724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150" rIns="0" bIns="0" anchor="t" anchorCtr="0">
            <a:spAutoFit/>
          </a:bodyPr>
          <a:lstStyle/>
          <a:p>
            <a:pPr marL="298450" marR="858519" lvl="0" indent="-285750" algn="l" rtl="0">
              <a:lnSpc>
                <a:spcPct val="102800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 b="1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Readiness</a:t>
            </a: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: Family is prepared for a transition to home, including SDoH screening and resource linkage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  <a:p>
            <a:pPr marL="297815" lvl="0" indent="-285115" algn="l" rtl="0">
              <a:lnSpc>
                <a:spcPct val="117857"/>
              </a:lnSpc>
              <a:spcBef>
                <a:spcPts val="0"/>
              </a:spcBef>
              <a:spcAft>
                <a:spcPts val="0"/>
              </a:spcAft>
              <a:buClr>
                <a:srgbClr val="444B54"/>
              </a:buClr>
              <a:buSzPts val="1400"/>
              <a:buFont typeface="Arial"/>
              <a:buChar char="•"/>
            </a:pPr>
            <a:r>
              <a:rPr lang="en-US" sz="1400" b="1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Transfer of Care</a:t>
            </a:r>
            <a:r>
              <a:rPr lang="en-US" sz="1400">
                <a:solidFill>
                  <a:srgbClr val="444B54"/>
                </a:solidFill>
                <a:latin typeface="Calibri"/>
                <a:ea typeface="Calibri"/>
                <a:cs typeface="Calibri"/>
                <a:sym typeface="Calibri"/>
              </a:rPr>
              <a:t>: ESSI Newborn Care Plan (Awareness &amp; Readiness) documented in the discharge</a:t>
            </a:r>
            <a:endParaRPr sz="14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17" name="Google Shape;4317;p11"/>
          <p:cNvSpPr/>
          <p:nvPr/>
        </p:nvSpPr>
        <p:spPr>
          <a:xfrm>
            <a:off x="4682236" y="4571100"/>
            <a:ext cx="7439025" cy="952500"/>
          </a:xfrm>
          <a:custGeom>
            <a:avLst/>
            <a:gdLst/>
            <a:ahLst/>
            <a:cxnLst/>
            <a:rect l="l" t="t" r="r" b="b"/>
            <a:pathLst>
              <a:path w="7439025" h="952500" extrusionOk="0">
                <a:moveTo>
                  <a:pt x="0" y="158750"/>
                </a:moveTo>
                <a:lnTo>
                  <a:pt x="8085" y="108541"/>
                </a:lnTo>
                <a:lnTo>
                  <a:pt x="30605" y="64958"/>
                </a:lnTo>
                <a:lnTo>
                  <a:pt x="64958" y="30605"/>
                </a:lnTo>
                <a:lnTo>
                  <a:pt x="108541" y="8085"/>
                </a:lnTo>
                <a:lnTo>
                  <a:pt x="158750" y="0"/>
                </a:lnTo>
                <a:lnTo>
                  <a:pt x="7280148" y="0"/>
                </a:lnTo>
                <a:lnTo>
                  <a:pt x="7330369" y="8085"/>
                </a:lnTo>
                <a:lnTo>
                  <a:pt x="7373983" y="30605"/>
                </a:lnTo>
                <a:lnTo>
                  <a:pt x="7408374" y="64958"/>
                </a:lnTo>
                <a:lnTo>
                  <a:pt x="7430926" y="108541"/>
                </a:lnTo>
                <a:lnTo>
                  <a:pt x="7439025" y="158750"/>
                </a:lnTo>
                <a:lnTo>
                  <a:pt x="7439025" y="793623"/>
                </a:lnTo>
                <a:lnTo>
                  <a:pt x="7430926" y="843844"/>
                </a:lnTo>
                <a:lnTo>
                  <a:pt x="7408374" y="887458"/>
                </a:lnTo>
                <a:lnTo>
                  <a:pt x="7373983" y="921849"/>
                </a:lnTo>
                <a:lnTo>
                  <a:pt x="7330369" y="944401"/>
                </a:lnTo>
                <a:lnTo>
                  <a:pt x="7280148" y="952500"/>
                </a:lnTo>
                <a:lnTo>
                  <a:pt x="158750" y="952500"/>
                </a:lnTo>
                <a:lnTo>
                  <a:pt x="108541" y="944401"/>
                </a:lnTo>
                <a:lnTo>
                  <a:pt x="64958" y="921849"/>
                </a:lnTo>
                <a:lnTo>
                  <a:pt x="30605" y="887458"/>
                </a:lnTo>
                <a:lnTo>
                  <a:pt x="8085" y="843844"/>
                </a:lnTo>
                <a:lnTo>
                  <a:pt x="0" y="793623"/>
                </a:lnTo>
                <a:lnTo>
                  <a:pt x="0" y="158750"/>
                </a:lnTo>
                <a:close/>
              </a:path>
            </a:pathLst>
          </a:custGeom>
          <a:noFill/>
          <a:ln w="28575" cap="flat" cmpd="sng">
            <a:solidFill>
              <a:srgbClr val="EE135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22" name="Google Shape;4322;p12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4077" y="2441433"/>
            <a:ext cx="1227694" cy="143282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323" name="Google Shape;4323;p12"/>
          <p:cNvGrpSpPr/>
          <p:nvPr/>
        </p:nvGrpSpPr>
        <p:grpSpPr>
          <a:xfrm>
            <a:off x="5705475" y="1524000"/>
            <a:ext cx="5534025" cy="5191125"/>
            <a:chOff x="5705475" y="1524000"/>
            <a:chExt cx="5534025" cy="5191125"/>
          </a:xfrm>
        </p:grpSpPr>
        <p:pic>
          <p:nvPicPr>
            <p:cNvPr id="4324" name="Google Shape;4324;p12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34075" y="5124450"/>
              <a:ext cx="5153025" cy="15906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325" name="Google Shape;4325;p12"/>
            <p:cNvSpPr/>
            <p:nvPr/>
          </p:nvSpPr>
          <p:spPr>
            <a:xfrm>
              <a:off x="5781675" y="5495925"/>
              <a:ext cx="5457825" cy="1085850"/>
            </a:xfrm>
            <a:custGeom>
              <a:avLst/>
              <a:gdLst/>
              <a:ahLst/>
              <a:cxnLst/>
              <a:rect l="l" t="t" r="r" b="b"/>
              <a:pathLst>
                <a:path w="5457825" h="1085850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39"/>
                  </a:lnTo>
                  <a:lnTo>
                    <a:pt x="21018" y="21018"/>
                  </a:lnTo>
                  <a:lnTo>
                    <a:pt x="5639" y="43826"/>
                  </a:lnTo>
                  <a:lnTo>
                    <a:pt x="0" y="71755"/>
                  </a:lnTo>
                  <a:lnTo>
                    <a:pt x="0" y="1014044"/>
                  </a:lnTo>
                  <a:lnTo>
                    <a:pt x="5639" y="1041996"/>
                  </a:lnTo>
                  <a:lnTo>
                    <a:pt x="21018" y="1064820"/>
                  </a:lnTo>
                  <a:lnTo>
                    <a:pt x="43826" y="1080207"/>
                  </a:lnTo>
                  <a:lnTo>
                    <a:pt x="71754" y="1085850"/>
                  </a:lnTo>
                  <a:lnTo>
                    <a:pt x="5386070" y="1085850"/>
                  </a:lnTo>
                  <a:lnTo>
                    <a:pt x="5413998" y="1080207"/>
                  </a:lnTo>
                  <a:lnTo>
                    <a:pt x="5436806" y="1064820"/>
                  </a:lnTo>
                  <a:lnTo>
                    <a:pt x="5452185" y="1041996"/>
                  </a:lnTo>
                  <a:lnTo>
                    <a:pt x="5457825" y="1014044"/>
                  </a:lnTo>
                  <a:lnTo>
                    <a:pt x="5457825" y="71755"/>
                  </a:lnTo>
                  <a:lnTo>
                    <a:pt x="5452185" y="43826"/>
                  </a:lnTo>
                  <a:lnTo>
                    <a:pt x="5436806" y="21018"/>
                  </a:lnTo>
                  <a:lnTo>
                    <a:pt x="5413998" y="5639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FFC54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326" name="Google Shape;4326;p12"/>
            <p:cNvPicPr preferRelativeResize="0"/>
            <p:nvPr/>
          </p:nvPicPr>
          <p:blipFill rotWithShape="1">
            <a:blip r:embed="rId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34075" y="3743325"/>
              <a:ext cx="5153025" cy="159893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327" name="Google Shape;4327;p12"/>
            <p:cNvSpPr/>
            <p:nvPr/>
          </p:nvSpPr>
          <p:spPr>
            <a:xfrm>
              <a:off x="5781675" y="4324350"/>
              <a:ext cx="5457825" cy="1085850"/>
            </a:xfrm>
            <a:custGeom>
              <a:avLst/>
              <a:gdLst/>
              <a:ahLst/>
              <a:cxnLst/>
              <a:rect l="l" t="t" r="r" b="b"/>
              <a:pathLst>
                <a:path w="5457825" h="1085850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39"/>
                  </a:lnTo>
                  <a:lnTo>
                    <a:pt x="21018" y="21018"/>
                  </a:lnTo>
                  <a:lnTo>
                    <a:pt x="5639" y="43826"/>
                  </a:lnTo>
                  <a:lnTo>
                    <a:pt x="0" y="71755"/>
                  </a:lnTo>
                  <a:lnTo>
                    <a:pt x="0" y="1014094"/>
                  </a:lnTo>
                  <a:lnTo>
                    <a:pt x="5639" y="1042023"/>
                  </a:lnTo>
                  <a:lnTo>
                    <a:pt x="21018" y="1064831"/>
                  </a:lnTo>
                  <a:lnTo>
                    <a:pt x="43826" y="1080210"/>
                  </a:lnTo>
                  <a:lnTo>
                    <a:pt x="71754" y="1085850"/>
                  </a:lnTo>
                  <a:lnTo>
                    <a:pt x="5386070" y="1085850"/>
                  </a:lnTo>
                  <a:lnTo>
                    <a:pt x="5413998" y="1080210"/>
                  </a:lnTo>
                  <a:lnTo>
                    <a:pt x="5436806" y="1064831"/>
                  </a:lnTo>
                  <a:lnTo>
                    <a:pt x="5452185" y="1042023"/>
                  </a:lnTo>
                  <a:lnTo>
                    <a:pt x="5457825" y="1014094"/>
                  </a:lnTo>
                  <a:lnTo>
                    <a:pt x="5457825" y="71755"/>
                  </a:lnTo>
                  <a:lnTo>
                    <a:pt x="5452185" y="43826"/>
                  </a:lnTo>
                  <a:lnTo>
                    <a:pt x="5436806" y="21018"/>
                  </a:lnTo>
                  <a:lnTo>
                    <a:pt x="5413998" y="5639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BC4291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328" name="Google Shape;4328;p12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34075" y="2362200"/>
              <a:ext cx="5153025" cy="15906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329" name="Google Shape;4329;p12"/>
            <p:cNvSpPr/>
            <p:nvPr/>
          </p:nvSpPr>
          <p:spPr>
            <a:xfrm>
              <a:off x="5705475" y="1524000"/>
              <a:ext cx="5457825" cy="1085850"/>
            </a:xfrm>
            <a:custGeom>
              <a:avLst/>
              <a:gdLst/>
              <a:ahLst/>
              <a:cxnLst/>
              <a:rect l="l" t="t" r="r" b="b"/>
              <a:pathLst>
                <a:path w="5457825" h="1085850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39"/>
                  </a:lnTo>
                  <a:lnTo>
                    <a:pt x="21018" y="21018"/>
                  </a:lnTo>
                  <a:lnTo>
                    <a:pt x="5639" y="43826"/>
                  </a:lnTo>
                  <a:lnTo>
                    <a:pt x="0" y="71754"/>
                  </a:lnTo>
                  <a:lnTo>
                    <a:pt x="0" y="1014095"/>
                  </a:lnTo>
                  <a:lnTo>
                    <a:pt x="5639" y="1042023"/>
                  </a:lnTo>
                  <a:lnTo>
                    <a:pt x="21018" y="1064831"/>
                  </a:lnTo>
                  <a:lnTo>
                    <a:pt x="43826" y="1080210"/>
                  </a:lnTo>
                  <a:lnTo>
                    <a:pt x="71754" y="1085850"/>
                  </a:lnTo>
                  <a:lnTo>
                    <a:pt x="5386070" y="1085850"/>
                  </a:lnTo>
                  <a:lnTo>
                    <a:pt x="5413998" y="1080210"/>
                  </a:lnTo>
                  <a:lnTo>
                    <a:pt x="5436806" y="1064831"/>
                  </a:lnTo>
                  <a:lnTo>
                    <a:pt x="5452185" y="1042023"/>
                  </a:lnTo>
                  <a:lnTo>
                    <a:pt x="5457825" y="1014095"/>
                  </a:lnTo>
                  <a:lnTo>
                    <a:pt x="5457825" y="71754"/>
                  </a:lnTo>
                  <a:lnTo>
                    <a:pt x="5452185" y="43826"/>
                  </a:lnTo>
                  <a:lnTo>
                    <a:pt x="5436806" y="21018"/>
                  </a:lnTo>
                  <a:lnTo>
                    <a:pt x="5413998" y="5639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52BE9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4330" name="Google Shape;4330;p12"/>
          <p:cNvGrpSpPr/>
          <p:nvPr/>
        </p:nvGrpSpPr>
        <p:grpSpPr>
          <a:xfrm>
            <a:off x="5705475" y="295275"/>
            <a:ext cx="5457825" cy="1085850"/>
            <a:chOff x="5705475" y="295275"/>
            <a:chExt cx="5457825" cy="1085850"/>
          </a:xfrm>
        </p:grpSpPr>
        <p:sp>
          <p:nvSpPr>
            <p:cNvPr id="4331" name="Google Shape;4331;p12"/>
            <p:cNvSpPr/>
            <p:nvPr/>
          </p:nvSpPr>
          <p:spPr>
            <a:xfrm>
              <a:off x="5705475" y="295275"/>
              <a:ext cx="5457825" cy="1085850"/>
            </a:xfrm>
            <a:custGeom>
              <a:avLst/>
              <a:gdLst/>
              <a:ahLst/>
              <a:cxnLst/>
              <a:rect l="l" t="t" r="r" b="b"/>
              <a:pathLst>
                <a:path w="5457825" h="1085850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39"/>
                  </a:lnTo>
                  <a:lnTo>
                    <a:pt x="21018" y="21018"/>
                  </a:lnTo>
                  <a:lnTo>
                    <a:pt x="5639" y="43826"/>
                  </a:lnTo>
                  <a:lnTo>
                    <a:pt x="0" y="71754"/>
                  </a:lnTo>
                  <a:lnTo>
                    <a:pt x="0" y="1014095"/>
                  </a:lnTo>
                  <a:lnTo>
                    <a:pt x="5639" y="1042023"/>
                  </a:lnTo>
                  <a:lnTo>
                    <a:pt x="21018" y="1064831"/>
                  </a:lnTo>
                  <a:lnTo>
                    <a:pt x="43826" y="1080210"/>
                  </a:lnTo>
                  <a:lnTo>
                    <a:pt x="71754" y="1085850"/>
                  </a:lnTo>
                  <a:lnTo>
                    <a:pt x="5386070" y="1085850"/>
                  </a:lnTo>
                  <a:lnTo>
                    <a:pt x="5413998" y="1080210"/>
                  </a:lnTo>
                  <a:lnTo>
                    <a:pt x="5436806" y="1064831"/>
                  </a:lnTo>
                  <a:lnTo>
                    <a:pt x="5452185" y="1042023"/>
                  </a:lnTo>
                  <a:lnTo>
                    <a:pt x="5457825" y="1014095"/>
                  </a:lnTo>
                  <a:lnTo>
                    <a:pt x="5457825" y="71754"/>
                  </a:lnTo>
                  <a:lnTo>
                    <a:pt x="5452185" y="43826"/>
                  </a:lnTo>
                  <a:lnTo>
                    <a:pt x="5436806" y="21018"/>
                  </a:lnTo>
                  <a:lnTo>
                    <a:pt x="5413998" y="5639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F84B66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332" name="Google Shape;4332;p12"/>
            <p:cNvSpPr/>
            <p:nvPr/>
          </p:nvSpPr>
          <p:spPr>
            <a:xfrm>
              <a:off x="6867525" y="542925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333" name="Google Shape;4333;p12"/>
          <p:cNvSpPr/>
          <p:nvPr/>
        </p:nvSpPr>
        <p:spPr>
          <a:xfrm>
            <a:off x="6877050" y="1695450"/>
            <a:ext cx="0" cy="571500"/>
          </a:xfrm>
          <a:custGeom>
            <a:avLst/>
            <a:gdLst/>
            <a:ahLst/>
            <a:cxnLst/>
            <a:rect l="l" t="t" r="r" b="b"/>
            <a:pathLst>
              <a:path w="120000" h="571500" extrusionOk="0">
                <a:moveTo>
                  <a:pt x="0" y="571500"/>
                </a:move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34" name="Google Shape;4334;p12"/>
          <p:cNvSpPr/>
          <p:nvPr/>
        </p:nvSpPr>
        <p:spPr>
          <a:xfrm>
            <a:off x="6886575" y="4610100"/>
            <a:ext cx="0" cy="571500"/>
          </a:xfrm>
          <a:custGeom>
            <a:avLst/>
            <a:gdLst/>
            <a:ahLst/>
            <a:cxnLst/>
            <a:rect l="l" t="t" r="r" b="b"/>
            <a:pathLst>
              <a:path w="120000" h="571500" extrusionOk="0">
                <a:moveTo>
                  <a:pt x="0" y="571500"/>
                </a:move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35" name="Google Shape;4335;p12"/>
          <p:cNvSpPr/>
          <p:nvPr/>
        </p:nvSpPr>
        <p:spPr>
          <a:xfrm>
            <a:off x="6886575" y="5753100"/>
            <a:ext cx="0" cy="571500"/>
          </a:xfrm>
          <a:custGeom>
            <a:avLst/>
            <a:gdLst/>
            <a:ahLst/>
            <a:cxnLst/>
            <a:rect l="l" t="t" r="r" b="b"/>
            <a:pathLst>
              <a:path w="120000" h="571500" extrusionOk="0">
                <a:moveTo>
                  <a:pt x="0" y="571500"/>
                </a:move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36" name="Google Shape;4336;p12"/>
          <p:cNvSpPr/>
          <p:nvPr/>
        </p:nvSpPr>
        <p:spPr>
          <a:xfrm>
            <a:off x="5781675" y="2886075"/>
            <a:ext cx="1485900" cy="0"/>
          </a:xfrm>
          <a:custGeom>
            <a:avLst/>
            <a:gdLst/>
            <a:ahLst/>
            <a:cxnLst/>
            <a:rect l="l" t="t" r="r" b="b"/>
            <a:pathLst>
              <a:path w="1485900" h="120000" extrusionOk="0">
                <a:moveTo>
                  <a:pt x="0" y="0"/>
                </a:moveTo>
                <a:lnTo>
                  <a:pt x="1485900" y="0"/>
                </a:lnTo>
              </a:path>
            </a:pathLst>
          </a:custGeom>
          <a:noFill/>
          <a:ln w="381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337" name="Google Shape;4337;p12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01" y="4898623"/>
            <a:ext cx="237556" cy="1959374"/>
          </a:xfrm>
          <a:prstGeom prst="rect">
            <a:avLst/>
          </a:prstGeom>
          <a:noFill/>
          <a:ln>
            <a:noFill/>
          </a:ln>
        </p:spPr>
      </p:pic>
      <p:pic>
        <p:nvPicPr>
          <p:cNvPr id="4338" name="Google Shape;4338;p12"/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58346" y="26473"/>
            <a:ext cx="615061" cy="1817593"/>
          </a:xfrm>
          <a:prstGeom prst="rect">
            <a:avLst/>
          </a:prstGeom>
          <a:noFill/>
          <a:ln>
            <a:noFill/>
          </a:ln>
        </p:spPr>
      </p:pic>
      <p:sp>
        <p:nvSpPr>
          <p:cNvPr id="4339" name="Google Shape;4339;p12"/>
          <p:cNvSpPr/>
          <p:nvPr/>
        </p:nvSpPr>
        <p:spPr>
          <a:xfrm>
            <a:off x="11382375" y="6172200"/>
            <a:ext cx="809625" cy="685800"/>
          </a:xfrm>
          <a:custGeom>
            <a:avLst/>
            <a:gdLst/>
            <a:ahLst/>
            <a:cxnLst/>
            <a:rect l="l" t="t" r="r" b="b"/>
            <a:pathLst>
              <a:path w="809625" h="685800" extrusionOk="0">
                <a:moveTo>
                  <a:pt x="809625" y="12475"/>
                </a:moveTo>
                <a:lnTo>
                  <a:pt x="777433" y="6763"/>
                </a:lnTo>
                <a:lnTo>
                  <a:pt x="729728" y="1709"/>
                </a:lnTo>
                <a:lnTo>
                  <a:pt x="681101" y="0"/>
                </a:lnTo>
                <a:lnTo>
                  <a:pt x="632458" y="1709"/>
                </a:lnTo>
                <a:lnTo>
                  <a:pt x="584738" y="6763"/>
                </a:lnTo>
                <a:lnTo>
                  <a:pt x="538057" y="15044"/>
                </a:lnTo>
                <a:lnTo>
                  <a:pt x="492530" y="26437"/>
                </a:lnTo>
                <a:lnTo>
                  <a:pt x="448272" y="40828"/>
                </a:lnTo>
                <a:lnTo>
                  <a:pt x="405398" y="58101"/>
                </a:lnTo>
                <a:lnTo>
                  <a:pt x="364023" y="78142"/>
                </a:lnTo>
                <a:lnTo>
                  <a:pt x="324264" y="100833"/>
                </a:lnTo>
                <a:lnTo>
                  <a:pt x="286234" y="126061"/>
                </a:lnTo>
                <a:lnTo>
                  <a:pt x="250050" y="153711"/>
                </a:lnTo>
                <a:lnTo>
                  <a:pt x="215826" y="183666"/>
                </a:lnTo>
                <a:lnTo>
                  <a:pt x="183677" y="215812"/>
                </a:lnTo>
                <a:lnTo>
                  <a:pt x="153720" y="250033"/>
                </a:lnTo>
                <a:lnTo>
                  <a:pt x="126069" y="286214"/>
                </a:lnTo>
                <a:lnTo>
                  <a:pt x="100839" y="324240"/>
                </a:lnTo>
                <a:lnTo>
                  <a:pt x="78146" y="363996"/>
                </a:lnTo>
                <a:lnTo>
                  <a:pt x="58105" y="405367"/>
                </a:lnTo>
                <a:lnTo>
                  <a:pt x="40830" y="448236"/>
                </a:lnTo>
                <a:lnTo>
                  <a:pt x="26439" y="492489"/>
                </a:lnTo>
                <a:lnTo>
                  <a:pt x="15044" y="538011"/>
                </a:lnTo>
                <a:lnTo>
                  <a:pt x="6763" y="584687"/>
                </a:lnTo>
                <a:lnTo>
                  <a:pt x="1710" y="632400"/>
                </a:lnTo>
                <a:lnTo>
                  <a:pt x="0" y="681037"/>
                </a:lnTo>
                <a:lnTo>
                  <a:pt x="167" y="685800"/>
                </a:lnTo>
              </a:path>
            </a:pathLst>
          </a:custGeom>
          <a:noFill/>
          <a:ln w="38100" cap="flat" cmpd="sng">
            <a:solidFill>
              <a:srgbClr val="EBEF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40" name="Google Shape;4340;p12"/>
          <p:cNvSpPr/>
          <p:nvPr/>
        </p:nvSpPr>
        <p:spPr>
          <a:xfrm>
            <a:off x="0" y="0"/>
            <a:ext cx="952500" cy="714375"/>
          </a:xfrm>
          <a:custGeom>
            <a:avLst/>
            <a:gdLst/>
            <a:ahLst/>
            <a:cxnLst/>
            <a:rect l="l" t="t" r="r" b="b"/>
            <a:pathLst>
              <a:path w="952500" h="714375" extrusionOk="0">
                <a:moveTo>
                  <a:pt x="0" y="660252"/>
                </a:moveTo>
                <a:lnTo>
                  <a:pt x="76832" y="687749"/>
                </a:lnTo>
                <a:lnTo>
                  <a:pt x="122673" y="699223"/>
                </a:lnTo>
                <a:lnTo>
                  <a:pt x="169675" y="707563"/>
                </a:lnTo>
                <a:lnTo>
                  <a:pt x="217722" y="712652"/>
                </a:lnTo>
                <a:lnTo>
                  <a:pt x="266700" y="714375"/>
                </a:lnTo>
                <a:lnTo>
                  <a:pt x="315676" y="712652"/>
                </a:lnTo>
                <a:lnTo>
                  <a:pt x="363723" y="707563"/>
                </a:lnTo>
                <a:lnTo>
                  <a:pt x="410725" y="699223"/>
                </a:lnTo>
                <a:lnTo>
                  <a:pt x="456565" y="687749"/>
                </a:lnTo>
                <a:lnTo>
                  <a:pt x="501128" y="673256"/>
                </a:lnTo>
                <a:lnTo>
                  <a:pt x="544297" y="655860"/>
                </a:lnTo>
                <a:lnTo>
                  <a:pt x="585957" y="635678"/>
                </a:lnTo>
                <a:lnTo>
                  <a:pt x="625991" y="612826"/>
                </a:lnTo>
                <a:lnTo>
                  <a:pt x="664283" y="587420"/>
                </a:lnTo>
                <a:lnTo>
                  <a:pt x="700717" y="559576"/>
                </a:lnTo>
                <a:lnTo>
                  <a:pt x="735178" y="529410"/>
                </a:lnTo>
                <a:lnTo>
                  <a:pt x="767548" y="497038"/>
                </a:lnTo>
                <a:lnTo>
                  <a:pt x="797713" y="462576"/>
                </a:lnTo>
                <a:lnTo>
                  <a:pt x="825556" y="426141"/>
                </a:lnTo>
                <a:lnTo>
                  <a:pt x="850960" y="387849"/>
                </a:lnTo>
                <a:lnTo>
                  <a:pt x="873811" y="347815"/>
                </a:lnTo>
                <a:lnTo>
                  <a:pt x="893991" y="306156"/>
                </a:lnTo>
                <a:lnTo>
                  <a:pt x="911385" y="262988"/>
                </a:lnTo>
                <a:lnTo>
                  <a:pt x="925877" y="218427"/>
                </a:lnTo>
                <a:lnTo>
                  <a:pt x="937350" y="172589"/>
                </a:lnTo>
                <a:lnTo>
                  <a:pt x="945689" y="125590"/>
                </a:lnTo>
                <a:lnTo>
                  <a:pt x="950778" y="77546"/>
                </a:lnTo>
                <a:lnTo>
                  <a:pt x="952500" y="28575"/>
                </a:lnTo>
                <a:lnTo>
                  <a:pt x="951495" y="0"/>
                </a:lnTo>
              </a:path>
            </a:pathLst>
          </a:custGeom>
          <a:noFill/>
          <a:ln w="38100" cap="flat" cmpd="sng">
            <a:solidFill>
              <a:srgbClr val="EBEF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341" name="Google Shape;4341;p12"/>
          <p:cNvPicPr preferRelativeResize="0"/>
          <p:nvPr/>
        </p:nvPicPr>
        <p:blipFill rotWithShape="1"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92143" y="6416754"/>
            <a:ext cx="217098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342" name="Google Shape;4342;p12"/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5471" y="6275823"/>
            <a:ext cx="217098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343" name="Google Shape;4343;p12"/>
          <p:cNvPicPr preferRelativeResize="0"/>
          <p:nvPr/>
        </p:nvPicPr>
        <p:blipFill rotWithShape="1"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5471" y="6557691"/>
            <a:ext cx="217098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344" name="Google Shape;4344;p12"/>
          <p:cNvPicPr preferRelativeResize="0"/>
          <p:nvPr/>
        </p:nvPicPr>
        <p:blipFill rotWithShape="1">
          <a:blip r:embed="rId1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8799" y="6416754"/>
            <a:ext cx="217098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345" name="Google Shape;4345;p12"/>
          <p:cNvPicPr preferRelativeResize="0"/>
          <p:nvPr/>
        </p:nvPicPr>
        <p:blipFill rotWithShape="1">
          <a:blip r:embed="rId1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2127" y="6275823"/>
            <a:ext cx="217206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346" name="Google Shape;4346;p12"/>
          <p:cNvPicPr preferRelativeResize="0"/>
          <p:nvPr/>
        </p:nvPicPr>
        <p:blipFill rotWithShape="1">
          <a:blip r:embed="rId1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2127" y="6557691"/>
            <a:ext cx="217206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347" name="Google Shape;4347;p12"/>
          <p:cNvPicPr preferRelativeResize="0"/>
          <p:nvPr/>
        </p:nvPicPr>
        <p:blipFill rotWithShape="1"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25578" y="6416754"/>
            <a:ext cx="217083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348" name="Google Shape;4348;p12"/>
          <p:cNvPicPr preferRelativeResize="0"/>
          <p:nvPr/>
        </p:nvPicPr>
        <p:blipFill rotWithShape="1">
          <a:blip r:embed="rId1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8906" y="6275823"/>
            <a:ext cx="217083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349" name="Google Shape;4349;p12"/>
          <p:cNvPicPr preferRelativeResize="0"/>
          <p:nvPr/>
        </p:nvPicPr>
        <p:blipFill rotWithShape="1">
          <a:blip r:embed="rId1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8907" y="6557691"/>
            <a:ext cx="217083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350" name="Google Shape;4350;p12"/>
          <p:cNvPicPr preferRelativeResize="0"/>
          <p:nvPr/>
        </p:nvPicPr>
        <p:blipFill rotWithShape="1">
          <a:blip r:embed="rId1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2231" y="6416754"/>
            <a:ext cx="217086" cy="91817"/>
          </a:xfrm>
          <a:prstGeom prst="rect">
            <a:avLst/>
          </a:prstGeom>
          <a:noFill/>
          <a:ln>
            <a:noFill/>
          </a:ln>
        </p:spPr>
      </p:pic>
      <p:sp>
        <p:nvSpPr>
          <p:cNvPr id="4351" name="Google Shape;4351;p12"/>
          <p:cNvSpPr/>
          <p:nvPr/>
        </p:nvSpPr>
        <p:spPr>
          <a:xfrm>
            <a:off x="5535996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52" name="Google Shape;4352;p12"/>
          <p:cNvSpPr/>
          <p:nvPr/>
        </p:nvSpPr>
        <p:spPr>
          <a:xfrm>
            <a:off x="5679054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53" name="Google Shape;4353;p12"/>
          <p:cNvSpPr/>
          <p:nvPr/>
        </p:nvSpPr>
        <p:spPr>
          <a:xfrm>
            <a:off x="5822112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54" name="Google Shape;4354;p12"/>
          <p:cNvSpPr/>
          <p:nvPr/>
        </p:nvSpPr>
        <p:spPr>
          <a:xfrm>
            <a:off x="5965170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55" name="Google Shape;4355;p12"/>
          <p:cNvSpPr/>
          <p:nvPr/>
        </p:nvSpPr>
        <p:spPr>
          <a:xfrm>
            <a:off x="6108228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56" name="Google Shape;4356;p12"/>
          <p:cNvSpPr/>
          <p:nvPr/>
        </p:nvSpPr>
        <p:spPr>
          <a:xfrm>
            <a:off x="6251286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57" name="Google Shape;4357;p12"/>
          <p:cNvSpPr/>
          <p:nvPr/>
        </p:nvSpPr>
        <p:spPr>
          <a:xfrm>
            <a:off x="6394344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58" name="Google Shape;4358;p12"/>
          <p:cNvSpPr/>
          <p:nvPr/>
        </p:nvSpPr>
        <p:spPr>
          <a:xfrm>
            <a:off x="6537401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59" name="Google Shape;4359;p12"/>
          <p:cNvSpPr/>
          <p:nvPr/>
        </p:nvSpPr>
        <p:spPr>
          <a:xfrm>
            <a:off x="6680459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60" name="Google Shape;4360;p12"/>
          <p:cNvSpPr/>
          <p:nvPr/>
        </p:nvSpPr>
        <p:spPr>
          <a:xfrm>
            <a:off x="682351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61" name="Google Shape;4361;p12"/>
          <p:cNvSpPr/>
          <p:nvPr/>
        </p:nvSpPr>
        <p:spPr>
          <a:xfrm>
            <a:off x="696657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62" name="Google Shape;4362;p12"/>
          <p:cNvSpPr/>
          <p:nvPr/>
        </p:nvSpPr>
        <p:spPr>
          <a:xfrm>
            <a:off x="7109633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63" name="Google Shape;4363;p12"/>
          <p:cNvSpPr/>
          <p:nvPr/>
        </p:nvSpPr>
        <p:spPr>
          <a:xfrm>
            <a:off x="7252691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64" name="Google Shape;4364;p12"/>
          <p:cNvSpPr/>
          <p:nvPr/>
        </p:nvSpPr>
        <p:spPr>
          <a:xfrm>
            <a:off x="7395749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65" name="Google Shape;4365;p12"/>
          <p:cNvSpPr/>
          <p:nvPr/>
        </p:nvSpPr>
        <p:spPr>
          <a:xfrm>
            <a:off x="753880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66" name="Google Shape;4366;p12"/>
          <p:cNvSpPr/>
          <p:nvPr/>
        </p:nvSpPr>
        <p:spPr>
          <a:xfrm>
            <a:off x="768186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67" name="Google Shape;4367;p12"/>
          <p:cNvSpPr/>
          <p:nvPr/>
        </p:nvSpPr>
        <p:spPr>
          <a:xfrm>
            <a:off x="782492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68" name="Google Shape;4368;p12"/>
          <p:cNvSpPr/>
          <p:nvPr/>
        </p:nvSpPr>
        <p:spPr>
          <a:xfrm>
            <a:off x="796798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69" name="Google Shape;4369;p12"/>
          <p:cNvSpPr/>
          <p:nvPr/>
        </p:nvSpPr>
        <p:spPr>
          <a:xfrm>
            <a:off x="8111043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70" name="Google Shape;4370;p12"/>
          <p:cNvSpPr/>
          <p:nvPr/>
        </p:nvSpPr>
        <p:spPr>
          <a:xfrm>
            <a:off x="8254102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71" name="Google Shape;4371;p12"/>
          <p:cNvSpPr/>
          <p:nvPr/>
        </p:nvSpPr>
        <p:spPr>
          <a:xfrm>
            <a:off x="553599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72" name="Google Shape;4372;p12"/>
          <p:cNvSpPr/>
          <p:nvPr/>
        </p:nvSpPr>
        <p:spPr>
          <a:xfrm>
            <a:off x="5679054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73" name="Google Shape;4373;p12"/>
          <p:cNvSpPr/>
          <p:nvPr/>
        </p:nvSpPr>
        <p:spPr>
          <a:xfrm>
            <a:off x="582211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74" name="Google Shape;4374;p12"/>
          <p:cNvSpPr/>
          <p:nvPr/>
        </p:nvSpPr>
        <p:spPr>
          <a:xfrm>
            <a:off x="5965170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75" name="Google Shape;4375;p12"/>
          <p:cNvSpPr/>
          <p:nvPr/>
        </p:nvSpPr>
        <p:spPr>
          <a:xfrm>
            <a:off x="6108228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76" name="Google Shape;4376;p12"/>
          <p:cNvSpPr/>
          <p:nvPr/>
        </p:nvSpPr>
        <p:spPr>
          <a:xfrm>
            <a:off x="625128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77" name="Google Shape;4377;p12"/>
          <p:cNvSpPr/>
          <p:nvPr/>
        </p:nvSpPr>
        <p:spPr>
          <a:xfrm>
            <a:off x="6394344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78" name="Google Shape;4378;p12"/>
          <p:cNvSpPr/>
          <p:nvPr/>
        </p:nvSpPr>
        <p:spPr>
          <a:xfrm>
            <a:off x="653740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79" name="Google Shape;4379;p12"/>
          <p:cNvSpPr/>
          <p:nvPr/>
        </p:nvSpPr>
        <p:spPr>
          <a:xfrm>
            <a:off x="6680459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80" name="Google Shape;4380;p12"/>
          <p:cNvSpPr/>
          <p:nvPr/>
        </p:nvSpPr>
        <p:spPr>
          <a:xfrm>
            <a:off x="682351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81" name="Google Shape;4381;p12"/>
          <p:cNvSpPr/>
          <p:nvPr/>
        </p:nvSpPr>
        <p:spPr>
          <a:xfrm>
            <a:off x="6966575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82" name="Google Shape;4382;p12"/>
          <p:cNvSpPr/>
          <p:nvPr/>
        </p:nvSpPr>
        <p:spPr>
          <a:xfrm>
            <a:off x="7109633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83" name="Google Shape;4383;p12"/>
          <p:cNvSpPr/>
          <p:nvPr/>
        </p:nvSpPr>
        <p:spPr>
          <a:xfrm>
            <a:off x="7252691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84" name="Google Shape;4384;p12"/>
          <p:cNvSpPr/>
          <p:nvPr/>
        </p:nvSpPr>
        <p:spPr>
          <a:xfrm>
            <a:off x="7395749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85" name="Google Shape;4385;p12"/>
          <p:cNvSpPr/>
          <p:nvPr/>
        </p:nvSpPr>
        <p:spPr>
          <a:xfrm>
            <a:off x="753880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86" name="Google Shape;4386;p12"/>
          <p:cNvSpPr/>
          <p:nvPr/>
        </p:nvSpPr>
        <p:spPr>
          <a:xfrm>
            <a:off x="7681865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87" name="Google Shape;4387;p12"/>
          <p:cNvSpPr/>
          <p:nvPr/>
        </p:nvSpPr>
        <p:spPr>
          <a:xfrm>
            <a:off x="782492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88" name="Google Shape;4388;p12"/>
          <p:cNvSpPr/>
          <p:nvPr/>
        </p:nvSpPr>
        <p:spPr>
          <a:xfrm>
            <a:off x="796798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89" name="Google Shape;4389;p12"/>
          <p:cNvSpPr/>
          <p:nvPr/>
        </p:nvSpPr>
        <p:spPr>
          <a:xfrm>
            <a:off x="8111043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90" name="Google Shape;4390;p12"/>
          <p:cNvSpPr/>
          <p:nvPr/>
        </p:nvSpPr>
        <p:spPr>
          <a:xfrm>
            <a:off x="825410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91" name="Google Shape;4391;p12"/>
          <p:cNvSpPr/>
          <p:nvPr/>
        </p:nvSpPr>
        <p:spPr>
          <a:xfrm>
            <a:off x="4688272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92" name="Google Shape;4392;p12"/>
          <p:cNvSpPr/>
          <p:nvPr/>
        </p:nvSpPr>
        <p:spPr>
          <a:xfrm>
            <a:off x="4831330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93" name="Google Shape;4393;p12"/>
          <p:cNvSpPr/>
          <p:nvPr/>
        </p:nvSpPr>
        <p:spPr>
          <a:xfrm>
            <a:off x="4974388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94" name="Google Shape;4394;p12"/>
          <p:cNvSpPr/>
          <p:nvPr/>
        </p:nvSpPr>
        <p:spPr>
          <a:xfrm>
            <a:off x="5117446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95" name="Google Shape;4395;p12"/>
          <p:cNvSpPr/>
          <p:nvPr/>
        </p:nvSpPr>
        <p:spPr>
          <a:xfrm>
            <a:off x="5260504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96" name="Google Shape;4396;p12"/>
          <p:cNvSpPr/>
          <p:nvPr/>
        </p:nvSpPr>
        <p:spPr>
          <a:xfrm>
            <a:off x="5403562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97" name="Google Shape;4397;p12"/>
          <p:cNvSpPr/>
          <p:nvPr/>
        </p:nvSpPr>
        <p:spPr>
          <a:xfrm>
            <a:off x="554661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98" name="Google Shape;4398;p12"/>
          <p:cNvSpPr/>
          <p:nvPr/>
        </p:nvSpPr>
        <p:spPr>
          <a:xfrm>
            <a:off x="5689677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399" name="Google Shape;4399;p12"/>
          <p:cNvSpPr/>
          <p:nvPr/>
        </p:nvSpPr>
        <p:spPr>
          <a:xfrm>
            <a:off x="5832735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00" name="Google Shape;4400;p12"/>
          <p:cNvSpPr/>
          <p:nvPr/>
        </p:nvSpPr>
        <p:spPr>
          <a:xfrm>
            <a:off x="597579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01" name="Google Shape;4401;p12"/>
          <p:cNvSpPr/>
          <p:nvPr/>
        </p:nvSpPr>
        <p:spPr>
          <a:xfrm>
            <a:off x="6118851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02" name="Google Shape;4402;p12"/>
          <p:cNvSpPr/>
          <p:nvPr/>
        </p:nvSpPr>
        <p:spPr>
          <a:xfrm>
            <a:off x="626190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03" name="Google Shape;4403;p12"/>
          <p:cNvSpPr/>
          <p:nvPr/>
        </p:nvSpPr>
        <p:spPr>
          <a:xfrm>
            <a:off x="6404967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04" name="Google Shape;4404;p12"/>
          <p:cNvSpPr/>
          <p:nvPr/>
        </p:nvSpPr>
        <p:spPr>
          <a:xfrm>
            <a:off x="6548025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05" name="Google Shape;4405;p12"/>
          <p:cNvSpPr/>
          <p:nvPr/>
        </p:nvSpPr>
        <p:spPr>
          <a:xfrm>
            <a:off x="669108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06" name="Google Shape;4406;p12"/>
          <p:cNvSpPr/>
          <p:nvPr/>
        </p:nvSpPr>
        <p:spPr>
          <a:xfrm>
            <a:off x="6834140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07" name="Google Shape;4407;p12"/>
          <p:cNvSpPr/>
          <p:nvPr/>
        </p:nvSpPr>
        <p:spPr>
          <a:xfrm>
            <a:off x="697720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08" name="Google Shape;4408;p12"/>
          <p:cNvSpPr/>
          <p:nvPr/>
        </p:nvSpPr>
        <p:spPr>
          <a:xfrm>
            <a:off x="7120261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09" name="Google Shape;4409;p12"/>
          <p:cNvSpPr/>
          <p:nvPr/>
        </p:nvSpPr>
        <p:spPr>
          <a:xfrm>
            <a:off x="726331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10" name="Google Shape;4410;p12"/>
          <p:cNvSpPr/>
          <p:nvPr/>
        </p:nvSpPr>
        <p:spPr>
          <a:xfrm>
            <a:off x="7406378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11" name="Google Shape;4411;p12"/>
          <p:cNvSpPr/>
          <p:nvPr/>
        </p:nvSpPr>
        <p:spPr>
          <a:xfrm>
            <a:off x="4688272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12" name="Google Shape;4412;p12"/>
          <p:cNvSpPr/>
          <p:nvPr/>
        </p:nvSpPr>
        <p:spPr>
          <a:xfrm>
            <a:off x="4831330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13" name="Google Shape;4413;p12"/>
          <p:cNvSpPr/>
          <p:nvPr/>
        </p:nvSpPr>
        <p:spPr>
          <a:xfrm>
            <a:off x="4974388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14" name="Google Shape;4414;p12"/>
          <p:cNvSpPr/>
          <p:nvPr/>
        </p:nvSpPr>
        <p:spPr>
          <a:xfrm>
            <a:off x="5117446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15" name="Google Shape;4415;p12"/>
          <p:cNvSpPr/>
          <p:nvPr/>
        </p:nvSpPr>
        <p:spPr>
          <a:xfrm>
            <a:off x="5260504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16" name="Google Shape;4416;p12"/>
          <p:cNvSpPr/>
          <p:nvPr/>
        </p:nvSpPr>
        <p:spPr>
          <a:xfrm>
            <a:off x="5403562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17" name="Google Shape;4417;p12"/>
          <p:cNvSpPr/>
          <p:nvPr/>
        </p:nvSpPr>
        <p:spPr>
          <a:xfrm>
            <a:off x="554661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18" name="Google Shape;4418;p12"/>
          <p:cNvSpPr/>
          <p:nvPr/>
        </p:nvSpPr>
        <p:spPr>
          <a:xfrm>
            <a:off x="5689677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19" name="Google Shape;4419;p12"/>
          <p:cNvSpPr/>
          <p:nvPr/>
        </p:nvSpPr>
        <p:spPr>
          <a:xfrm>
            <a:off x="5832735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20" name="Google Shape;4420;p12"/>
          <p:cNvSpPr/>
          <p:nvPr/>
        </p:nvSpPr>
        <p:spPr>
          <a:xfrm>
            <a:off x="597579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21" name="Google Shape;4421;p12"/>
          <p:cNvSpPr/>
          <p:nvPr/>
        </p:nvSpPr>
        <p:spPr>
          <a:xfrm>
            <a:off x="6118851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22" name="Google Shape;4422;p12"/>
          <p:cNvSpPr/>
          <p:nvPr/>
        </p:nvSpPr>
        <p:spPr>
          <a:xfrm>
            <a:off x="626190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23" name="Google Shape;4423;p12"/>
          <p:cNvSpPr/>
          <p:nvPr/>
        </p:nvSpPr>
        <p:spPr>
          <a:xfrm>
            <a:off x="6404967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24" name="Google Shape;4424;p12"/>
          <p:cNvSpPr/>
          <p:nvPr/>
        </p:nvSpPr>
        <p:spPr>
          <a:xfrm>
            <a:off x="6548025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25" name="Google Shape;4425;p12"/>
          <p:cNvSpPr/>
          <p:nvPr/>
        </p:nvSpPr>
        <p:spPr>
          <a:xfrm>
            <a:off x="669108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26" name="Google Shape;4426;p12"/>
          <p:cNvSpPr/>
          <p:nvPr/>
        </p:nvSpPr>
        <p:spPr>
          <a:xfrm>
            <a:off x="6834140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27" name="Google Shape;4427;p12"/>
          <p:cNvSpPr/>
          <p:nvPr/>
        </p:nvSpPr>
        <p:spPr>
          <a:xfrm>
            <a:off x="697720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28" name="Google Shape;4428;p12"/>
          <p:cNvSpPr/>
          <p:nvPr/>
        </p:nvSpPr>
        <p:spPr>
          <a:xfrm>
            <a:off x="7120261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29" name="Google Shape;4429;p12"/>
          <p:cNvSpPr/>
          <p:nvPr/>
        </p:nvSpPr>
        <p:spPr>
          <a:xfrm>
            <a:off x="726331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30" name="Google Shape;4430;p12"/>
          <p:cNvSpPr/>
          <p:nvPr/>
        </p:nvSpPr>
        <p:spPr>
          <a:xfrm>
            <a:off x="7406378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431" name="Google Shape;4431;p12"/>
          <p:cNvPicPr preferRelativeResize="0"/>
          <p:nvPr/>
        </p:nvPicPr>
        <p:blipFill rotWithShape="1">
          <a:blip r:embed="rId1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050" y="5991225"/>
            <a:ext cx="1562100" cy="733425"/>
          </a:xfrm>
          <a:prstGeom prst="rect">
            <a:avLst/>
          </a:prstGeom>
          <a:noFill/>
          <a:ln>
            <a:noFill/>
          </a:ln>
        </p:spPr>
      </p:pic>
      <p:sp>
        <p:nvSpPr>
          <p:cNvPr id="4432" name="Google Shape;4432;p12"/>
          <p:cNvSpPr txBox="1"/>
          <p:nvPr/>
        </p:nvSpPr>
        <p:spPr>
          <a:xfrm>
            <a:off x="685801" y="2171838"/>
            <a:ext cx="3029100" cy="185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875" rIns="0" bIns="0" anchor="t" anchorCtr="0">
            <a:spAutoFit/>
          </a:bodyPr>
          <a:lstStyle/>
          <a:p>
            <a:pPr marL="12700" marR="5080" lvl="0" indent="0" algn="l" rtl="0">
              <a:lnSpc>
                <a:spcPct val="11439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700" b="1">
                <a:latin typeface="Tahoma"/>
                <a:ea typeface="Tahoma"/>
                <a:cs typeface="Tahoma"/>
                <a:sym typeface="Tahoma"/>
              </a:rPr>
              <a:t>DRIVER 1: HEALTHCARE PROFESSIONAL COMMITMENT</a:t>
            </a:r>
            <a:endParaRPr sz="2700">
              <a:latin typeface="Tahoma"/>
              <a:ea typeface="Tahoma"/>
              <a:cs typeface="Tahoma"/>
              <a:sym typeface="Tahoma"/>
            </a:endParaRPr>
          </a:p>
        </p:txBody>
      </p:sp>
      <p:grpSp>
        <p:nvGrpSpPr>
          <p:cNvPr id="4433" name="Google Shape;4433;p12"/>
          <p:cNvGrpSpPr/>
          <p:nvPr/>
        </p:nvGrpSpPr>
        <p:grpSpPr>
          <a:xfrm>
            <a:off x="685800" y="685800"/>
            <a:ext cx="3819525" cy="1228725"/>
            <a:chOff x="685800" y="685800"/>
            <a:chExt cx="3819525" cy="1228725"/>
          </a:xfrm>
        </p:grpSpPr>
        <p:sp>
          <p:nvSpPr>
            <p:cNvPr id="4434" name="Google Shape;4434;p12"/>
            <p:cNvSpPr/>
            <p:nvPr/>
          </p:nvSpPr>
          <p:spPr>
            <a:xfrm>
              <a:off x="685800" y="685800"/>
              <a:ext cx="3819525" cy="1228725"/>
            </a:xfrm>
            <a:custGeom>
              <a:avLst/>
              <a:gdLst/>
              <a:ahLst/>
              <a:cxnLst/>
              <a:rect l="l" t="t" r="r" b="b"/>
              <a:pathLst>
                <a:path w="3819525" h="1228725" extrusionOk="0">
                  <a:moveTo>
                    <a:pt x="3740150" y="0"/>
                  </a:moveTo>
                  <a:lnTo>
                    <a:pt x="79425" y="0"/>
                  </a:lnTo>
                  <a:lnTo>
                    <a:pt x="63857" y="1541"/>
                  </a:lnTo>
                  <a:lnTo>
                    <a:pt x="23266" y="23240"/>
                  </a:lnTo>
                  <a:lnTo>
                    <a:pt x="1540" y="63799"/>
                  </a:lnTo>
                  <a:lnTo>
                    <a:pt x="0" y="79375"/>
                  </a:lnTo>
                  <a:lnTo>
                    <a:pt x="0" y="1149350"/>
                  </a:lnTo>
                  <a:lnTo>
                    <a:pt x="13346" y="1193409"/>
                  </a:lnTo>
                  <a:lnTo>
                    <a:pt x="49031" y="1222676"/>
                  </a:lnTo>
                  <a:lnTo>
                    <a:pt x="79425" y="1228725"/>
                  </a:lnTo>
                  <a:lnTo>
                    <a:pt x="3740150" y="1228725"/>
                  </a:lnTo>
                  <a:lnTo>
                    <a:pt x="3784191" y="1215384"/>
                  </a:lnTo>
                  <a:lnTo>
                    <a:pt x="3813476" y="1179750"/>
                  </a:lnTo>
                  <a:lnTo>
                    <a:pt x="3819525" y="1149350"/>
                  </a:lnTo>
                  <a:lnTo>
                    <a:pt x="3819525" y="79375"/>
                  </a:lnTo>
                  <a:lnTo>
                    <a:pt x="3813284" y="48488"/>
                  </a:lnTo>
                  <a:lnTo>
                    <a:pt x="3796268" y="23256"/>
                  </a:lnTo>
                  <a:lnTo>
                    <a:pt x="3771036" y="6240"/>
                  </a:lnTo>
                  <a:lnTo>
                    <a:pt x="374015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435" name="Google Shape;4435;p12"/>
            <p:cNvSpPr/>
            <p:nvPr/>
          </p:nvSpPr>
          <p:spPr>
            <a:xfrm>
              <a:off x="685800" y="685800"/>
              <a:ext cx="3819525" cy="1228725"/>
            </a:xfrm>
            <a:custGeom>
              <a:avLst/>
              <a:gdLst/>
              <a:ahLst/>
              <a:cxnLst/>
              <a:rect l="l" t="t" r="r" b="b"/>
              <a:pathLst>
                <a:path w="3819525" h="1228725" extrusionOk="0">
                  <a:moveTo>
                    <a:pt x="79425" y="0"/>
                  </a:moveTo>
                  <a:lnTo>
                    <a:pt x="3740150" y="0"/>
                  </a:lnTo>
                  <a:lnTo>
                    <a:pt x="3771036" y="6240"/>
                  </a:lnTo>
                  <a:lnTo>
                    <a:pt x="3796268" y="23256"/>
                  </a:lnTo>
                  <a:lnTo>
                    <a:pt x="3813284" y="48488"/>
                  </a:lnTo>
                  <a:lnTo>
                    <a:pt x="3819525" y="79375"/>
                  </a:lnTo>
                  <a:lnTo>
                    <a:pt x="3819525" y="1149350"/>
                  </a:lnTo>
                  <a:lnTo>
                    <a:pt x="3806184" y="1193409"/>
                  </a:lnTo>
                  <a:lnTo>
                    <a:pt x="3770503" y="1222676"/>
                  </a:lnTo>
                  <a:lnTo>
                    <a:pt x="3740150" y="1228725"/>
                  </a:lnTo>
                  <a:lnTo>
                    <a:pt x="79425" y="1228725"/>
                  </a:lnTo>
                  <a:lnTo>
                    <a:pt x="35363" y="1215384"/>
                  </a:lnTo>
                  <a:lnTo>
                    <a:pt x="6046" y="1179750"/>
                  </a:lnTo>
                  <a:lnTo>
                    <a:pt x="0" y="1149350"/>
                  </a:lnTo>
                  <a:lnTo>
                    <a:pt x="0" y="79375"/>
                  </a:lnTo>
                  <a:lnTo>
                    <a:pt x="13346" y="35315"/>
                  </a:lnTo>
                  <a:lnTo>
                    <a:pt x="49031" y="6048"/>
                  </a:lnTo>
                  <a:lnTo>
                    <a:pt x="79425" y="0"/>
                  </a:lnTo>
                  <a:close/>
                </a:path>
              </a:pathLst>
            </a:custGeom>
            <a:noFill/>
            <a:ln w="57150" cap="flat" cmpd="sng">
              <a:solidFill>
                <a:srgbClr val="52BE9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4436" name="Google Shape;4436;p12"/>
          <p:cNvPicPr preferRelativeResize="0"/>
          <p:nvPr/>
        </p:nvPicPr>
        <p:blipFill rotWithShape="1">
          <a:blip r:embed="rId1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15025" y="476250"/>
            <a:ext cx="857250" cy="676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437" name="Google Shape;4437;p12"/>
          <p:cNvPicPr preferRelativeResize="0"/>
          <p:nvPr/>
        </p:nvPicPr>
        <p:blipFill rotWithShape="1">
          <a:blip r:embed="rId1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3957" y="1648671"/>
            <a:ext cx="779491" cy="78897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438" name="Google Shape;4438;p12"/>
          <p:cNvGrpSpPr/>
          <p:nvPr/>
        </p:nvGrpSpPr>
        <p:grpSpPr>
          <a:xfrm>
            <a:off x="685800" y="3048000"/>
            <a:ext cx="10553700" cy="2619375"/>
            <a:chOff x="685800" y="3048000"/>
            <a:chExt cx="10553700" cy="2619375"/>
          </a:xfrm>
        </p:grpSpPr>
        <p:sp>
          <p:nvSpPr>
            <p:cNvPr id="4439" name="Google Shape;4439;p12"/>
            <p:cNvSpPr/>
            <p:nvPr/>
          </p:nvSpPr>
          <p:spPr>
            <a:xfrm>
              <a:off x="685800" y="4276725"/>
              <a:ext cx="3790950" cy="1390650"/>
            </a:xfrm>
            <a:custGeom>
              <a:avLst/>
              <a:gdLst/>
              <a:ahLst/>
              <a:cxnLst/>
              <a:rect l="l" t="t" r="r" b="b"/>
              <a:pathLst>
                <a:path w="3790950" h="1390650" extrusionOk="0">
                  <a:moveTo>
                    <a:pt x="80060" y="0"/>
                  </a:moveTo>
                  <a:lnTo>
                    <a:pt x="3710940" y="0"/>
                  </a:lnTo>
                  <a:lnTo>
                    <a:pt x="3726610" y="1563"/>
                  </a:lnTo>
                  <a:lnTo>
                    <a:pt x="3767454" y="23494"/>
                  </a:lnTo>
                  <a:lnTo>
                    <a:pt x="3789404" y="64446"/>
                  </a:lnTo>
                  <a:lnTo>
                    <a:pt x="3790950" y="80137"/>
                  </a:lnTo>
                  <a:lnTo>
                    <a:pt x="3790950" y="1310513"/>
                  </a:lnTo>
                  <a:lnTo>
                    <a:pt x="3784663" y="1341701"/>
                  </a:lnTo>
                  <a:lnTo>
                    <a:pt x="3767518" y="1367174"/>
                  </a:lnTo>
                  <a:lnTo>
                    <a:pt x="3742086" y="1384350"/>
                  </a:lnTo>
                  <a:lnTo>
                    <a:pt x="3710940" y="1390650"/>
                  </a:lnTo>
                  <a:lnTo>
                    <a:pt x="80060" y="1390650"/>
                  </a:lnTo>
                  <a:lnTo>
                    <a:pt x="48900" y="1384350"/>
                  </a:lnTo>
                  <a:lnTo>
                    <a:pt x="23452" y="1367174"/>
                  </a:lnTo>
                  <a:lnTo>
                    <a:pt x="6292" y="1341701"/>
                  </a:lnTo>
                  <a:lnTo>
                    <a:pt x="0" y="1310513"/>
                  </a:lnTo>
                  <a:lnTo>
                    <a:pt x="0" y="80137"/>
                  </a:lnTo>
                  <a:lnTo>
                    <a:pt x="6292" y="48970"/>
                  </a:lnTo>
                  <a:lnTo>
                    <a:pt x="23452" y="23495"/>
                  </a:lnTo>
                  <a:lnTo>
                    <a:pt x="48900" y="6306"/>
                  </a:lnTo>
                  <a:lnTo>
                    <a:pt x="80060" y="0"/>
                  </a:lnTo>
                  <a:close/>
                </a:path>
              </a:pathLst>
            </a:custGeom>
            <a:noFill/>
            <a:ln w="57150" cap="flat" cmpd="sng">
              <a:solidFill>
                <a:srgbClr val="BC429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440" name="Google Shape;4440;p12"/>
            <p:cNvSpPr/>
            <p:nvPr/>
          </p:nvSpPr>
          <p:spPr>
            <a:xfrm>
              <a:off x="5781675" y="3048000"/>
              <a:ext cx="5457825" cy="1085850"/>
            </a:xfrm>
            <a:custGeom>
              <a:avLst/>
              <a:gdLst/>
              <a:ahLst/>
              <a:cxnLst/>
              <a:rect l="l" t="t" r="r" b="b"/>
              <a:pathLst>
                <a:path w="5457825" h="1085850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39"/>
                  </a:lnTo>
                  <a:lnTo>
                    <a:pt x="21018" y="21018"/>
                  </a:lnTo>
                  <a:lnTo>
                    <a:pt x="5639" y="43826"/>
                  </a:lnTo>
                  <a:lnTo>
                    <a:pt x="0" y="71754"/>
                  </a:lnTo>
                  <a:lnTo>
                    <a:pt x="0" y="1014094"/>
                  </a:lnTo>
                  <a:lnTo>
                    <a:pt x="5639" y="1042023"/>
                  </a:lnTo>
                  <a:lnTo>
                    <a:pt x="21018" y="1064831"/>
                  </a:lnTo>
                  <a:lnTo>
                    <a:pt x="43826" y="1080210"/>
                  </a:lnTo>
                  <a:lnTo>
                    <a:pt x="71754" y="1085850"/>
                  </a:lnTo>
                  <a:lnTo>
                    <a:pt x="5386070" y="1085850"/>
                  </a:lnTo>
                  <a:lnTo>
                    <a:pt x="5413998" y="1080210"/>
                  </a:lnTo>
                  <a:lnTo>
                    <a:pt x="5436806" y="1064831"/>
                  </a:lnTo>
                  <a:lnTo>
                    <a:pt x="5452185" y="1042023"/>
                  </a:lnTo>
                  <a:lnTo>
                    <a:pt x="5457825" y="1014094"/>
                  </a:lnTo>
                  <a:lnTo>
                    <a:pt x="5457825" y="71754"/>
                  </a:lnTo>
                  <a:lnTo>
                    <a:pt x="5452185" y="43826"/>
                  </a:lnTo>
                  <a:lnTo>
                    <a:pt x="5436806" y="21018"/>
                  </a:lnTo>
                  <a:lnTo>
                    <a:pt x="5413998" y="5639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4373A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441" name="Google Shape;4441;p12"/>
            <p:cNvSpPr/>
            <p:nvPr/>
          </p:nvSpPr>
          <p:spPr>
            <a:xfrm>
              <a:off x="6905625" y="3257550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442" name="Google Shape;4442;p12"/>
            <p:cNvPicPr preferRelativeResize="0"/>
            <p:nvPr/>
          </p:nvPicPr>
          <p:blipFill rotWithShape="1">
            <a:blip r:embed="rId19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23270" y="3351990"/>
              <a:ext cx="306407" cy="16300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443" name="Google Shape;4443;p12"/>
            <p:cNvSpPr/>
            <p:nvPr/>
          </p:nvSpPr>
          <p:spPr>
            <a:xfrm>
              <a:off x="5968944" y="3240397"/>
              <a:ext cx="839469" cy="562610"/>
            </a:xfrm>
            <a:custGeom>
              <a:avLst/>
              <a:gdLst/>
              <a:ahLst/>
              <a:cxnLst/>
              <a:rect l="l" t="t" r="r" b="b"/>
              <a:pathLst>
                <a:path w="839470" h="562610" extrusionOk="0">
                  <a:moveTo>
                    <a:pt x="42044" y="0"/>
                  </a:moveTo>
                  <a:lnTo>
                    <a:pt x="8003" y="0"/>
                  </a:lnTo>
                  <a:lnTo>
                    <a:pt x="0" y="7891"/>
                  </a:lnTo>
                  <a:lnTo>
                    <a:pt x="0" y="517459"/>
                  </a:lnTo>
                  <a:lnTo>
                    <a:pt x="15045" y="523115"/>
                  </a:lnTo>
                  <a:lnTo>
                    <a:pt x="27223" y="533102"/>
                  </a:lnTo>
                  <a:lnTo>
                    <a:pt x="35587" y="546469"/>
                  </a:lnTo>
                  <a:lnTo>
                    <a:pt x="39189" y="562267"/>
                  </a:lnTo>
                  <a:lnTo>
                    <a:pt x="45574" y="559568"/>
                  </a:lnTo>
                  <a:lnTo>
                    <a:pt x="50053" y="553302"/>
                  </a:lnTo>
                  <a:lnTo>
                    <a:pt x="50053" y="487031"/>
                  </a:lnTo>
                  <a:lnTo>
                    <a:pt x="838926" y="487031"/>
                  </a:lnTo>
                  <a:lnTo>
                    <a:pt x="838926" y="392686"/>
                  </a:lnTo>
                  <a:lnTo>
                    <a:pt x="50052" y="392686"/>
                  </a:lnTo>
                  <a:lnTo>
                    <a:pt x="50052" y="86051"/>
                  </a:lnTo>
                  <a:lnTo>
                    <a:pt x="838926" y="86052"/>
                  </a:lnTo>
                  <a:lnTo>
                    <a:pt x="838926" y="53067"/>
                  </a:lnTo>
                  <a:lnTo>
                    <a:pt x="50052" y="53067"/>
                  </a:lnTo>
                  <a:lnTo>
                    <a:pt x="50052" y="7891"/>
                  </a:lnTo>
                  <a:lnTo>
                    <a:pt x="42044" y="0"/>
                  </a:lnTo>
                  <a:close/>
                </a:path>
                <a:path w="839470" h="562610" extrusionOk="0">
                  <a:moveTo>
                    <a:pt x="838926" y="487031"/>
                  </a:moveTo>
                  <a:lnTo>
                    <a:pt x="788883" y="487031"/>
                  </a:lnTo>
                  <a:lnTo>
                    <a:pt x="788883" y="517275"/>
                  </a:lnTo>
                  <a:lnTo>
                    <a:pt x="804226" y="522644"/>
                  </a:lnTo>
                  <a:lnTo>
                    <a:pt x="816722" y="532473"/>
                  </a:lnTo>
                  <a:lnTo>
                    <a:pt x="825386" y="545794"/>
                  </a:lnTo>
                  <a:lnTo>
                    <a:pt x="829233" y="561642"/>
                  </a:lnTo>
                  <a:lnTo>
                    <a:pt x="834963" y="558694"/>
                  </a:lnTo>
                  <a:lnTo>
                    <a:pt x="838926" y="552834"/>
                  </a:lnTo>
                  <a:lnTo>
                    <a:pt x="838926" y="487031"/>
                  </a:lnTo>
                  <a:close/>
                </a:path>
                <a:path w="839470" h="562610" extrusionOk="0">
                  <a:moveTo>
                    <a:pt x="838926" y="86052"/>
                  </a:moveTo>
                  <a:lnTo>
                    <a:pt x="788883" y="86052"/>
                  </a:lnTo>
                  <a:lnTo>
                    <a:pt x="788883" y="392686"/>
                  </a:lnTo>
                  <a:lnTo>
                    <a:pt x="838926" y="392686"/>
                  </a:lnTo>
                  <a:lnTo>
                    <a:pt x="838926" y="86052"/>
                  </a:lnTo>
                  <a:close/>
                </a:path>
                <a:path w="839470" h="562610" extrusionOk="0">
                  <a:moveTo>
                    <a:pt x="768064" y="288904"/>
                  </a:moveTo>
                  <a:lnTo>
                    <a:pt x="70862" y="288904"/>
                  </a:lnTo>
                  <a:lnTo>
                    <a:pt x="62859" y="296829"/>
                  </a:lnTo>
                  <a:lnTo>
                    <a:pt x="62859" y="374738"/>
                  </a:lnTo>
                  <a:lnTo>
                    <a:pt x="70862" y="382658"/>
                  </a:lnTo>
                  <a:lnTo>
                    <a:pt x="768064" y="382659"/>
                  </a:lnTo>
                  <a:lnTo>
                    <a:pt x="776086" y="374739"/>
                  </a:lnTo>
                  <a:lnTo>
                    <a:pt x="776086" y="296829"/>
                  </a:lnTo>
                  <a:lnTo>
                    <a:pt x="768064" y="288904"/>
                  </a:lnTo>
                  <a:close/>
                </a:path>
                <a:path w="839470" h="562610" extrusionOk="0">
                  <a:moveTo>
                    <a:pt x="134266" y="86051"/>
                  </a:moveTo>
                  <a:lnTo>
                    <a:pt x="115194" y="86051"/>
                  </a:lnTo>
                  <a:lnTo>
                    <a:pt x="115194" y="288904"/>
                  </a:lnTo>
                  <a:lnTo>
                    <a:pt x="134266" y="288904"/>
                  </a:lnTo>
                  <a:lnTo>
                    <a:pt x="134266" y="86051"/>
                  </a:lnTo>
                  <a:close/>
                </a:path>
                <a:path w="839470" h="562610" extrusionOk="0">
                  <a:moveTo>
                    <a:pt x="218474" y="86051"/>
                  </a:moveTo>
                  <a:lnTo>
                    <a:pt x="199407" y="86051"/>
                  </a:lnTo>
                  <a:lnTo>
                    <a:pt x="199408" y="288904"/>
                  </a:lnTo>
                  <a:lnTo>
                    <a:pt x="218475" y="288904"/>
                  </a:lnTo>
                  <a:lnTo>
                    <a:pt x="218474" y="86051"/>
                  </a:lnTo>
                  <a:close/>
                </a:path>
                <a:path w="839470" h="562610" extrusionOk="0">
                  <a:moveTo>
                    <a:pt x="555333" y="185127"/>
                  </a:moveTo>
                  <a:lnTo>
                    <a:pt x="536233" y="185127"/>
                  </a:lnTo>
                  <a:lnTo>
                    <a:pt x="536233" y="288904"/>
                  </a:lnTo>
                  <a:lnTo>
                    <a:pt x="555333" y="288904"/>
                  </a:lnTo>
                  <a:lnTo>
                    <a:pt x="555333" y="185127"/>
                  </a:lnTo>
                  <a:close/>
                </a:path>
                <a:path w="839470" h="562610" extrusionOk="0">
                  <a:moveTo>
                    <a:pt x="639518" y="86052"/>
                  </a:moveTo>
                  <a:lnTo>
                    <a:pt x="620465" y="86052"/>
                  </a:lnTo>
                  <a:lnTo>
                    <a:pt x="620466" y="288904"/>
                  </a:lnTo>
                  <a:lnTo>
                    <a:pt x="639518" y="288904"/>
                  </a:lnTo>
                  <a:lnTo>
                    <a:pt x="639518" y="86052"/>
                  </a:lnTo>
                  <a:close/>
                </a:path>
                <a:path w="839470" h="562610" extrusionOk="0">
                  <a:moveTo>
                    <a:pt x="723751" y="86052"/>
                  </a:moveTo>
                  <a:lnTo>
                    <a:pt x="704698" y="86052"/>
                  </a:lnTo>
                  <a:lnTo>
                    <a:pt x="704698" y="288904"/>
                  </a:lnTo>
                  <a:lnTo>
                    <a:pt x="723751" y="288904"/>
                  </a:lnTo>
                  <a:lnTo>
                    <a:pt x="723751" y="86052"/>
                  </a:lnTo>
                  <a:close/>
                </a:path>
                <a:path w="839470" h="562610" extrusionOk="0">
                  <a:moveTo>
                    <a:pt x="302688" y="86051"/>
                  </a:moveTo>
                  <a:lnTo>
                    <a:pt x="283616" y="86051"/>
                  </a:lnTo>
                  <a:lnTo>
                    <a:pt x="283616" y="146505"/>
                  </a:lnTo>
                  <a:lnTo>
                    <a:pt x="302688" y="146505"/>
                  </a:lnTo>
                  <a:lnTo>
                    <a:pt x="302688" y="86051"/>
                  </a:lnTo>
                  <a:close/>
                </a:path>
                <a:path w="839470" h="562610" extrusionOk="0">
                  <a:moveTo>
                    <a:pt x="471101" y="86051"/>
                  </a:moveTo>
                  <a:lnTo>
                    <a:pt x="452048" y="86051"/>
                  </a:lnTo>
                  <a:lnTo>
                    <a:pt x="452048" y="121446"/>
                  </a:lnTo>
                  <a:lnTo>
                    <a:pt x="471101" y="121446"/>
                  </a:lnTo>
                  <a:lnTo>
                    <a:pt x="471101" y="86051"/>
                  </a:lnTo>
                  <a:close/>
                </a:path>
                <a:path w="839470" h="562610" extrusionOk="0">
                  <a:moveTo>
                    <a:pt x="386897" y="86051"/>
                  </a:moveTo>
                  <a:lnTo>
                    <a:pt x="367834" y="86051"/>
                  </a:lnTo>
                  <a:lnTo>
                    <a:pt x="367834" y="99944"/>
                  </a:lnTo>
                  <a:lnTo>
                    <a:pt x="386897" y="99944"/>
                  </a:lnTo>
                  <a:lnTo>
                    <a:pt x="386897" y="86051"/>
                  </a:lnTo>
                  <a:close/>
                </a:path>
                <a:path w="839470" h="562610" extrusionOk="0">
                  <a:moveTo>
                    <a:pt x="830951" y="0"/>
                  </a:moveTo>
                  <a:lnTo>
                    <a:pt x="796905" y="0"/>
                  </a:lnTo>
                  <a:lnTo>
                    <a:pt x="788883" y="7891"/>
                  </a:lnTo>
                  <a:lnTo>
                    <a:pt x="788883" y="53067"/>
                  </a:lnTo>
                  <a:lnTo>
                    <a:pt x="838926" y="53067"/>
                  </a:lnTo>
                  <a:lnTo>
                    <a:pt x="838926" y="7891"/>
                  </a:lnTo>
                  <a:lnTo>
                    <a:pt x="83095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444" name="Google Shape;4444;p12"/>
            <p:cNvPicPr preferRelativeResize="0"/>
            <p:nvPr/>
          </p:nvPicPr>
          <p:blipFill rotWithShape="1">
            <a:blip r:embed="rId20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17700" y="3763990"/>
              <a:ext cx="83414" cy="8254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445" name="Google Shape;4445;p12"/>
            <p:cNvPicPr preferRelativeResize="0"/>
            <p:nvPr/>
          </p:nvPicPr>
          <p:blipFill rotWithShape="1">
            <a:blip r:embed="rId21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07785" y="3763990"/>
              <a:ext cx="83420" cy="8255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4446" name="Google Shape;4446;p12"/>
          <p:cNvGrpSpPr/>
          <p:nvPr/>
        </p:nvGrpSpPr>
        <p:grpSpPr>
          <a:xfrm>
            <a:off x="6023130" y="4509978"/>
            <a:ext cx="700053" cy="718531"/>
            <a:chOff x="6023130" y="4509978"/>
            <a:chExt cx="700053" cy="718531"/>
          </a:xfrm>
        </p:grpSpPr>
        <p:sp>
          <p:nvSpPr>
            <p:cNvPr id="4447" name="Google Shape;4447;p12"/>
            <p:cNvSpPr/>
            <p:nvPr/>
          </p:nvSpPr>
          <p:spPr>
            <a:xfrm>
              <a:off x="6023130" y="4694225"/>
              <a:ext cx="336550" cy="302895"/>
            </a:xfrm>
            <a:custGeom>
              <a:avLst/>
              <a:gdLst/>
              <a:ahLst/>
              <a:cxnLst/>
              <a:rect l="l" t="t" r="r" b="b"/>
              <a:pathLst>
                <a:path w="336550" h="302895" extrusionOk="0">
                  <a:moveTo>
                    <a:pt x="214004" y="0"/>
                  </a:moveTo>
                  <a:lnTo>
                    <a:pt x="122531" y="0"/>
                  </a:lnTo>
                  <a:lnTo>
                    <a:pt x="75121" y="9866"/>
                  </a:lnTo>
                  <a:lnTo>
                    <a:pt x="36203" y="36477"/>
                  </a:lnTo>
                  <a:lnTo>
                    <a:pt x="9840" y="75779"/>
                  </a:lnTo>
                  <a:lnTo>
                    <a:pt x="92" y="123717"/>
                  </a:lnTo>
                  <a:lnTo>
                    <a:pt x="0" y="129309"/>
                  </a:lnTo>
                  <a:lnTo>
                    <a:pt x="92" y="140389"/>
                  </a:lnTo>
                  <a:lnTo>
                    <a:pt x="9840" y="188342"/>
                  </a:lnTo>
                  <a:lnTo>
                    <a:pt x="36203" y="227677"/>
                  </a:lnTo>
                  <a:lnTo>
                    <a:pt x="75121" y="254321"/>
                  </a:lnTo>
                  <a:lnTo>
                    <a:pt x="122532" y="264202"/>
                  </a:lnTo>
                  <a:lnTo>
                    <a:pt x="177993" y="264202"/>
                  </a:lnTo>
                  <a:lnTo>
                    <a:pt x="187147" y="270975"/>
                  </a:lnTo>
                  <a:lnTo>
                    <a:pt x="207347" y="285444"/>
                  </a:lnTo>
                  <a:lnTo>
                    <a:pt x="227704" y="298831"/>
                  </a:lnTo>
                  <a:lnTo>
                    <a:pt x="237327" y="302357"/>
                  </a:lnTo>
                  <a:lnTo>
                    <a:pt x="236491" y="292568"/>
                  </a:lnTo>
                  <a:lnTo>
                    <a:pt x="233346" y="279535"/>
                  </a:lnTo>
                  <a:lnTo>
                    <a:pt x="229951" y="268138"/>
                  </a:lnTo>
                  <a:lnTo>
                    <a:pt x="228362" y="263255"/>
                  </a:lnTo>
                  <a:lnTo>
                    <a:pt x="270744" y="249752"/>
                  </a:lnTo>
                  <a:lnTo>
                    <a:pt x="305043" y="222622"/>
                  </a:lnTo>
                  <a:lnTo>
                    <a:pt x="328024" y="185092"/>
                  </a:lnTo>
                  <a:lnTo>
                    <a:pt x="336450" y="140389"/>
                  </a:lnTo>
                  <a:lnTo>
                    <a:pt x="336450" y="123717"/>
                  </a:lnTo>
                  <a:lnTo>
                    <a:pt x="326711" y="75779"/>
                  </a:lnTo>
                  <a:lnTo>
                    <a:pt x="300347" y="36477"/>
                  </a:lnTo>
                  <a:lnTo>
                    <a:pt x="261422" y="9866"/>
                  </a:lnTo>
                  <a:lnTo>
                    <a:pt x="214004" y="0"/>
                  </a:lnTo>
                  <a:close/>
                </a:path>
              </a:pathLst>
            </a:custGeom>
            <a:solidFill>
              <a:srgbClr val="FF8B8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448" name="Google Shape;4448;p12"/>
            <p:cNvSpPr/>
            <p:nvPr/>
          </p:nvSpPr>
          <p:spPr>
            <a:xfrm>
              <a:off x="6351308" y="4891959"/>
              <a:ext cx="295275" cy="336550"/>
            </a:xfrm>
            <a:custGeom>
              <a:avLst/>
              <a:gdLst/>
              <a:ahLst/>
              <a:cxnLst/>
              <a:rect l="l" t="t" r="r" b="b"/>
              <a:pathLst>
                <a:path w="295275" h="336550" extrusionOk="0">
                  <a:moveTo>
                    <a:pt x="147398" y="0"/>
                  </a:moveTo>
                  <a:lnTo>
                    <a:pt x="100809" y="7529"/>
                  </a:lnTo>
                  <a:lnTo>
                    <a:pt x="60346" y="28494"/>
                  </a:lnTo>
                  <a:lnTo>
                    <a:pt x="28439" y="60464"/>
                  </a:lnTo>
                  <a:lnTo>
                    <a:pt x="7514" y="101005"/>
                  </a:lnTo>
                  <a:lnTo>
                    <a:pt x="0" y="147684"/>
                  </a:lnTo>
                  <a:lnTo>
                    <a:pt x="6714" y="191872"/>
                  </a:lnTo>
                  <a:lnTo>
                    <a:pt x="25494" y="230714"/>
                  </a:lnTo>
                  <a:lnTo>
                    <a:pt x="54297" y="262168"/>
                  </a:lnTo>
                  <a:lnTo>
                    <a:pt x="91079" y="284189"/>
                  </a:lnTo>
                  <a:lnTo>
                    <a:pt x="86485" y="306883"/>
                  </a:lnTo>
                  <a:lnTo>
                    <a:pt x="83624" y="324413"/>
                  </a:lnTo>
                  <a:lnTo>
                    <a:pt x="82948" y="336434"/>
                  </a:lnTo>
                  <a:lnTo>
                    <a:pt x="93397" y="332576"/>
                  </a:lnTo>
                  <a:lnTo>
                    <a:pt x="115509" y="318165"/>
                  </a:lnTo>
                  <a:lnTo>
                    <a:pt x="137454" y="302615"/>
                  </a:lnTo>
                  <a:lnTo>
                    <a:pt x="147398" y="295340"/>
                  </a:lnTo>
                  <a:lnTo>
                    <a:pt x="193983" y="287812"/>
                  </a:lnTo>
                  <a:lnTo>
                    <a:pt x="234443" y="266849"/>
                  </a:lnTo>
                  <a:lnTo>
                    <a:pt x="266349" y="234885"/>
                  </a:lnTo>
                  <a:lnTo>
                    <a:pt x="287274" y="194352"/>
                  </a:lnTo>
                  <a:lnTo>
                    <a:pt x="294788" y="147685"/>
                  </a:lnTo>
                  <a:lnTo>
                    <a:pt x="287274" y="101005"/>
                  </a:lnTo>
                  <a:lnTo>
                    <a:pt x="266349" y="60464"/>
                  </a:lnTo>
                  <a:lnTo>
                    <a:pt x="234443" y="28494"/>
                  </a:lnTo>
                  <a:lnTo>
                    <a:pt x="193983" y="7529"/>
                  </a:lnTo>
                  <a:lnTo>
                    <a:pt x="147398" y="0"/>
                  </a:lnTo>
                  <a:close/>
                </a:path>
              </a:pathLst>
            </a:custGeom>
            <a:solidFill>
              <a:srgbClr val="6CD7D4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449" name="Google Shape;4449;p12"/>
            <p:cNvSpPr/>
            <p:nvPr/>
          </p:nvSpPr>
          <p:spPr>
            <a:xfrm>
              <a:off x="6370758" y="4509978"/>
              <a:ext cx="352425" cy="334645"/>
            </a:xfrm>
            <a:custGeom>
              <a:avLst/>
              <a:gdLst/>
              <a:ahLst/>
              <a:cxnLst/>
              <a:rect l="l" t="t" r="r" b="b"/>
              <a:pathLst>
                <a:path w="352425" h="334645" extrusionOk="0">
                  <a:moveTo>
                    <a:pt x="266192" y="0"/>
                  </a:moveTo>
                  <a:lnTo>
                    <a:pt x="86812" y="0"/>
                  </a:lnTo>
                  <a:lnTo>
                    <a:pt x="22360" y="28556"/>
                  </a:lnTo>
                  <a:lnTo>
                    <a:pt x="0" y="95554"/>
                  </a:lnTo>
                  <a:lnTo>
                    <a:pt x="9854" y="201842"/>
                  </a:lnTo>
                  <a:lnTo>
                    <a:pt x="18149" y="231748"/>
                  </a:lnTo>
                  <a:lnTo>
                    <a:pt x="35705" y="256162"/>
                  </a:lnTo>
                  <a:lnTo>
                    <a:pt x="60406" y="273167"/>
                  </a:lnTo>
                  <a:lnTo>
                    <a:pt x="90134" y="280842"/>
                  </a:lnTo>
                  <a:lnTo>
                    <a:pt x="86305" y="303859"/>
                  </a:lnTo>
                  <a:lnTo>
                    <a:pt x="83998" y="321826"/>
                  </a:lnTo>
                  <a:lnTo>
                    <a:pt x="83633" y="334495"/>
                  </a:lnTo>
                  <a:lnTo>
                    <a:pt x="96066" y="329138"/>
                  </a:lnTo>
                  <a:lnTo>
                    <a:pt x="122452" y="310800"/>
                  </a:lnTo>
                  <a:lnTo>
                    <a:pt x="148652" y="291202"/>
                  </a:lnTo>
                  <a:lnTo>
                    <a:pt x="160527" y="282065"/>
                  </a:lnTo>
                  <a:lnTo>
                    <a:pt x="249646" y="281071"/>
                  </a:lnTo>
                  <a:lnTo>
                    <a:pt x="306404" y="260069"/>
                  </a:lnTo>
                  <a:lnTo>
                    <a:pt x="335822" y="207173"/>
                  </a:lnTo>
                  <a:lnTo>
                    <a:pt x="352367" y="100791"/>
                  </a:lnTo>
                  <a:lnTo>
                    <a:pt x="349893" y="62700"/>
                  </a:lnTo>
                  <a:lnTo>
                    <a:pt x="332418" y="30536"/>
                  </a:lnTo>
                  <a:lnTo>
                    <a:pt x="303374" y="8301"/>
                  </a:lnTo>
                  <a:lnTo>
                    <a:pt x="266192" y="0"/>
                  </a:lnTo>
                  <a:close/>
                </a:path>
              </a:pathLst>
            </a:custGeom>
            <a:solidFill>
              <a:srgbClr val="FFB85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450" name="Google Shape;4450;p12"/>
            <p:cNvSpPr/>
            <p:nvPr/>
          </p:nvSpPr>
          <p:spPr>
            <a:xfrm>
              <a:off x="6135560" y="4800612"/>
              <a:ext cx="142875" cy="32384"/>
            </a:xfrm>
            <a:custGeom>
              <a:avLst/>
              <a:gdLst/>
              <a:ahLst/>
              <a:cxnLst/>
              <a:rect l="l" t="t" r="r" b="b"/>
              <a:pathLst>
                <a:path w="142875" h="32385" extrusionOk="0">
                  <a:moveTo>
                    <a:pt x="32258" y="7251"/>
                  </a:moveTo>
                  <a:lnTo>
                    <a:pt x="25044" y="0"/>
                  </a:lnTo>
                  <a:lnTo>
                    <a:pt x="7213" y="0"/>
                  </a:lnTo>
                  <a:lnTo>
                    <a:pt x="0" y="7251"/>
                  </a:lnTo>
                  <a:lnTo>
                    <a:pt x="0" y="25095"/>
                  </a:lnTo>
                  <a:lnTo>
                    <a:pt x="7213" y="32346"/>
                  </a:lnTo>
                  <a:lnTo>
                    <a:pt x="25044" y="32346"/>
                  </a:lnTo>
                  <a:lnTo>
                    <a:pt x="32258" y="25095"/>
                  </a:lnTo>
                  <a:lnTo>
                    <a:pt x="32258" y="16167"/>
                  </a:lnTo>
                  <a:lnTo>
                    <a:pt x="32258" y="7251"/>
                  </a:lnTo>
                  <a:close/>
                </a:path>
                <a:path w="142875" h="32385" extrusionOk="0">
                  <a:moveTo>
                    <a:pt x="142684" y="7251"/>
                  </a:moveTo>
                  <a:lnTo>
                    <a:pt x="135432" y="0"/>
                  </a:lnTo>
                  <a:lnTo>
                    <a:pt x="117627" y="0"/>
                  </a:lnTo>
                  <a:lnTo>
                    <a:pt x="110401" y="7251"/>
                  </a:lnTo>
                  <a:lnTo>
                    <a:pt x="110401" y="25095"/>
                  </a:lnTo>
                  <a:lnTo>
                    <a:pt x="117627" y="32346"/>
                  </a:lnTo>
                  <a:lnTo>
                    <a:pt x="135432" y="32346"/>
                  </a:lnTo>
                  <a:lnTo>
                    <a:pt x="142684" y="25095"/>
                  </a:lnTo>
                  <a:lnTo>
                    <a:pt x="142684" y="16167"/>
                  </a:lnTo>
                  <a:lnTo>
                    <a:pt x="142684" y="7251"/>
                  </a:lnTo>
                  <a:close/>
                </a:path>
              </a:pathLst>
            </a:custGeom>
            <a:solidFill>
              <a:srgbClr val="DD375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451" name="Google Shape;4451;p12"/>
            <p:cNvSpPr/>
            <p:nvPr/>
          </p:nvSpPr>
          <p:spPr>
            <a:xfrm>
              <a:off x="6402565" y="4981447"/>
              <a:ext cx="135890" cy="34290"/>
            </a:xfrm>
            <a:custGeom>
              <a:avLst/>
              <a:gdLst/>
              <a:ahLst/>
              <a:cxnLst/>
              <a:rect l="l" t="t" r="r" b="b"/>
              <a:pathLst>
                <a:path w="135890" h="34289" extrusionOk="0">
                  <a:moveTo>
                    <a:pt x="33921" y="7594"/>
                  </a:moveTo>
                  <a:lnTo>
                    <a:pt x="26339" y="0"/>
                  </a:lnTo>
                  <a:lnTo>
                    <a:pt x="7607" y="0"/>
                  </a:lnTo>
                  <a:lnTo>
                    <a:pt x="0" y="7594"/>
                  </a:lnTo>
                  <a:lnTo>
                    <a:pt x="0" y="26365"/>
                  </a:lnTo>
                  <a:lnTo>
                    <a:pt x="7607" y="33985"/>
                  </a:lnTo>
                  <a:lnTo>
                    <a:pt x="26339" y="33985"/>
                  </a:lnTo>
                  <a:lnTo>
                    <a:pt x="33921" y="26365"/>
                  </a:lnTo>
                  <a:lnTo>
                    <a:pt x="33921" y="16992"/>
                  </a:lnTo>
                  <a:lnTo>
                    <a:pt x="33921" y="7594"/>
                  </a:lnTo>
                  <a:close/>
                </a:path>
                <a:path w="135890" h="34289" extrusionOk="0">
                  <a:moveTo>
                    <a:pt x="135699" y="7594"/>
                  </a:moveTo>
                  <a:lnTo>
                    <a:pt x="128104" y="0"/>
                  </a:lnTo>
                  <a:lnTo>
                    <a:pt x="109385" y="0"/>
                  </a:lnTo>
                  <a:lnTo>
                    <a:pt x="101777" y="7594"/>
                  </a:lnTo>
                  <a:lnTo>
                    <a:pt x="101777" y="26365"/>
                  </a:lnTo>
                  <a:lnTo>
                    <a:pt x="109385" y="33985"/>
                  </a:lnTo>
                  <a:lnTo>
                    <a:pt x="128104" y="33985"/>
                  </a:lnTo>
                  <a:lnTo>
                    <a:pt x="135699" y="26365"/>
                  </a:lnTo>
                  <a:lnTo>
                    <a:pt x="135699" y="16992"/>
                  </a:lnTo>
                  <a:lnTo>
                    <a:pt x="135699" y="7594"/>
                  </a:lnTo>
                  <a:close/>
                </a:path>
              </a:pathLst>
            </a:custGeom>
            <a:solidFill>
              <a:srgbClr val="44BBBB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452" name="Google Shape;4452;p12"/>
            <p:cNvSpPr/>
            <p:nvPr/>
          </p:nvSpPr>
          <p:spPr>
            <a:xfrm>
              <a:off x="6182220" y="4649888"/>
              <a:ext cx="394335" cy="425450"/>
            </a:xfrm>
            <a:custGeom>
              <a:avLst/>
              <a:gdLst/>
              <a:ahLst/>
              <a:cxnLst/>
              <a:rect l="l" t="t" r="r" b="b"/>
              <a:pathLst>
                <a:path w="394334" h="425450" extrusionOk="0">
                  <a:moveTo>
                    <a:pt x="54470" y="191452"/>
                  </a:moveTo>
                  <a:lnTo>
                    <a:pt x="51219" y="186880"/>
                  </a:lnTo>
                  <a:lnTo>
                    <a:pt x="41592" y="185254"/>
                  </a:lnTo>
                  <a:lnTo>
                    <a:pt x="37007" y="188518"/>
                  </a:lnTo>
                  <a:lnTo>
                    <a:pt x="35077" y="200202"/>
                  </a:lnTo>
                  <a:lnTo>
                    <a:pt x="31038" y="201142"/>
                  </a:lnTo>
                  <a:lnTo>
                    <a:pt x="23444" y="201142"/>
                  </a:lnTo>
                  <a:lnTo>
                    <a:pt x="19405" y="200202"/>
                  </a:lnTo>
                  <a:lnTo>
                    <a:pt x="17449" y="188518"/>
                  </a:lnTo>
                  <a:lnTo>
                    <a:pt x="12839" y="185254"/>
                  </a:lnTo>
                  <a:lnTo>
                    <a:pt x="3251" y="186880"/>
                  </a:lnTo>
                  <a:lnTo>
                    <a:pt x="0" y="191452"/>
                  </a:lnTo>
                  <a:lnTo>
                    <a:pt x="812" y="196278"/>
                  </a:lnTo>
                  <a:lnTo>
                    <a:pt x="3949" y="205689"/>
                  </a:lnTo>
                  <a:lnTo>
                    <a:pt x="9639" y="212801"/>
                  </a:lnTo>
                  <a:lnTo>
                    <a:pt x="17538" y="217309"/>
                  </a:lnTo>
                  <a:lnTo>
                    <a:pt x="27241" y="218871"/>
                  </a:lnTo>
                  <a:lnTo>
                    <a:pt x="36931" y="217309"/>
                  </a:lnTo>
                  <a:lnTo>
                    <a:pt x="44818" y="212801"/>
                  </a:lnTo>
                  <a:lnTo>
                    <a:pt x="50520" y="205689"/>
                  </a:lnTo>
                  <a:lnTo>
                    <a:pt x="53670" y="196278"/>
                  </a:lnTo>
                  <a:lnTo>
                    <a:pt x="54470" y="191452"/>
                  </a:lnTo>
                  <a:close/>
                </a:path>
                <a:path w="394334" h="425450" extrusionOk="0">
                  <a:moveTo>
                    <a:pt x="313601" y="399338"/>
                  </a:moveTo>
                  <a:lnTo>
                    <a:pt x="310857" y="395973"/>
                  </a:lnTo>
                  <a:lnTo>
                    <a:pt x="267195" y="395973"/>
                  </a:lnTo>
                  <a:lnTo>
                    <a:pt x="263486" y="395973"/>
                  </a:lnTo>
                  <a:lnTo>
                    <a:pt x="260731" y="399338"/>
                  </a:lnTo>
                  <a:lnTo>
                    <a:pt x="261366" y="403009"/>
                  </a:lnTo>
                  <a:lnTo>
                    <a:pt x="263944" y="411518"/>
                  </a:lnTo>
                  <a:lnTo>
                    <a:pt x="268909" y="418566"/>
                  </a:lnTo>
                  <a:lnTo>
                    <a:pt x="276542" y="423367"/>
                  </a:lnTo>
                  <a:lnTo>
                    <a:pt x="287172" y="425145"/>
                  </a:lnTo>
                  <a:lnTo>
                    <a:pt x="297789" y="423367"/>
                  </a:lnTo>
                  <a:lnTo>
                    <a:pt x="305435" y="418566"/>
                  </a:lnTo>
                  <a:lnTo>
                    <a:pt x="310400" y="411518"/>
                  </a:lnTo>
                  <a:lnTo>
                    <a:pt x="312991" y="403009"/>
                  </a:lnTo>
                  <a:lnTo>
                    <a:pt x="313601" y="399338"/>
                  </a:lnTo>
                  <a:close/>
                </a:path>
                <a:path w="394334" h="425450" extrusionOk="0">
                  <a:moveTo>
                    <a:pt x="393941" y="6362"/>
                  </a:moveTo>
                  <a:lnTo>
                    <a:pt x="388759" y="0"/>
                  </a:lnTo>
                  <a:lnTo>
                    <a:pt x="306133" y="0"/>
                  </a:lnTo>
                  <a:lnTo>
                    <a:pt x="299123" y="0"/>
                  </a:lnTo>
                  <a:lnTo>
                    <a:pt x="293941" y="6362"/>
                  </a:lnTo>
                  <a:lnTo>
                    <a:pt x="295097" y="13296"/>
                  </a:lnTo>
                  <a:lnTo>
                    <a:pt x="299986" y="29400"/>
                  </a:lnTo>
                  <a:lnTo>
                    <a:pt x="309372" y="42735"/>
                  </a:lnTo>
                  <a:lnTo>
                    <a:pt x="323837" y="51828"/>
                  </a:lnTo>
                  <a:lnTo>
                    <a:pt x="343941" y="55194"/>
                  </a:lnTo>
                  <a:lnTo>
                    <a:pt x="364045" y="51828"/>
                  </a:lnTo>
                  <a:lnTo>
                    <a:pt x="378510" y="42735"/>
                  </a:lnTo>
                  <a:lnTo>
                    <a:pt x="387896" y="29400"/>
                  </a:lnTo>
                  <a:lnTo>
                    <a:pt x="392798" y="13296"/>
                  </a:lnTo>
                  <a:lnTo>
                    <a:pt x="393941" y="63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453" name="Google Shape;4453;p12"/>
            <p:cNvSpPr/>
            <p:nvPr/>
          </p:nvSpPr>
          <p:spPr>
            <a:xfrm>
              <a:off x="6451346" y="4584953"/>
              <a:ext cx="156845" cy="25400"/>
            </a:xfrm>
            <a:custGeom>
              <a:avLst/>
              <a:gdLst/>
              <a:ahLst/>
              <a:cxnLst/>
              <a:rect l="l" t="t" r="r" b="b"/>
              <a:pathLst>
                <a:path w="156845" h="25400" extrusionOk="0">
                  <a:moveTo>
                    <a:pt x="55638" y="13868"/>
                  </a:moveTo>
                  <a:lnTo>
                    <a:pt x="52285" y="10312"/>
                  </a:lnTo>
                  <a:lnTo>
                    <a:pt x="40779" y="2692"/>
                  </a:lnTo>
                  <a:lnTo>
                    <a:pt x="27381" y="0"/>
                  </a:lnTo>
                  <a:lnTo>
                    <a:pt x="14503" y="1358"/>
                  </a:lnTo>
                  <a:lnTo>
                    <a:pt x="4584" y="5918"/>
                  </a:lnTo>
                  <a:lnTo>
                    <a:pt x="711" y="8902"/>
                  </a:lnTo>
                  <a:lnTo>
                    <a:pt x="0" y="14465"/>
                  </a:lnTo>
                  <a:lnTo>
                    <a:pt x="5943" y="22250"/>
                  </a:lnTo>
                  <a:lnTo>
                    <a:pt x="11506" y="22987"/>
                  </a:lnTo>
                  <a:lnTo>
                    <a:pt x="15367" y="19989"/>
                  </a:lnTo>
                  <a:lnTo>
                    <a:pt x="19977" y="18161"/>
                  </a:lnTo>
                  <a:lnTo>
                    <a:pt x="26644" y="17653"/>
                  </a:lnTo>
                  <a:lnTo>
                    <a:pt x="33693" y="18935"/>
                  </a:lnTo>
                  <a:lnTo>
                    <a:pt x="39433" y="22479"/>
                  </a:lnTo>
                  <a:lnTo>
                    <a:pt x="41148" y="24320"/>
                  </a:lnTo>
                  <a:lnTo>
                    <a:pt x="43510" y="25247"/>
                  </a:lnTo>
                  <a:lnTo>
                    <a:pt x="45847" y="25247"/>
                  </a:lnTo>
                  <a:lnTo>
                    <a:pt x="48044" y="25247"/>
                  </a:lnTo>
                  <a:lnTo>
                    <a:pt x="50203" y="24460"/>
                  </a:lnTo>
                  <a:lnTo>
                    <a:pt x="55486" y="19469"/>
                  </a:lnTo>
                  <a:lnTo>
                    <a:pt x="55638" y="13868"/>
                  </a:lnTo>
                  <a:close/>
                </a:path>
                <a:path w="156845" h="25400" extrusionOk="0">
                  <a:moveTo>
                    <a:pt x="156679" y="14465"/>
                  </a:moveTo>
                  <a:lnTo>
                    <a:pt x="155943" y="8902"/>
                  </a:lnTo>
                  <a:lnTo>
                    <a:pt x="152069" y="5918"/>
                  </a:lnTo>
                  <a:lnTo>
                    <a:pt x="142163" y="1358"/>
                  </a:lnTo>
                  <a:lnTo>
                    <a:pt x="129298" y="0"/>
                  </a:lnTo>
                  <a:lnTo>
                    <a:pt x="115887" y="2692"/>
                  </a:lnTo>
                  <a:lnTo>
                    <a:pt x="104368" y="10312"/>
                  </a:lnTo>
                  <a:lnTo>
                    <a:pt x="101015" y="13868"/>
                  </a:lnTo>
                  <a:lnTo>
                    <a:pt x="101180" y="19469"/>
                  </a:lnTo>
                  <a:lnTo>
                    <a:pt x="106451" y="24460"/>
                  </a:lnTo>
                  <a:lnTo>
                    <a:pt x="108635" y="25247"/>
                  </a:lnTo>
                  <a:lnTo>
                    <a:pt x="110807" y="25247"/>
                  </a:lnTo>
                  <a:lnTo>
                    <a:pt x="113157" y="25247"/>
                  </a:lnTo>
                  <a:lnTo>
                    <a:pt x="115506" y="24320"/>
                  </a:lnTo>
                  <a:lnTo>
                    <a:pt x="117259" y="22479"/>
                  </a:lnTo>
                  <a:lnTo>
                    <a:pt x="122999" y="18948"/>
                  </a:lnTo>
                  <a:lnTo>
                    <a:pt x="130022" y="17665"/>
                  </a:lnTo>
                  <a:lnTo>
                    <a:pt x="136690" y="18161"/>
                  </a:lnTo>
                  <a:lnTo>
                    <a:pt x="141287" y="19989"/>
                  </a:lnTo>
                  <a:lnTo>
                    <a:pt x="145186" y="22987"/>
                  </a:lnTo>
                  <a:lnTo>
                    <a:pt x="150736" y="22250"/>
                  </a:lnTo>
                  <a:lnTo>
                    <a:pt x="156679" y="14465"/>
                  </a:lnTo>
                  <a:close/>
                </a:path>
              </a:pathLst>
            </a:custGeom>
            <a:solidFill>
              <a:srgbClr val="F7844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4454" name="Google Shape;4454;p12"/>
          <p:cNvPicPr preferRelativeResize="0"/>
          <p:nvPr/>
        </p:nvPicPr>
        <p:blipFill rotWithShape="1">
          <a:blip r:embed="rId2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2659" y="5664802"/>
            <a:ext cx="591008" cy="786692"/>
          </a:xfrm>
          <a:prstGeom prst="rect">
            <a:avLst/>
          </a:prstGeom>
          <a:noFill/>
          <a:ln>
            <a:noFill/>
          </a:ln>
        </p:spPr>
      </p:pic>
      <p:sp>
        <p:nvSpPr>
          <p:cNvPr id="4455" name="Google Shape;4455;p12"/>
          <p:cNvSpPr txBox="1">
            <a:spLocks noGrp="1"/>
          </p:cNvSpPr>
          <p:nvPr>
            <p:ph type="title"/>
          </p:nvPr>
        </p:nvSpPr>
        <p:spPr>
          <a:xfrm>
            <a:off x="6995159" y="-196603"/>
            <a:ext cx="3715385" cy="1518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7950" rIns="0" bIns="0" anchor="t" anchorCtr="0">
            <a:spAutoFit/>
          </a:bodyPr>
          <a:lstStyle/>
          <a:p>
            <a:pPr marL="945514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>
                <a:solidFill>
                  <a:srgbClr val="000000"/>
                </a:solidFill>
              </a:rPr>
              <a:t>Change Ideas</a:t>
            </a:r>
            <a:endParaRPr sz="2400"/>
          </a:p>
          <a:p>
            <a:pPr marL="12700" marR="5080" lvl="0" indent="0" algn="l" rtl="0">
              <a:lnSpc>
                <a:spcPct val="126800"/>
              </a:lnSpc>
              <a:spcBef>
                <a:spcPts val="190"/>
              </a:spcBef>
              <a:spcAft>
                <a:spcPts val="0"/>
              </a:spcAft>
              <a:buNone/>
            </a:pPr>
            <a:r>
              <a:rPr lang="en-US" sz="12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ducate providers, nurses, and other staff about listening to families, providing respectful care and building trust, and addressing implicit bias and engaging in anti-racism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56" name="Google Shape;4456;p12"/>
          <p:cNvSpPr txBox="1"/>
          <p:nvPr/>
        </p:nvSpPr>
        <p:spPr>
          <a:xfrm>
            <a:off x="6995159" y="1706434"/>
            <a:ext cx="3282950" cy="502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12700" marR="5080" lvl="0" indent="0" algn="l" rtl="0">
              <a:lnSpc>
                <a:spcPct val="12509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ncourage open discussions about equitable and respectful care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57" name="Google Shape;4457;p12"/>
          <p:cNvSpPr txBox="1"/>
          <p:nvPr/>
        </p:nvSpPr>
        <p:spPr>
          <a:xfrm>
            <a:off x="6999351" y="3205289"/>
            <a:ext cx="4077335" cy="750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96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ducate providers, nurses, and other staff about the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  <a:p>
            <a:pPr marL="12700" marR="5080" lvl="0" indent="0" algn="l" rtl="0">
              <a:lnSpc>
                <a:spcPct val="156000"/>
              </a:lnSpc>
              <a:spcBef>
                <a:spcPts val="35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mportance of a safe sleep environment for every sleep during hospitalization and at home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58" name="Google Shape;4458;p12"/>
          <p:cNvSpPr txBox="1"/>
          <p:nvPr/>
        </p:nvSpPr>
        <p:spPr>
          <a:xfrm>
            <a:off x="6991984" y="5632513"/>
            <a:ext cx="4028440" cy="750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975" rIns="0" bIns="0" anchor="t" anchorCtr="0">
            <a:spAutoFit/>
          </a:bodyPr>
          <a:lstStyle/>
          <a:p>
            <a:pPr marL="12700" marR="5080" lvl="0" indent="0" algn="l" rtl="0">
              <a:lnSpc>
                <a:spcPct val="12769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ndorse and model a safe sleep environment for every sleep during the hospitalization, including correcting unsafe behaviors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59" name="Google Shape;4459;p12"/>
          <p:cNvSpPr txBox="1"/>
          <p:nvPr/>
        </p:nvSpPr>
        <p:spPr>
          <a:xfrm>
            <a:off x="1110297" y="825436"/>
            <a:ext cx="3028950" cy="8648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12700" marR="5080" lvl="0" indent="0" algn="ctr" rtl="0">
              <a:lnSpc>
                <a:spcPct val="1171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1: Equitable and Respectful Care Education and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lnSpc>
                <a:spcPct val="100000"/>
              </a:lnSpc>
              <a:spcBef>
                <a:spcPts val="39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Implementation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60" name="Google Shape;4460;p12"/>
          <p:cNvSpPr txBox="1"/>
          <p:nvPr/>
        </p:nvSpPr>
        <p:spPr>
          <a:xfrm>
            <a:off x="1217612" y="4504377"/>
            <a:ext cx="2715895" cy="86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600" rIns="0" bIns="0" anchor="t" anchorCtr="0">
            <a:spAutoFit/>
          </a:bodyPr>
          <a:lstStyle/>
          <a:p>
            <a:pPr marL="12700" marR="5080" lvl="0" indent="0" algn="ctr" rtl="0">
              <a:lnSpc>
                <a:spcPct val="1191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2: Safe Sleep Environment Education and Implementation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61" name="Google Shape;4461;p12"/>
          <p:cNvSpPr txBox="1"/>
          <p:nvPr/>
        </p:nvSpPr>
        <p:spPr>
          <a:xfrm>
            <a:off x="6995159" y="4390516"/>
            <a:ext cx="4231005" cy="9886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875" rIns="0" bIns="0" anchor="t" anchorCtr="0">
            <a:spAutoFit/>
          </a:bodyPr>
          <a:lstStyle/>
          <a:p>
            <a:pPr marL="12700" marR="5080" lvl="0" indent="0" algn="l" rtl="0">
              <a:lnSpc>
                <a:spcPct val="1268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ncourage meaningful, culturally appropriate, respectful, nonjudgmental conversations between providers, nurses, and other staff and parents and caregivers about a safe sleep environment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62" name="Google Shape;4462;p12"/>
          <p:cNvSpPr/>
          <p:nvPr/>
        </p:nvSpPr>
        <p:spPr>
          <a:xfrm>
            <a:off x="4500626" y="852550"/>
            <a:ext cx="1173480" cy="1371600"/>
          </a:xfrm>
          <a:custGeom>
            <a:avLst/>
            <a:gdLst/>
            <a:ahLst/>
            <a:cxnLst/>
            <a:rect l="l" t="t" r="r" b="b"/>
            <a:pathLst>
              <a:path w="1173479" h="1371600" extrusionOk="0">
                <a:moveTo>
                  <a:pt x="19050" y="514350"/>
                </a:moveTo>
                <a:lnTo>
                  <a:pt x="1168527" y="1371219"/>
                </a:lnTo>
              </a:path>
              <a:path w="1173479" h="1371600" extrusionOk="0">
                <a:moveTo>
                  <a:pt x="0" y="537590"/>
                </a:moveTo>
                <a:lnTo>
                  <a:pt x="1173099" y="0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63" name="Google Shape;4463;p12"/>
          <p:cNvSpPr/>
          <p:nvPr/>
        </p:nvSpPr>
        <p:spPr>
          <a:xfrm>
            <a:off x="4453001" y="3595751"/>
            <a:ext cx="1426845" cy="2532380"/>
          </a:xfrm>
          <a:custGeom>
            <a:avLst/>
            <a:gdLst/>
            <a:ahLst/>
            <a:cxnLst/>
            <a:rect l="l" t="t" r="r" b="b"/>
            <a:pathLst>
              <a:path w="1426845" h="2532379" extrusionOk="0">
                <a:moveTo>
                  <a:pt x="0" y="1247775"/>
                </a:moveTo>
                <a:lnTo>
                  <a:pt x="1426718" y="2531808"/>
                </a:lnTo>
              </a:path>
              <a:path w="1426845" h="2532379" extrusionOk="0">
                <a:moveTo>
                  <a:pt x="28575" y="1292225"/>
                </a:moveTo>
                <a:lnTo>
                  <a:pt x="1298321" y="1266825"/>
                </a:lnTo>
              </a:path>
              <a:path w="1426845" h="2532379" extrusionOk="0">
                <a:moveTo>
                  <a:pt x="0" y="1322070"/>
                </a:moveTo>
                <a:lnTo>
                  <a:pt x="1283081" y="0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67" name="Google Shape;4167;p2"/>
          <p:cNvGrpSpPr/>
          <p:nvPr/>
        </p:nvGrpSpPr>
        <p:grpSpPr>
          <a:xfrm>
            <a:off x="7191375" y="0"/>
            <a:ext cx="5000625" cy="1428702"/>
            <a:chOff x="7191375" y="0"/>
            <a:chExt cx="5000625" cy="1428702"/>
          </a:xfrm>
        </p:grpSpPr>
        <p:pic>
          <p:nvPicPr>
            <p:cNvPr id="4168" name="Google Shape;4168;p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9267825" y="228600"/>
              <a:ext cx="20193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169" name="Google Shape;4169;p2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91375" y="0"/>
              <a:ext cx="5000625" cy="142870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170" name="Google Shape;4170;p2"/>
            <p:cNvSpPr/>
            <p:nvPr/>
          </p:nvSpPr>
          <p:spPr>
            <a:xfrm>
              <a:off x="7334250" y="0"/>
              <a:ext cx="4857750" cy="1390650"/>
            </a:xfrm>
            <a:custGeom>
              <a:avLst/>
              <a:gdLst/>
              <a:ahLst/>
              <a:cxnLst/>
              <a:rect l="l" t="t" r="r" b="b"/>
              <a:pathLst>
                <a:path w="4857750" h="1390650" extrusionOk="0">
                  <a:moveTo>
                    <a:pt x="229743" y="0"/>
                  </a:moveTo>
                  <a:lnTo>
                    <a:pt x="0" y="0"/>
                  </a:lnTo>
                  <a:lnTo>
                    <a:pt x="294640" y="211963"/>
                  </a:lnTo>
                  <a:lnTo>
                    <a:pt x="336443" y="241649"/>
                  </a:lnTo>
                  <a:lnTo>
                    <a:pt x="462343" y="330215"/>
                  </a:lnTo>
                  <a:lnTo>
                    <a:pt x="546742" y="388717"/>
                  </a:lnTo>
                  <a:lnTo>
                    <a:pt x="631571" y="446659"/>
                  </a:lnTo>
                  <a:lnTo>
                    <a:pt x="716933" y="503920"/>
                  </a:lnTo>
                  <a:lnTo>
                    <a:pt x="759849" y="532257"/>
                  </a:lnTo>
                  <a:lnTo>
                    <a:pt x="802929" y="560377"/>
                  </a:lnTo>
                  <a:lnTo>
                    <a:pt x="846177" y="588268"/>
                  </a:lnTo>
                  <a:lnTo>
                    <a:pt x="889598" y="615914"/>
                  </a:lnTo>
                  <a:lnTo>
                    <a:pt x="933197" y="643302"/>
                  </a:lnTo>
                  <a:lnTo>
                    <a:pt x="976979" y="670417"/>
                  </a:lnTo>
                  <a:lnTo>
                    <a:pt x="1020948" y="697244"/>
                  </a:lnTo>
                  <a:lnTo>
                    <a:pt x="1065109" y="723770"/>
                  </a:lnTo>
                  <a:lnTo>
                    <a:pt x="1109468" y="749980"/>
                  </a:lnTo>
                  <a:lnTo>
                    <a:pt x="1154029" y="775860"/>
                  </a:lnTo>
                  <a:lnTo>
                    <a:pt x="1198796" y="801396"/>
                  </a:lnTo>
                  <a:lnTo>
                    <a:pt x="1243775" y="826572"/>
                  </a:lnTo>
                  <a:lnTo>
                    <a:pt x="1288971" y="851376"/>
                  </a:lnTo>
                  <a:lnTo>
                    <a:pt x="1334389" y="875791"/>
                  </a:lnTo>
                  <a:lnTo>
                    <a:pt x="1380041" y="899734"/>
                  </a:lnTo>
                  <a:lnTo>
                    <a:pt x="1425938" y="923260"/>
                  </a:lnTo>
                  <a:lnTo>
                    <a:pt x="1472075" y="946356"/>
                  </a:lnTo>
                  <a:lnTo>
                    <a:pt x="1518451" y="969006"/>
                  </a:lnTo>
                  <a:lnTo>
                    <a:pt x="1565062" y="991196"/>
                  </a:lnTo>
                  <a:lnTo>
                    <a:pt x="1611905" y="1012911"/>
                  </a:lnTo>
                  <a:lnTo>
                    <a:pt x="1658978" y="1034138"/>
                  </a:lnTo>
                  <a:lnTo>
                    <a:pt x="1706276" y="1054862"/>
                  </a:lnTo>
                  <a:lnTo>
                    <a:pt x="1753798" y="1075067"/>
                  </a:lnTo>
                  <a:lnTo>
                    <a:pt x="1801540" y="1094740"/>
                  </a:lnTo>
                  <a:lnTo>
                    <a:pt x="1849500" y="1113866"/>
                  </a:lnTo>
                  <a:lnTo>
                    <a:pt x="1897673" y="1132431"/>
                  </a:lnTo>
                  <a:lnTo>
                    <a:pt x="1946058" y="1150419"/>
                  </a:lnTo>
                  <a:lnTo>
                    <a:pt x="1994652" y="1167818"/>
                  </a:lnTo>
                  <a:lnTo>
                    <a:pt x="2043450" y="1184611"/>
                  </a:lnTo>
                  <a:lnTo>
                    <a:pt x="2092452" y="1200785"/>
                  </a:lnTo>
                  <a:lnTo>
                    <a:pt x="2141679" y="1216319"/>
                  </a:lnTo>
                  <a:lnTo>
                    <a:pt x="2191105" y="1231202"/>
                  </a:lnTo>
                  <a:lnTo>
                    <a:pt x="2240720" y="1245432"/>
                  </a:lnTo>
                  <a:lnTo>
                    <a:pt x="2290514" y="1259006"/>
                  </a:lnTo>
                  <a:lnTo>
                    <a:pt x="2340477" y="1271922"/>
                  </a:lnTo>
                  <a:lnTo>
                    <a:pt x="2390598" y="1284179"/>
                  </a:lnTo>
                  <a:lnTo>
                    <a:pt x="2440869" y="1295773"/>
                  </a:lnTo>
                  <a:lnTo>
                    <a:pt x="2491279" y="1306702"/>
                  </a:lnTo>
                  <a:lnTo>
                    <a:pt x="2541819" y="1316965"/>
                  </a:lnTo>
                  <a:lnTo>
                    <a:pt x="2592478" y="1326559"/>
                  </a:lnTo>
                  <a:lnTo>
                    <a:pt x="2643247" y="1335482"/>
                  </a:lnTo>
                  <a:lnTo>
                    <a:pt x="2694116" y="1343731"/>
                  </a:lnTo>
                  <a:lnTo>
                    <a:pt x="2745075" y="1351304"/>
                  </a:lnTo>
                  <a:lnTo>
                    <a:pt x="2796114" y="1358200"/>
                  </a:lnTo>
                  <a:lnTo>
                    <a:pt x="2847224" y="1364415"/>
                  </a:lnTo>
                  <a:lnTo>
                    <a:pt x="2898394" y="1369949"/>
                  </a:lnTo>
                  <a:lnTo>
                    <a:pt x="2949823" y="1374812"/>
                  </a:lnTo>
                  <a:lnTo>
                    <a:pt x="3001242" y="1379023"/>
                  </a:lnTo>
                  <a:lnTo>
                    <a:pt x="3052652" y="1382582"/>
                  </a:lnTo>
                  <a:lnTo>
                    <a:pt x="3104054" y="1385490"/>
                  </a:lnTo>
                  <a:lnTo>
                    <a:pt x="3155451" y="1387750"/>
                  </a:lnTo>
                  <a:lnTo>
                    <a:pt x="3206843" y="1389362"/>
                  </a:lnTo>
                  <a:lnTo>
                    <a:pt x="3258232" y="1390328"/>
                  </a:lnTo>
                  <a:lnTo>
                    <a:pt x="3309620" y="1390650"/>
                  </a:lnTo>
                  <a:lnTo>
                    <a:pt x="3464179" y="1387475"/>
                  </a:lnTo>
                  <a:lnTo>
                    <a:pt x="3515741" y="1384808"/>
                  </a:lnTo>
                  <a:lnTo>
                    <a:pt x="3618229" y="1378965"/>
                  </a:lnTo>
                  <a:lnTo>
                    <a:pt x="3771773" y="1364614"/>
                  </a:lnTo>
                  <a:lnTo>
                    <a:pt x="3912044" y="1346962"/>
                  </a:lnTo>
                  <a:lnTo>
                    <a:pt x="4051807" y="1324228"/>
                  </a:lnTo>
                  <a:lnTo>
                    <a:pt x="4127246" y="1309751"/>
                  </a:lnTo>
                  <a:lnTo>
                    <a:pt x="4202558" y="1294695"/>
                  </a:lnTo>
                  <a:lnTo>
                    <a:pt x="4327525" y="1266189"/>
                  </a:lnTo>
                  <a:lnTo>
                    <a:pt x="4451858" y="1234313"/>
                  </a:lnTo>
                  <a:lnTo>
                    <a:pt x="4476242" y="1227327"/>
                  </a:lnTo>
                  <a:lnTo>
                    <a:pt x="4525645" y="1213612"/>
                  </a:lnTo>
                  <a:lnTo>
                    <a:pt x="4574795" y="1199179"/>
                  </a:lnTo>
                  <a:lnTo>
                    <a:pt x="4623768" y="1184259"/>
                  </a:lnTo>
                  <a:lnTo>
                    <a:pt x="4672574" y="1168838"/>
                  </a:lnTo>
                  <a:lnTo>
                    <a:pt x="4721225" y="1152905"/>
                  </a:lnTo>
                  <a:lnTo>
                    <a:pt x="4857750" y="1104011"/>
                  </a:lnTo>
                  <a:lnTo>
                    <a:pt x="4857750" y="1092327"/>
                  </a:lnTo>
                  <a:lnTo>
                    <a:pt x="4717288" y="1139063"/>
                  </a:lnTo>
                  <a:lnTo>
                    <a:pt x="4668428" y="1153777"/>
                  </a:lnTo>
                  <a:lnTo>
                    <a:pt x="4619402" y="1168003"/>
                  </a:lnTo>
                  <a:lnTo>
                    <a:pt x="4570233" y="1181729"/>
                  </a:lnTo>
                  <a:lnTo>
                    <a:pt x="4520946" y="1194942"/>
                  </a:lnTo>
                  <a:lnTo>
                    <a:pt x="4447032" y="1214120"/>
                  </a:lnTo>
                  <a:lnTo>
                    <a:pt x="4322699" y="1242822"/>
                  </a:lnTo>
                  <a:lnTo>
                    <a:pt x="4197750" y="1268172"/>
                  </a:lnTo>
                  <a:lnTo>
                    <a:pt x="4072001" y="1289558"/>
                  </a:lnTo>
                  <a:lnTo>
                    <a:pt x="4055491" y="1292733"/>
                  </a:lnTo>
                  <a:lnTo>
                    <a:pt x="4021454" y="1297051"/>
                  </a:lnTo>
                  <a:lnTo>
                    <a:pt x="3914235" y="1311890"/>
                  </a:lnTo>
                  <a:lnTo>
                    <a:pt x="3768598" y="1327403"/>
                  </a:lnTo>
                  <a:lnTo>
                    <a:pt x="3666942" y="1334708"/>
                  </a:lnTo>
                  <a:lnTo>
                    <a:pt x="3616178" y="1337689"/>
                  </a:lnTo>
                  <a:lnTo>
                    <a:pt x="3565388" y="1340030"/>
                  </a:lnTo>
                  <a:lnTo>
                    <a:pt x="3514581" y="1341730"/>
                  </a:lnTo>
                  <a:lnTo>
                    <a:pt x="3463764" y="1342788"/>
                  </a:lnTo>
                  <a:lnTo>
                    <a:pt x="3412946" y="1343203"/>
                  </a:lnTo>
                  <a:lnTo>
                    <a:pt x="3362136" y="1342975"/>
                  </a:lnTo>
                  <a:lnTo>
                    <a:pt x="3311342" y="1342104"/>
                  </a:lnTo>
                  <a:lnTo>
                    <a:pt x="3260572" y="1340588"/>
                  </a:lnTo>
                  <a:lnTo>
                    <a:pt x="3209836" y="1338427"/>
                  </a:lnTo>
                  <a:lnTo>
                    <a:pt x="3159141" y="1335620"/>
                  </a:lnTo>
                  <a:lnTo>
                    <a:pt x="3108496" y="1332167"/>
                  </a:lnTo>
                  <a:lnTo>
                    <a:pt x="3057910" y="1328067"/>
                  </a:lnTo>
                  <a:lnTo>
                    <a:pt x="3007390" y="1323319"/>
                  </a:lnTo>
                  <a:lnTo>
                    <a:pt x="2956946" y="1317923"/>
                  </a:lnTo>
                  <a:lnTo>
                    <a:pt x="2906585" y="1311878"/>
                  </a:lnTo>
                  <a:lnTo>
                    <a:pt x="2856317" y="1305183"/>
                  </a:lnTo>
                  <a:lnTo>
                    <a:pt x="2806149" y="1297838"/>
                  </a:lnTo>
                  <a:lnTo>
                    <a:pt x="2756091" y="1289842"/>
                  </a:lnTo>
                  <a:lnTo>
                    <a:pt x="2706150" y="1281194"/>
                  </a:lnTo>
                  <a:lnTo>
                    <a:pt x="2656336" y="1271895"/>
                  </a:lnTo>
                  <a:lnTo>
                    <a:pt x="2606656" y="1261942"/>
                  </a:lnTo>
                  <a:lnTo>
                    <a:pt x="2557119" y="1251336"/>
                  </a:lnTo>
                  <a:lnTo>
                    <a:pt x="2507734" y="1240075"/>
                  </a:lnTo>
                  <a:lnTo>
                    <a:pt x="2458508" y="1228160"/>
                  </a:lnTo>
                  <a:lnTo>
                    <a:pt x="2409451" y="1215589"/>
                  </a:lnTo>
                  <a:lnTo>
                    <a:pt x="2360571" y="1202362"/>
                  </a:lnTo>
                  <a:lnTo>
                    <a:pt x="2311877" y="1188478"/>
                  </a:lnTo>
                  <a:lnTo>
                    <a:pt x="2263376" y="1173937"/>
                  </a:lnTo>
                  <a:lnTo>
                    <a:pt x="2215078" y="1158738"/>
                  </a:lnTo>
                  <a:lnTo>
                    <a:pt x="2166990" y="1142880"/>
                  </a:lnTo>
                  <a:lnTo>
                    <a:pt x="2119122" y="1126363"/>
                  </a:lnTo>
                  <a:lnTo>
                    <a:pt x="2071507" y="1109303"/>
                  </a:lnTo>
                  <a:lnTo>
                    <a:pt x="2024106" y="1091658"/>
                  </a:lnTo>
                  <a:lnTo>
                    <a:pt x="1976919" y="1073439"/>
                  </a:lnTo>
                  <a:lnTo>
                    <a:pt x="1929949" y="1054657"/>
                  </a:lnTo>
                  <a:lnTo>
                    <a:pt x="1883197" y="1035322"/>
                  </a:lnTo>
                  <a:lnTo>
                    <a:pt x="1836664" y="1015445"/>
                  </a:lnTo>
                  <a:lnTo>
                    <a:pt x="1790353" y="995036"/>
                  </a:lnTo>
                  <a:lnTo>
                    <a:pt x="1744265" y="974105"/>
                  </a:lnTo>
                  <a:lnTo>
                    <a:pt x="1698402" y="952665"/>
                  </a:lnTo>
                  <a:lnTo>
                    <a:pt x="1652765" y="930724"/>
                  </a:lnTo>
                  <a:lnTo>
                    <a:pt x="1607356" y="908294"/>
                  </a:lnTo>
                  <a:lnTo>
                    <a:pt x="1562177" y="885386"/>
                  </a:lnTo>
                  <a:lnTo>
                    <a:pt x="1517229" y="862009"/>
                  </a:lnTo>
                  <a:lnTo>
                    <a:pt x="1472515" y="838175"/>
                  </a:lnTo>
                  <a:lnTo>
                    <a:pt x="1428035" y="813895"/>
                  </a:lnTo>
                  <a:lnTo>
                    <a:pt x="1383792" y="789177"/>
                  </a:lnTo>
                  <a:lnTo>
                    <a:pt x="1339777" y="764138"/>
                  </a:lnTo>
                  <a:lnTo>
                    <a:pt x="1295980" y="738703"/>
                  </a:lnTo>
                  <a:lnTo>
                    <a:pt x="1252391" y="712887"/>
                  </a:lnTo>
                  <a:lnTo>
                    <a:pt x="1209006" y="686704"/>
                  </a:lnTo>
                  <a:lnTo>
                    <a:pt x="1165816" y="660171"/>
                  </a:lnTo>
                  <a:lnTo>
                    <a:pt x="1122815" y="633301"/>
                  </a:lnTo>
                  <a:lnTo>
                    <a:pt x="1079996" y="606109"/>
                  </a:lnTo>
                  <a:lnTo>
                    <a:pt x="1037351" y="578611"/>
                  </a:lnTo>
                  <a:lnTo>
                    <a:pt x="994875" y="550822"/>
                  </a:lnTo>
                  <a:lnTo>
                    <a:pt x="952561" y="522755"/>
                  </a:lnTo>
                  <a:lnTo>
                    <a:pt x="910401" y="494427"/>
                  </a:lnTo>
                  <a:lnTo>
                    <a:pt x="868388" y="465851"/>
                  </a:lnTo>
                  <a:lnTo>
                    <a:pt x="826516" y="437044"/>
                  </a:lnTo>
                  <a:lnTo>
                    <a:pt x="743166" y="378791"/>
                  </a:lnTo>
                  <a:lnTo>
                    <a:pt x="660293" y="319762"/>
                  </a:lnTo>
                  <a:lnTo>
                    <a:pt x="577822" y="260044"/>
                  </a:lnTo>
                  <a:lnTo>
                    <a:pt x="495690" y="199755"/>
                  </a:lnTo>
                  <a:lnTo>
                    <a:pt x="372999" y="108457"/>
                  </a:lnTo>
                  <a:lnTo>
                    <a:pt x="22974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</p:grpSp>
      <p:sp>
        <p:nvSpPr>
          <p:cNvPr id="4171" name="Google Shape;4171;p2"/>
          <p:cNvSpPr/>
          <p:nvPr/>
        </p:nvSpPr>
        <p:spPr>
          <a:xfrm>
            <a:off x="614362" y="6338887"/>
            <a:ext cx="10973435" cy="0"/>
          </a:xfrm>
          <a:custGeom>
            <a:avLst/>
            <a:gdLst/>
            <a:ahLst/>
            <a:cxnLst/>
            <a:rect l="l" t="t" r="r" b="b"/>
            <a:pathLst>
              <a:path w="10973435" h="120000" extrusionOk="0">
                <a:moveTo>
                  <a:pt x="0" y="0"/>
                </a:moveTo>
                <a:lnTo>
                  <a:pt x="10972863" y="0"/>
                </a:lnTo>
              </a:path>
            </a:pathLst>
          </a:custGeom>
          <a:noFill/>
          <a:ln w="9525" cap="flat" cmpd="sng">
            <a:solidFill>
              <a:srgbClr val="ADB3B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DM Sans" pitchFamily="2" charset="77"/>
            </a:endParaRPr>
          </a:p>
        </p:txBody>
      </p:sp>
      <p:sp>
        <p:nvSpPr>
          <p:cNvPr id="4172" name="Google Shape;4172;p2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700" cy="9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242800" rIns="0" bIns="0" anchor="t" anchorCtr="0">
            <a:spAutoFit/>
          </a:bodyPr>
          <a:lstStyle/>
          <a:p>
            <a:pPr marL="266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800">
                <a:latin typeface="DM Sans" pitchFamily="2" charset="77"/>
                <a:ea typeface="DM Sans"/>
                <a:cs typeface="DM Sans"/>
                <a:sym typeface="DM Sans"/>
              </a:rPr>
              <a:t>Overview</a:t>
            </a:r>
            <a:endParaRPr sz="480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173" name="Google Shape;4173;p2"/>
          <p:cNvSpPr txBox="1"/>
          <p:nvPr/>
        </p:nvSpPr>
        <p:spPr>
          <a:xfrm>
            <a:off x="908675" y="1902607"/>
            <a:ext cx="10084500" cy="2667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457200" lvl="0" indent="-3873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C488A"/>
              </a:buClr>
              <a:buSzPts val="2500"/>
              <a:buFont typeface="DM Sans"/>
              <a:buChar char="•"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Upcoming ILPQC 13</a:t>
            </a:r>
            <a:r>
              <a:rPr lang="en-US" sz="2500" baseline="300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th</a:t>
            </a:r>
            <a:r>
              <a:rPr lang="en-US" sz="25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 Annual Conference </a:t>
            </a:r>
          </a:p>
          <a:p>
            <a:pPr marL="457200" lvl="0" indent="-3873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C488A"/>
              </a:buClr>
              <a:buSzPts val="2500"/>
              <a:buFont typeface="DM Sans"/>
              <a:buChar char="•"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Recap &amp; Homework Review</a:t>
            </a:r>
            <a:endParaRPr sz="2500" dirty="0">
              <a:solidFill>
                <a:schemeClr val="dk1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457200" lvl="0" indent="-3873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C488A"/>
              </a:buClr>
              <a:buSzPts val="2500"/>
              <a:buFont typeface="DM Sans"/>
              <a:buChar char="•"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Data Overview &amp; Initiative Progress</a:t>
            </a:r>
            <a:endParaRPr sz="2500" dirty="0">
              <a:solidFill>
                <a:schemeClr val="dk1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457200" lvl="4" indent="-387350">
              <a:lnSpc>
                <a:spcPct val="115000"/>
              </a:lnSpc>
              <a:buClr>
                <a:srgbClr val="1C488A"/>
              </a:buClr>
              <a:buSzPts val="2500"/>
              <a:buFont typeface="DM Sans"/>
              <a:buChar char="•"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Dissemination of Stratified Data</a:t>
            </a:r>
          </a:p>
          <a:p>
            <a:pPr marL="457200" lvl="4" indent="-387350">
              <a:lnSpc>
                <a:spcPct val="115000"/>
              </a:lnSpc>
              <a:buClr>
                <a:srgbClr val="1C488A"/>
              </a:buClr>
              <a:buSzPts val="2500"/>
              <a:buFont typeface="DM Sans"/>
              <a:buChar char="•"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New REDCap Stratified Reports</a:t>
            </a:r>
            <a:endParaRPr sz="2500" dirty="0">
              <a:solidFill>
                <a:schemeClr val="dk1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457200" lvl="0" indent="-3873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C488A"/>
              </a:buClr>
              <a:buSzPts val="2500"/>
              <a:buFont typeface="DM Sans"/>
              <a:buChar char="•"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Looking Ahead &amp; Next Steps</a:t>
            </a:r>
            <a:endParaRPr sz="2500" dirty="0">
              <a:solidFill>
                <a:srgbClr val="1C488A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68" name="Google Shape;4468;p13"/>
          <p:cNvGraphicFramePr/>
          <p:nvPr>
            <p:extLst>
              <p:ext uri="{D42A27DB-BD31-4B8C-83A1-F6EECF244321}">
                <p14:modId xmlns:p14="http://schemas.microsoft.com/office/powerpoint/2010/main" val="74047501"/>
              </p:ext>
            </p:extLst>
          </p:nvPr>
        </p:nvGraphicFramePr>
        <p:xfrm>
          <a:off x="353687" y="412100"/>
          <a:ext cx="11484625" cy="6033800"/>
        </p:xfrm>
        <a:graphic>
          <a:graphicData uri="http://schemas.openxmlformats.org/drawingml/2006/table">
            <a:tbl>
              <a:tblPr firstRow="1" bandRow="1">
                <a:noFill/>
                <a:tableStyleId>{410EBB18-085E-4E12-99BB-723E436381A6}</a:tableStyleId>
              </a:tblPr>
              <a:tblGrid>
                <a:gridCol w="14903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5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48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04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Baseline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(%)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Current (%)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tc>
                  <a:txBody>
                    <a:bodyPr/>
                    <a:lstStyle/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tructure Measure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2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37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2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92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2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106679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standardized provider and hospital staff education about listening to parents and caregivers, providing respectful care and building trust, addressing implicit bias and engaging in anti-racism.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2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065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32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35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90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35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106679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standardized provider and hospital staff education about the importance of a safe sleep environment and engaging in meaningful, culturally appropriate, respectful, nonjudgmental conversations with parents or caregivers about safe sleep.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35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585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55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54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98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54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240029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standardized practice of promoting a safe sleep environment in the hospital setting in accordance with the 2022 AAP Recommendations.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54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105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59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667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98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667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164465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policy in place for safe sleep practices reflective of the 2022 AAP Recommendations.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667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1065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33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7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92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7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23114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standardized process to provide parents or caregivers culturally responsive safe sleep education including awareness of potential challenges, modeling, and teach back opportunities during hospitalization.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7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469" name="Google Shape;4469;p13"/>
          <p:cNvSpPr txBox="1"/>
          <p:nvPr/>
        </p:nvSpPr>
        <p:spPr>
          <a:xfrm>
            <a:off x="78739" y="6613525"/>
            <a:ext cx="2218055" cy="208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/>
                <a:ea typeface="Arial"/>
                <a:cs typeface="Arial"/>
                <a:sym typeface="Arial"/>
              </a:rPr>
              <a:t>Baseline (Oct-Dec 2023), N=75</a:t>
            </a:r>
            <a:endParaRPr sz="12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70" name="Google Shape;4470;p13"/>
          <p:cNvSpPr txBox="1"/>
          <p:nvPr/>
        </p:nvSpPr>
        <p:spPr>
          <a:xfrm>
            <a:off x="2480945" y="6613525"/>
            <a:ext cx="190817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/>
                <a:ea typeface="Arial"/>
                <a:cs typeface="Arial"/>
                <a:sym typeface="Arial"/>
              </a:rPr>
              <a:t>Current (June 2025), N=</a:t>
            </a:r>
            <a:r>
              <a:rPr lang="en-US" sz="1200" dirty="0"/>
              <a:t>51</a:t>
            </a:r>
            <a:endParaRPr sz="12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4469;p13">
            <a:extLst>
              <a:ext uri="{FF2B5EF4-FFF2-40B4-BE49-F238E27FC236}">
                <a16:creationId xmlns:a16="http://schemas.microsoft.com/office/drawing/2014/main" id="{FFD8164A-8CD3-83C2-BF22-2E65AF878B15}"/>
              </a:ext>
            </a:extLst>
          </p:cNvPr>
          <p:cNvSpPr txBox="1"/>
          <p:nvPr/>
        </p:nvSpPr>
        <p:spPr>
          <a:xfrm>
            <a:off x="9895206" y="6613525"/>
            <a:ext cx="221805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/>
                <a:ea typeface="Arial"/>
                <a:cs typeface="Arial"/>
                <a:sym typeface="Arial"/>
              </a:rPr>
              <a:t>8.15.2025</a:t>
            </a:r>
            <a:endParaRPr sz="1200" dirty="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5" name="Google Shape;4475;p14"/>
          <p:cNvSpPr/>
          <p:nvPr/>
        </p:nvSpPr>
        <p:spPr>
          <a:xfrm>
            <a:off x="4595876" y="4281551"/>
            <a:ext cx="1149985" cy="996950"/>
          </a:xfrm>
          <a:custGeom>
            <a:avLst/>
            <a:gdLst/>
            <a:ahLst/>
            <a:cxnLst/>
            <a:rect l="l" t="t" r="r" b="b"/>
            <a:pathLst>
              <a:path w="1149985" h="996950" extrusionOk="0">
                <a:moveTo>
                  <a:pt x="0" y="394081"/>
                </a:moveTo>
                <a:lnTo>
                  <a:pt x="1117853" y="0"/>
                </a:lnTo>
              </a:path>
              <a:path w="1149985" h="996950" extrusionOk="0">
                <a:moveTo>
                  <a:pt x="76200" y="419100"/>
                </a:moveTo>
                <a:lnTo>
                  <a:pt x="1149985" y="996696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476" name="Google Shape;4476;p14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34075" y="5124450"/>
            <a:ext cx="5153025" cy="1590675"/>
          </a:xfrm>
          <a:prstGeom prst="rect">
            <a:avLst/>
          </a:prstGeom>
          <a:noFill/>
          <a:ln>
            <a:noFill/>
          </a:ln>
        </p:spPr>
      </p:pic>
      <p:sp>
        <p:nvSpPr>
          <p:cNvPr id="4477" name="Google Shape;4477;p14"/>
          <p:cNvSpPr/>
          <p:nvPr/>
        </p:nvSpPr>
        <p:spPr>
          <a:xfrm>
            <a:off x="5705475" y="3857625"/>
            <a:ext cx="5457825" cy="790575"/>
          </a:xfrm>
          <a:custGeom>
            <a:avLst/>
            <a:gdLst/>
            <a:ahLst/>
            <a:cxnLst/>
            <a:rect l="l" t="t" r="r" b="b"/>
            <a:pathLst>
              <a:path w="5457825" h="790575" extrusionOk="0">
                <a:moveTo>
                  <a:pt x="5457825" y="0"/>
                </a:moveTo>
                <a:lnTo>
                  <a:pt x="0" y="0"/>
                </a:lnTo>
                <a:lnTo>
                  <a:pt x="0" y="790575"/>
                </a:lnTo>
                <a:lnTo>
                  <a:pt x="5457825" y="790575"/>
                </a:lnTo>
                <a:lnTo>
                  <a:pt x="5457825" y="0"/>
                </a:lnTo>
                <a:close/>
              </a:path>
            </a:pathLst>
          </a:custGeom>
          <a:solidFill>
            <a:srgbClr val="F4AF3C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78" name="Google Shape;4478;p14"/>
          <p:cNvSpPr/>
          <p:nvPr/>
        </p:nvSpPr>
        <p:spPr>
          <a:xfrm>
            <a:off x="5705475" y="3105150"/>
            <a:ext cx="5457825" cy="695325"/>
          </a:xfrm>
          <a:custGeom>
            <a:avLst/>
            <a:gdLst/>
            <a:ahLst/>
            <a:cxnLst/>
            <a:rect l="l" t="t" r="r" b="b"/>
            <a:pathLst>
              <a:path w="5457825" h="695325" extrusionOk="0">
                <a:moveTo>
                  <a:pt x="5386070" y="0"/>
                </a:moveTo>
                <a:lnTo>
                  <a:pt x="71754" y="0"/>
                </a:lnTo>
                <a:lnTo>
                  <a:pt x="43826" y="5683"/>
                </a:lnTo>
                <a:lnTo>
                  <a:pt x="21018" y="21177"/>
                </a:lnTo>
                <a:lnTo>
                  <a:pt x="5639" y="44148"/>
                </a:lnTo>
                <a:lnTo>
                  <a:pt x="0" y="72262"/>
                </a:lnTo>
                <a:lnTo>
                  <a:pt x="0" y="623062"/>
                </a:lnTo>
                <a:lnTo>
                  <a:pt x="5639" y="651176"/>
                </a:lnTo>
                <a:lnTo>
                  <a:pt x="21018" y="674147"/>
                </a:lnTo>
                <a:lnTo>
                  <a:pt x="43826" y="689641"/>
                </a:lnTo>
                <a:lnTo>
                  <a:pt x="71754" y="695325"/>
                </a:lnTo>
                <a:lnTo>
                  <a:pt x="5386070" y="695325"/>
                </a:lnTo>
                <a:lnTo>
                  <a:pt x="5413998" y="689641"/>
                </a:lnTo>
                <a:lnTo>
                  <a:pt x="5436806" y="674147"/>
                </a:lnTo>
                <a:lnTo>
                  <a:pt x="5452185" y="651176"/>
                </a:lnTo>
                <a:lnTo>
                  <a:pt x="5457825" y="623062"/>
                </a:lnTo>
                <a:lnTo>
                  <a:pt x="5457825" y="72262"/>
                </a:lnTo>
                <a:lnTo>
                  <a:pt x="5452185" y="44148"/>
                </a:lnTo>
                <a:lnTo>
                  <a:pt x="5436806" y="21177"/>
                </a:lnTo>
                <a:lnTo>
                  <a:pt x="5413998" y="5683"/>
                </a:lnTo>
                <a:lnTo>
                  <a:pt x="5386070" y="0"/>
                </a:lnTo>
                <a:close/>
              </a:path>
            </a:pathLst>
          </a:custGeom>
          <a:solidFill>
            <a:srgbClr val="BC429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79" name="Google Shape;4479;p14"/>
          <p:cNvSpPr/>
          <p:nvPr/>
        </p:nvSpPr>
        <p:spPr>
          <a:xfrm>
            <a:off x="5705475" y="1381125"/>
            <a:ext cx="5457825" cy="714375"/>
          </a:xfrm>
          <a:custGeom>
            <a:avLst/>
            <a:gdLst/>
            <a:ahLst/>
            <a:cxnLst/>
            <a:rect l="l" t="t" r="r" b="b"/>
            <a:pathLst>
              <a:path w="5457825" h="714375" extrusionOk="0">
                <a:moveTo>
                  <a:pt x="5386070" y="0"/>
                </a:moveTo>
                <a:lnTo>
                  <a:pt x="71754" y="0"/>
                </a:lnTo>
                <a:lnTo>
                  <a:pt x="43826" y="5661"/>
                </a:lnTo>
                <a:lnTo>
                  <a:pt x="21018" y="21097"/>
                </a:lnTo>
                <a:lnTo>
                  <a:pt x="5639" y="43987"/>
                </a:lnTo>
                <a:lnTo>
                  <a:pt x="0" y="72009"/>
                </a:lnTo>
                <a:lnTo>
                  <a:pt x="0" y="642365"/>
                </a:lnTo>
                <a:lnTo>
                  <a:pt x="12108" y="682353"/>
                </a:lnTo>
                <a:lnTo>
                  <a:pt x="44323" y="708882"/>
                </a:lnTo>
                <a:lnTo>
                  <a:pt x="71754" y="714375"/>
                </a:lnTo>
                <a:lnTo>
                  <a:pt x="5386070" y="714375"/>
                </a:lnTo>
                <a:lnTo>
                  <a:pt x="5413998" y="708713"/>
                </a:lnTo>
                <a:lnTo>
                  <a:pt x="5436806" y="693277"/>
                </a:lnTo>
                <a:lnTo>
                  <a:pt x="5452185" y="670387"/>
                </a:lnTo>
                <a:lnTo>
                  <a:pt x="5457825" y="642365"/>
                </a:lnTo>
                <a:lnTo>
                  <a:pt x="5457825" y="72009"/>
                </a:lnTo>
                <a:lnTo>
                  <a:pt x="5452185" y="43987"/>
                </a:lnTo>
                <a:lnTo>
                  <a:pt x="5436806" y="21097"/>
                </a:lnTo>
                <a:lnTo>
                  <a:pt x="5413998" y="5661"/>
                </a:lnTo>
                <a:lnTo>
                  <a:pt x="5386070" y="0"/>
                </a:lnTo>
                <a:close/>
              </a:path>
            </a:pathLst>
          </a:custGeom>
          <a:solidFill>
            <a:srgbClr val="52BE9D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480" name="Google Shape;4480;p14"/>
          <p:cNvGrpSpPr/>
          <p:nvPr/>
        </p:nvGrpSpPr>
        <p:grpSpPr>
          <a:xfrm>
            <a:off x="5705475" y="314325"/>
            <a:ext cx="5457825" cy="800100"/>
            <a:chOff x="5705475" y="314325"/>
            <a:chExt cx="5457825" cy="800100"/>
          </a:xfrm>
        </p:grpSpPr>
        <p:sp>
          <p:nvSpPr>
            <p:cNvPr id="4481" name="Google Shape;4481;p14"/>
            <p:cNvSpPr/>
            <p:nvPr/>
          </p:nvSpPr>
          <p:spPr>
            <a:xfrm>
              <a:off x="5705475" y="314325"/>
              <a:ext cx="5457825" cy="800100"/>
            </a:xfrm>
            <a:custGeom>
              <a:avLst/>
              <a:gdLst/>
              <a:ahLst/>
              <a:cxnLst/>
              <a:rect l="l" t="t" r="r" b="b"/>
              <a:pathLst>
                <a:path w="5457825" h="800100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37"/>
                  </a:lnTo>
                  <a:lnTo>
                    <a:pt x="21018" y="21002"/>
                  </a:lnTo>
                  <a:lnTo>
                    <a:pt x="5639" y="43773"/>
                  </a:lnTo>
                  <a:lnTo>
                    <a:pt x="0" y="71627"/>
                  </a:lnTo>
                  <a:lnTo>
                    <a:pt x="0" y="728472"/>
                  </a:lnTo>
                  <a:lnTo>
                    <a:pt x="5639" y="756326"/>
                  </a:lnTo>
                  <a:lnTo>
                    <a:pt x="21018" y="779097"/>
                  </a:lnTo>
                  <a:lnTo>
                    <a:pt x="43826" y="794462"/>
                  </a:lnTo>
                  <a:lnTo>
                    <a:pt x="71754" y="800100"/>
                  </a:lnTo>
                  <a:lnTo>
                    <a:pt x="5386070" y="800100"/>
                  </a:lnTo>
                  <a:lnTo>
                    <a:pt x="5413998" y="794462"/>
                  </a:lnTo>
                  <a:lnTo>
                    <a:pt x="5436806" y="779097"/>
                  </a:lnTo>
                  <a:lnTo>
                    <a:pt x="5452185" y="756326"/>
                  </a:lnTo>
                  <a:lnTo>
                    <a:pt x="5457825" y="728472"/>
                  </a:lnTo>
                  <a:lnTo>
                    <a:pt x="5457825" y="71627"/>
                  </a:lnTo>
                  <a:lnTo>
                    <a:pt x="5452185" y="43773"/>
                  </a:lnTo>
                  <a:lnTo>
                    <a:pt x="5436806" y="21002"/>
                  </a:lnTo>
                  <a:lnTo>
                    <a:pt x="5413998" y="5637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F84B66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482" name="Google Shape;4482;p14"/>
            <p:cNvSpPr/>
            <p:nvPr/>
          </p:nvSpPr>
          <p:spPr>
            <a:xfrm>
              <a:off x="6819900" y="390525"/>
              <a:ext cx="0" cy="561975"/>
            </a:xfrm>
            <a:custGeom>
              <a:avLst/>
              <a:gdLst/>
              <a:ahLst/>
              <a:cxnLst/>
              <a:rect l="l" t="t" r="r" b="b"/>
              <a:pathLst>
                <a:path w="120000" h="561975" extrusionOk="0">
                  <a:moveTo>
                    <a:pt x="0" y="561975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483" name="Google Shape;4483;p14"/>
          <p:cNvSpPr/>
          <p:nvPr/>
        </p:nvSpPr>
        <p:spPr>
          <a:xfrm>
            <a:off x="6877050" y="3267075"/>
            <a:ext cx="0" cy="571500"/>
          </a:xfrm>
          <a:custGeom>
            <a:avLst/>
            <a:gdLst/>
            <a:ahLst/>
            <a:cxnLst/>
            <a:rect l="l" t="t" r="r" b="b"/>
            <a:pathLst>
              <a:path w="120000" h="571500" extrusionOk="0">
                <a:moveTo>
                  <a:pt x="0" y="571500"/>
                </a:move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84" name="Google Shape;4484;p14"/>
          <p:cNvSpPr/>
          <p:nvPr/>
        </p:nvSpPr>
        <p:spPr>
          <a:xfrm>
            <a:off x="6858000" y="4019550"/>
            <a:ext cx="0" cy="571500"/>
          </a:xfrm>
          <a:custGeom>
            <a:avLst/>
            <a:gdLst/>
            <a:ahLst/>
            <a:cxnLst/>
            <a:rect l="l" t="t" r="r" b="b"/>
            <a:pathLst>
              <a:path w="120000" h="571500" extrusionOk="0">
                <a:moveTo>
                  <a:pt x="0" y="571500"/>
                </a:move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85" name="Google Shape;4485;p14"/>
          <p:cNvSpPr/>
          <p:nvPr/>
        </p:nvSpPr>
        <p:spPr>
          <a:xfrm>
            <a:off x="5781675" y="1247775"/>
            <a:ext cx="1485900" cy="0"/>
          </a:xfrm>
          <a:custGeom>
            <a:avLst/>
            <a:gdLst/>
            <a:ahLst/>
            <a:cxnLst/>
            <a:rect l="l" t="t" r="r" b="b"/>
            <a:pathLst>
              <a:path w="1485900" h="120000" extrusionOk="0">
                <a:moveTo>
                  <a:pt x="0" y="0"/>
                </a:moveTo>
                <a:lnTo>
                  <a:pt x="1485900" y="0"/>
                </a:lnTo>
              </a:path>
            </a:pathLst>
          </a:custGeom>
          <a:noFill/>
          <a:ln w="381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486" name="Google Shape;4486;p14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01" y="4898623"/>
            <a:ext cx="237556" cy="1959374"/>
          </a:xfrm>
          <a:prstGeom prst="rect">
            <a:avLst/>
          </a:prstGeom>
          <a:noFill/>
          <a:ln>
            <a:noFill/>
          </a:ln>
        </p:spPr>
      </p:pic>
      <p:pic>
        <p:nvPicPr>
          <p:cNvPr id="4487" name="Google Shape;4487;p14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27800" y="18876"/>
            <a:ext cx="237625" cy="2083458"/>
          </a:xfrm>
          <a:prstGeom prst="rect">
            <a:avLst/>
          </a:prstGeom>
          <a:noFill/>
          <a:ln>
            <a:noFill/>
          </a:ln>
        </p:spPr>
      </p:pic>
      <p:sp>
        <p:nvSpPr>
          <p:cNvPr id="4488" name="Google Shape;4488;p14"/>
          <p:cNvSpPr/>
          <p:nvPr/>
        </p:nvSpPr>
        <p:spPr>
          <a:xfrm>
            <a:off x="11382375" y="6172200"/>
            <a:ext cx="809625" cy="685800"/>
          </a:xfrm>
          <a:custGeom>
            <a:avLst/>
            <a:gdLst/>
            <a:ahLst/>
            <a:cxnLst/>
            <a:rect l="l" t="t" r="r" b="b"/>
            <a:pathLst>
              <a:path w="809625" h="685800" extrusionOk="0">
                <a:moveTo>
                  <a:pt x="809625" y="12475"/>
                </a:moveTo>
                <a:lnTo>
                  <a:pt x="777433" y="6763"/>
                </a:lnTo>
                <a:lnTo>
                  <a:pt x="729728" y="1709"/>
                </a:lnTo>
                <a:lnTo>
                  <a:pt x="681101" y="0"/>
                </a:lnTo>
                <a:lnTo>
                  <a:pt x="632458" y="1709"/>
                </a:lnTo>
                <a:lnTo>
                  <a:pt x="584738" y="6763"/>
                </a:lnTo>
                <a:lnTo>
                  <a:pt x="538057" y="15044"/>
                </a:lnTo>
                <a:lnTo>
                  <a:pt x="492530" y="26437"/>
                </a:lnTo>
                <a:lnTo>
                  <a:pt x="448272" y="40828"/>
                </a:lnTo>
                <a:lnTo>
                  <a:pt x="405398" y="58101"/>
                </a:lnTo>
                <a:lnTo>
                  <a:pt x="364023" y="78142"/>
                </a:lnTo>
                <a:lnTo>
                  <a:pt x="324264" y="100833"/>
                </a:lnTo>
                <a:lnTo>
                  <a:pt x="286234" y="126061"/>
                </a:lnTo>
                <a:lnTo>
                  <a:pt x="250050" y="153711"/>
                </a:lnTo>
                <a:lnTo>
                  <a:pt x="215826" y="183666"/>
                </a:lnTo>
                <a:lnTo>
                  <a:pt x="183677" y="215812"/>
                </a:lnTo>
                <a:lnTo>
                  <a:pt x="153720" y="250033"/>
                </a:lnTo>
                <a:lnTo>
                  <a:pt x="126069" y="286214"/>
                </a:lnTo>
                <a:lnTo>
                  <a:pt x="100839" y="324240"/>
                </a:lnTo>
                <a:lnTo>
                  <a:pt x="78146" y="363996"/>
                </a:lnTo>
                <a:lnTo>
                  <a:pt x="58105" y="405367"/>
                </a:lnTo>
                <a:lnTo>
                  <a:pt x="40830" y="448236"/>
                </a:lnTo>
                <a:lnTo>
                  <a:pt x="26439" y="492489"/>
                </a:lnTo>
                <a:lnTo>
                  <a:pt x="15044" y="538011"/>
                </a:lnTo>
                <a:lnTo>
                  <a:pt x="6763" y="584687"/>
                </a:lnTo>
                <a:lnTo>
                  <a:pt x="1710" y="632400"/>
                </a:lnTo>
                <a:lnTo>
                  <a:pt x="0" y="681037"/>
                </a:lnTo>
                <a:lnTo>
                  <a:pt x="167" y="685800"/>
                </a:lnTo>
              </a:path>
            </a:pathLst>
          </a:custGeom>
          <a:noFill/>
          <a:ln w="38100" cap="flat" cmpd="sng">
            <a:solidFill>
              <a:srgbClr val="EBEF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489" name="Google Shape;4489;p14"/>
          <p:cNvSpPr/>
          <p:nvPr/>
        </p:nvSpPr>
        <p:spPr>
          <a:xfrm>
            <a:off x="0" y="0"/>
            <a:ext cx="952500" cy="714375"/>
          </a:xfrm>
          <a:custGeom>
            <a:avLst/>
            <a:gdLst/>
            <a:ahLst/>
            <a:cxnLst/>
            <a:rect l="l" t="t" r="r" b="b"/>
            <a:pathLst>
              <a:path w="952500" h="714375" extrusionOk="0">
                <a:moveTo>
                  <a:pt x="0" y="660252"/>
                </a:moveTo>
                <a:lnTo>
                  <a:pt x="76832" y="687749"/>
                </a:lnTo>
                <a:lnTo>
                  <a:pt x="122673" y="699223"/>
                </a:lnTo>
                <a:lnTo>
                  <a:pt x="169675" y="707563"/>
                </a:lnTo>
                <a:lnTo>
                  <a:pt x="217722" y="712652"/>
                </a:lnTo>
                <a:lnTo>
                  <a:pt x="266700" y="714375"/>
                </a:lnTo>
                <a:lnTo>
                  <a:pt x="315676" y="712652"/>
                </a:lnTo>
                <a:lnTo>
                  <a:pt x="363723" y="707563"/>
                </a:lnTo>
                <a:lnTo>
                  <a:pt x="410725" y="699223"/>
                </a:lnTo>
                <a:lnTo>
                  <a:pt x="456565" y="687749"/>
                </a:lnTo>
                <a:lnTo>
                  <a:pt x="501128" y="673256"/>
                </a:lnTo>
                <a:lnTo>
                  <a:pt x="544297" y="655860"/>
                </a:lnTo>
                <a:lnTo>
                  <a:pt x="585957" y="635678"/>
                </a:lnTo>
                <a:lnTo>
                  <a:pt x="625991" y="612826"/>
                </a:lnTo>
                <a:lnTo>
                  <a:pt x="664283" y="587420"/>
                </a:lnTo>
                <a:lnTo>
                  <a:pt x="700717" y="559576"/>
                </a:lnTo>
                <a:lnTo>
                  <a:pt x="735178" y="529410"/>
                </a:lnTo>
                <a:lnTo>
                  <a:pt x="767548" y="497038"/>
                </a:lnTo>
                <a:lnTo>
                  <a:pt x="797713" y="462576"/>
                </a:lnTo>
                <a:lnTo>
                  <a:pt x="825556" y="426141"/>
                </a:lnTo>
                <a:lnTo>
                  <a:pt x="850960" y="387849"/>
                </a:lnTo>
                <a:lnTo>
                  <a:pt x="873811" y="347815"/>
                </a:lnTo>
                <a:lnTo>
                  <a:pt x="893991" y="306156"/>
                </a:lnTo>
                <a:lnTo>
                  <a:pt x="911385" y="262988"/>
                </a:lnTo>
                <a:lnTo>
                  <a:pt x="925877" y="218427"/>
                </a:lnTo>
                <a:lnTo>
                  <a:pt x="937350" y="172589"/>
                </a:lnTo>
                <a:lnTo>
                  <a:pt x="945689" y="125590"/>
                </a:lnTo>
                <a:lnTo>
                  <a:pt x="950778" y="77546"/>
                </a:lnTo>
                <a:lnTo>
                  <a:pt x="952500" y="28575"/>
                </a:lnTo>
                <a:lnTo>
                  <a:pt x="951495" y="0"/>
                </a:lnTo>
              </a:path>
            </a:pathLst>
          </a:custGeom>
          <a:noFill/>
          <a:ln w="38100" cap="flat" cmpd="sng">
            <a:solidFill>
              <a:srgbClr val="EBEF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490" name="Google Shape;4490;p14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92143" y="6416754"/>
            <a:ext cx="217098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1" name="Google Shape;4491;p14"/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5471" y="6275823"/>
            <a:ext cx="217098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2" name="Google Shape;4492;p14"/>
          <p:cNvPicPr preferRelativeResize="0"/>
          <p:nvPr/>
        </p:nvPicPr>
        <p:blipFill rotWithShape="1"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5471" y="6557691"/>
            <a:ext cx="217098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3" name="Google Shape;4493;p14"/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8799" y="6416754"/>
            <a:ext cx="217098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4" name="Google Shape;4494;p14"/>
          <p:cNvPicPr preferRelativeResize="0"/>
          <p:nvPr/>
        </p:nvPicPr>
        <p:blipFill rotWithShape="1"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2127" y="6275823"/>
            <a:ext cx="217206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5" name="Google Shape;4495;p14"/>
          <p:cNvPicPr preferRelativeResize="0"/>
          <p:nvPr/>
        </p:nvPicPr>
        <p:blipFill rotWithShape="1">
          <a:blip r:embed="rId1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2127" y="6557691"/>
            <a:ext cx="217206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6" name="Google Shape;4496;p14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25578" y="6416754"/>
            <a:ext cx="217083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7" name="Google Shape;4497;p14"/>
          <p:cNvPicPr preferRelativeResize="0"/>
          <p:nvPr/>
        </p:nvPicPr>
        <p:blipFill rotWithShape="1">
          <a:blip r:embed="rId1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8906" y="6275823"/>
            <a:ext cx="217083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8" name="Google Shape;4498;p14"/>
          <p:cNvPicPr preferRelativeResize="0"/>
          <p:nvPr/>
        </p:nvPicPr>
        <p:blipFill rotWithShape="1">
          <a:blip r:embed="rId1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8907" y="6557691"/>
            <a:ext cx="217083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9" name="Google Shape;4499;p14"/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2231" y="6416754"/>
            <a:ext cx="217086" cy="91817"/>
          </a:xfrm>
          <a:prstGeom prst="rect">
            <a:avLst/>
          </a:prstGeom>
          <a:noFill/>
          <a:ln>
            <a:noFill/>
          </a:ln>
        </p:spPr>
      </p:pic>
      <p:sp>
        <p:nvSpPr>
          <p:cNvPr id="4500" name="Google Shape;4500;p14"/>
          <p:cNvSpPr/>
          <p:nvPr/>
        </p:nvSpPr>
        <p:spPr>
          <a:xfrm>
            <a:off x="5535996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01" name="Google Shape;4501;p14"/>
          <p:cNvSpPr/>
          <p:nvPr/>
        </p:nvSpPr>
        <p:spPr>
          <a:xfrm>
            <a:off x="5679054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02" name="Google Shape;4502;p14"/>
          <p:cNvSpPr/>
          <p:nvPr/>
        </p:nvSpPr>
        <p:spPr>
          <a:xfrm>
            <a:off x="5822112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03" name="Google Shape;4503;p14"/>
          <p:cNvSpPr/>
          <p:nvPr/>
        </p:nvSpPr>
        <p:spPr>
          <a:xfrm>
            <a:off x="5965170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04" name="Google Shape;4504;p14"/>
          <p:cNvSpPr/>
          <p:nvPr/>
        </p:nvSpPr>
        <p:spPr>
          <a:xfrm>
            <a:off x="6108228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05" name="Google Shape;4505;p14"/>
          <p:cNvSpPr/>
          <p:nvPr/>
        </p:nvSpPr>
        <p:spPr>
          <a:xfrm>
            <a:off x="6251286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06" name="Google Shape;4506;p14"/>
          <p:cNvSpPr/>
          <p:nvPr/>
        </p:nvSpPr>
        <p:spPr>
          <a:xfrm>
            <a:off x="6394344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07" name="Google Shape;4507;p14"/>
          <p:cNvSpPr/>
          <p:nvPr/>
        </p:nvSpPr>
        <p:spPr>
          <a:xfrm>
            <a:off x="6537401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08" name="Google Shape;4508;p14"/>
          <p:cNvSpPr/>
          <p:nvPr/>
        </p:nvSpPr>
        <p:spPr>
          <a:xfrm>
            <a:off x="6680459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09" name="Google Shape;4509;p14"/>
          <p:cNvSpPr/>
          <p:nvPr/>
        </p:nvSpPr>
        <p:spPr>
          <a:xfrm>
            <a:off x="682351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10" name="Google Shape;4510;p14"/>
          <p:cNvSpPr/>
          <p:nvPr/>
        </p:nvSpPr>
        <p:spPr>
          <a:xfrm>
            <a:off x="696657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11" name="Google Shape;4511;p14"/>
          <p:cNvSpPr/>
          <p:nvPr/>
        </p:nvSpPr>
        <p:spPr>
          <a:xfrm>
            <a:off x="7109633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12" name="Google Shape;4512;p14"/>
          <p:cNvSpPr/>
          <p:nvPr/>
        </p:nvSpPr>
        <p:spPr>
          <a:xfrm>
            <a:off x="7252691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13" name="Google Shape;4513;p14"/>
          <p:cNvSpPr/>
          <p:nvPr/>
        </p:nvSpPr>
        <p:spPr>
          <a:xfrm>
            <a:off x="7395749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14" name="Google Shape;4514;p14"/>
          <p:cNvSpPr/>
          <p:nvPr/>
        </p:nvSpPr>
        <p:spPr>
          <a:xfrm>
            <a:off x="753880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15" name="Google Shape;4515;p14"/>
          <p:cNvSpPr/>
          <p:nvPr/>
        </p:nvSpPr>
        <p:spPr>
          <a:xfrm>
            <a:off x="768186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16" name="Google Shape;4516;p14"/>
          <p:cNvSpPr/>
          <p:nvPr/>
        </p:nvSpPr>
        <p:spPr>
          <a:xfrm>
            <a:off x="782492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17" name="Google Shape;4517;p14"/>
          <p:cNvSpPr/>
          <p:nvPr/>
        </p:nvSpPr>
        <p:spPr>
          <a:xfrm>
            <a:off x="796798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18" name="Google Shape;4518;p14"/>
          <p:cNvSpPr/>
          <p:nvPr/>
        </p:nvSpPr>
        <p:spPr>
          <a:xfrm>
            <a:off x="8111043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19" name="Google Shape;4519;p14"/>
          <p:cNvSpPr/>
          <p:nvPr/>
        </p:nvSpPr>
        <p:spPr>
          <a:xfrm>
            <a:off x="8254102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20" name="Google Shape;4520;p14"/>
          <p:cNvSpPr/>
          <p:nvPr/>
        </p:nvSpPr>
        <p:spPr>
          <a:xfrm>
            <a:off x="553599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21" name="Google Shape;4521;p14"/>
          <p:cNvSpPr/>
          <p:nvPr/>
        </p:nvSpPr>
        <p:spPr>
          <a:xfrm>
            <a:off x="5679054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22" name="Google Shape;4522;p14"/>
          <p:cNvSpPr/>
          <p:nvPr/>
        </p:nvSpPr>
        <p:spPr>
          <a:xfrm>
            <a:off x="582211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23" name="Google Shape;4523;p14"/>
          <p:cNvSpPr/>
          <p:nvPr/>
        </p:nvSpPr>
        <p:spPr>
          <a:xfrm>
            <a:off x="5965170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24" name="Google Shape;4524;p14"/>
          <p:cNvSpPr/>
          <p:nvPr/>
        </p:nvSpPr>
        <p:spPr>
          <a:xfrm>
            <a:off x="6108228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25" name="Google Shape;4525;p14"/>
          <p:cNvSpPr/>
          <p:nvPr/>
        </p:nvSpPr>
        <p:spPr>
          <a:xfrm>
            <a:off x="625128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26" name="Google Shape;4526;p14"/>
          <p:cNvSpPr/>
          <p:nvPr/>
        </p:nvSpPr>
        <p:spPr>
          <a:xfrm>
            <a:off x="6394344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27" name="Google Shape;4527;p14"/>
          <p:cNvSpPr/>
          <p:nvPr/>
        </p:nvSpPr>
        <p:spPr>
          <a:xfrm>
            <a:off x="653740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28" name="Google Shape;4528;p14"/>
          <p:cNvSpPr/>
          <p:nvPr/>
        </p:nvSpPr>
        <p:spPr>
          <a:xfrm>
            <a:off x="6680459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29" name="Google Shape;4529;p14"/>
          <p:cNvSpPr/>
          <p:nvPr/>
        </p:nvSpPr>
        <p:spPr>
          <a:xfrm>
            <a:off x="682351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30" name="Google Shape;4530;p14"/>
          <p:cNvSpPr/>
          <p:nvPr/>
        </p:nvSpPr>
        <p:spPr>
          <a:xfrm>
            <a:off x="6966575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31" name="Google Shape;4531;p14"/>
          <p:cNvSpPr/>
          <p:nvPr/>
        </p:nvSpPr>
        <p:spPr>
          <a:xfrm>
            <a:off x="7109633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32" name="Google Shape;4532;p14"/>
          <p:cNvSpPr/>
          <p:nvPr/>
        </p:nvSpPr>
        <p:spPr>
          <a:xfrm>
            <a:off x="7252691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33" name="Google Shape;4533;p14"/>
          <p:cNvSpPr/>
          <p:nvPr/>
        </p:nvSpPr>
        <p:spPr>
          <a:xfrm>
            <a:off x="7395749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34" name="Google Shape;4534;p14"/>
          <p:cNvSpPr/>
          <p:nvPr/>
        </p:nvSpPr>
        <p:spPr>
          <a:xfrm>
            <a:off x="753880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35" name="Google Shape;4535;p14"/>
          <p:cNvSpPr/>
          <p:nvPr/>
        </p:nvSpPr>
        <p:spPr>
          <a:xfrm>
            <a:off x="7681865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36" name="Google Shape;4536;p14"/>
          <p:cNvSpPr/>
          <p:nvPr/>
        </p:nvSpPr>
        <p:spPr>
          <a:xfrm>
            <a:off x="782492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37" name="Google Shape;4537;p14"/>
          <p:cNvSpPr/>
          <p:nvPr/>
        </p:nvSpPr>
        <p:spPr>
          <a:xfrm>
            <a:off x="796798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38" name="Google Shape;4538;p14"/>
          <p:cNvSpPr/>
          <p:nvPr/>
        </p:nvSpPr>
        <p:spPr>
          <a:xfrm>
            <a:off x="8111043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39" name="Google Shape;4539;p14"/>
          <p:cNvSpPr/>
          <p:nvPr/>
        </p:nvSpPr>
        <p:spPr>
          <a:xfrm>
            <a:off x="825410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40" name="Google Shape;4540;p14"/>
          <p:cNvSpPr/>
          <p:nvPr/>
        </p:nvSpPr>
        <p:spPr>
          <a:xfrm>
            <a:off x="4688272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41" name="Google Shape;4541;p14"/>
          <p:cNvSpPr/>
          <p:nvPr/>
        </p:nvSpPr>
        <p:spPr>
          <a:xfrm>
            <a:off x="4831330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42" name="Google Shape;4542;p14"/>
          <p:cNvSpPr/>
          <p:nvPr/>
        </p:nvSpPr>
        <p:spPr>
          <a:xfrm>
            <a:off x="4974388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43" name="Google Shape;4543;p14"/>
          <p:cNvSpPr/>
          <p:nvPr/>
        </p:nvSpPr>
        <p:spPr>
          <a:xfrm>
            <a:off x="5117446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44" name="Google Shape;4544;p14"/>
          <p:cNvSpPr/>
          <p:nvPr/>
        </p:nvSpPr>
        <p:spPr>
          <a:xfrm>
            <a:off x="5260504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45" name="Google Shape;4545;p14"/>
          <p:cNvSpPr/>
          <p:nvPr/>
        </p:nvSpPr>
        <p:spPr>
          <a:xfrm>
            <a:off x="5403562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46" name="Google Shape;4546;p14"/>
          <p:cNvSpPr/>
          <p:nvPr/>
        </p:nvSpPr>
        <p:spPr>
          <a:xfrm>
            <a:off x="554661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47" name="Google Shape;4547;p14"/>
          <p:cNvSpPr/>
          <p:nvPr/>
        </p:nvSpPr>
        <p:spPr>
          <a:xfrm>
            <a:off x="5689677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48" name="Google Shape;4548;p14"/>
          <p:cNvSpPr/>
          <p:nvPr/>
        </p:nvSpPr>
        <p:spPr>
          <a:xfrm>
            <a:off x="5832735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49" name="Google Shape;4549;p14"/>
          <p:cNvSpPr/>
          <p:nvPr/>
        </p:nvSpPr>
        <p:spPr>
          <a:xfrm>
            <a:off x="597579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50" name="Google Shape;4550;p14"/>
          <p:cNvSpPr/>
          <p:nvPr/>
        </p:nvSpPr>
        <p:spPr>
          <a:xfrm>
            <a:off x="6118851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51" name="Google Shape;4551;p14"/>
          <p:cNvSpPr/>
          <p:nvPr/>
        </p:nvSpPr>
        <p:spPr>
          <a:xfrm>
            <a:off x="626190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52" name="Google Shape;4552;p14"/>
          <p:cNvSpPr/>
          <p:nvPr/>
        </p:nvSpPr>
        <p:spPr>
          <a:xfrm>
            <a:off x="6404967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53" name="Google Shape;4553;p14"/>
          <p:cNvSpPr/>
          <p:nvPr/>
        </p:nvSpPr>
        <p:spPr>
          <a:xfrm>
            <a:off x="6548025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54" name="Google Shape;4554;p14"/>
          <p:cNvSpPr/>
          <p:nvPr/>
        </p:nvSpPr>
        <p:spPr>
          <a:xfrm>
            <a:off x="669108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55" name="Google Shape;4555;p14"/>
          <p:cNvSpPr/>
          <p:nvPr/>
        </p:nvSpPr>
        <p:spPr>
          <a:xfrm>
            <a:off x="6834140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56" name="Google Shape;4556;p14"/>
          <p:cNvSpPr/>
          <p:nvPr/>
        </p:nvSpPr>
        <p:spPr>
          <a:xfrm>
            <a:off x="697720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57" name="Google Shape;4557;p14"/>
          <p:cNvSpPr/>
          <p:nvPr/>
        </p:nvSpPr>
        <p:spPr>
          <a:xfrm>
            <a:off x="7120261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58" name="Google Shape;4558;p14"/>
          <p:cNvSpPr/>
          <p:nvPr/>
        </p:nvSpPr>
        <p:spPr>
          <a:xfrm>
            <a:off x="726331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59" name="Google Shape;4559;p14"/>
          <p:cNvSpPr/>
          <p:nvPr/>
        </p:nvSpPr>
        <p:spPr>
          <a:xfrm>
            <a:off x="7406378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60" name="Google Shape;4560;p14"/>
          <p:cNvSpPr/>
          <p:nvPr/>
        </p:nvSpPr>
        <p:spPr>
          <a:xfrm>
            <a:off x="4688272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61" name="Google Shape;4561;p14"/>
          <p:cNvSpPr/>
          <p:nvPr/>
        </p:nvSpPr>
        <p:spPr>
          <a:xfrm>
            <a:off x="4831330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62" name="Google Shape;4562;p14"/>
          <p:cNvSpPr/>
          <p:nvPr/>
        </p:nvSpPr>
        <p:spPr>
          <a:xfrm>
            <a:off x="4974388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63" name="Google Shape;4563;p14"/>
          <p:cNvSpPr/>
          <p:nvPr/>
        </p:nvSpPr>
        <p:spPr>
          <a:xfrm>
            <a:off x="5117446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64" name="Google Shape;4564;p14"/>
          <p:cNvSpPr/>
          <p:nvPr/>
        </p:nvSpPr>
        <p:spPr>
          <a:xfrm>
            <a:off x="5260504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65" name="Google Shape;4565;p14"/>
          <p:cNvSpPr/>
          <p:nvPr/>
        </p:nvSpPr>
        <p:spPr>
          <a:xfrm>
            <a:off x="5403562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66" name="Google Shape;4566;p14"/>
          <p:cNvSpPr/>
          <p:nvPr/>
        </p:nvSpPr>
        <p:spPr>
          <a:xfrm>
            <a:off x="554661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67" name="Google Shape;4567;p14"/>
          <p:cNvSpPr/>
          <p:nvPr/>
        </p:nvSpPr>
        <p:spPr>
          <a:xfrm>
            <a:off x="5689677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68" name="Google Shape;4568;p14"/>
          <p:cNvSpPr/>
          <p:nvPr/>
        </p:nvSpPr>
        <p:spPr>
          <a:xfrm>
            <a:off x="5832735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69" name="Google Shape;4569;p14"/>
          <p:cNvSpPr/>
          <p:nvPr/>
        </p:nvSpPr>
        <p:spPr>
          <a:xfrm>
            <a:off x="597579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70" name="Google Shape;4570;p14"/>
          <p:cNvSpPr/>
          <p:nvPr/>
        </p:nvSpPr>
        <p:spPr>
          <a:xfrm>
            <a:off x="6118851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71" name="Google Shape;4571;p14"/>
          <p:cNvSpPr/>
          <p:nvPr/>
        </p:nvSpPr>
        <p:spPr>
          <a:xfrm>
            <a:off x="626190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72" name="Google Shape;4572;p14"/>
          <p:cNvSpPr/>
          <p:nvPr/>
        </p:nvSpPr>
        <p:spPr>
          <a:xfrm>
            <a:off x="6404967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73" name="Google Shape;4573;p14"/>
          <p:cNvSpPr/>
          <p:nvPr/>
        </p:nvSpPr>
        <p:spPr>
          <a:xfrm>
            <a:off x="6548025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74" name="Google Shape;4574;p14"/>
          <p:cNvSpPr/>
          <p:nvPr/>
        </p:nvSpPr>
        <p:spPr>
          <a:xfrm>
            <a:off x="669108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75" name="Google Shape;4575;p14"/>
          <p:cNvSpPr/>
          <p:nvPr/>
        </p:nvSpPr>
        <p:spPr>
          <a:xfrm>
            <a:off x="6834140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76" name="Google Shape;4576;p14"/>
          <p:cNvSpPr/>
          <p:nvPr/>
        </p:nvSpPr>
        <p:spPr>
          <a:xfrm>
            <a:off x="697720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77" name="Google Shape;4577;p14"/>
          <p:cNvSpPr/>
          <p:nvPr/>
        </p:nvSpPr>
        <p:spPr>
          <a:xfrm>
            <a:off x="7120261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78" name="Google Shape;4578;p14"/>
          <p:cNvSpPr/>
          <p:nvPr/>
        </p:nvSpPr>
        <p:spPr>
          <a:xfrm>
            <a:off x="726331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79" name="Google Shape;4579;p14"/>
          <p:cNvSpPr/>
          <p:nvPr/>
        </p:nvSpPr>
        <p:spPr>
          <a:xfrm>
            <a:off x="7406378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580" name="Google Shape;4580;p14"/>
          <p:cNvPicPr preferRelativeResize="0"/>
          <p:nvPr/>
        </p:nvPicPr>
        <p:blipFill rotWithShape="1">
          <a:blip r:embed="rId1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82250" y="5895975"/>
            <a:ext cx="1562100" cy="7334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581" name="Google Shape;4581;p14"/>
          <p:cNvGrpSpPr/>
          <p:nvPr/>
        </p:nvGrpSpPr>
        <p:grpSpPr>
          <a:xfrm>
            <a:off x="685800" y="314325"/>
            <a:ext cx="3819525" cy="800100"/>
            <a:chOff x="685800" y="314325"/>
            <a:chExt cx="3819525" cy="800100"/>
          </a:xfrm>
        </p:grpSpPr>
        <p:sp>
          <p:nvSpPr>
            <p:cNvPr id="4582" name="Google Shape;4582;p14"/>
            <p:cNvSpPr/>
            <p:nvPr/>
          </p:nvSpPr>
          <p:spPr>
            <a:xfrm>
              <a:off x="685800" y="314325"/>
              <a:ext cx="3819525" cy="800100"/>
            </a:xfrm>
            <a:custGeom>
              <a:avLst/>
              <a:gdLst/>
              <a:ahLst/>
              <a:cxnLst/>
              <a:rect l="l" t="t" r="r" b="b"/>
              <a:pathLst>
                <a:path w="3819525" h="800100" extrusionOk="0">
                  <a:moveTo>
                    <a:pt x="3740150" y="0"/>
                  </a:moveTo>
                  <a:lnTo>
                    <a:pt x="79425" y="0"/>
                  </a:lnTo>
                  <a:lnTo>
                    <a:pt x="63857" y="1539"/>
                  </a:lnTo>
                  <a:lnTo>
                    <a:pt x="23266" y="23114"/>
                  </a:lnTo>
                  <a:lnTo>
                    <a:pt x="1540" y="63565"/>
                  </a:lnTo>
                  <a:lnTo>
                    <a:pt x="0" y="79121"/>
                  </a:lnTo>
                  <a:lnTo>
                    <a:pt x="0" y="720978"/>
                  </a:lnTo>
                  <a:lnTo>
                    <a:pt x="13346" y="764930"/>
                  </a:lnTo>
                  <a:lnTo>
                    <a:pt x="49031" y="794067"/>
                  </a:lnTo>
                  <a:lnTo>
                    <a:pt x="79425" y="800100"/>
                  </a:lnTo>
                  <a:lnTo>
                    <a:pt x="3740150" y="800100"/>
                  </a:lnTo>
                  <a:lnTo>
                    <a:pt x="3784191" y="786812"/>
                  </a:lnTo>
                  <a:lnTo>
                    <a:pt x="3813476" y="751316"/>
                  </a:lnTo>
                  <a:lnTo>
                    <a:pt x="3819525" y="720978"/>
                  </a:lnTo>
                  <a:lnTo>
                    <a:pt x="3819525" y="79121"/>
                  </a:lnTo>
                  <a:lnTo>
                    <a:pt x="3813284" y="48327"/>
                  </a:lnTo>
                  <a:lnTo>
                    <a:pt x="3796268" y="23177"/>
                  </a:lnTo>
                  <a:lnTo>
                    <a:pt x="3771036" y="6219"/>
                  </a:lnTo>
                  <a:lnTo>
                    <a:pt x="374015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583" name="Google Shape;4583;p14"/>
            <p:cNvSpPr/>
            <p:nvPr/>
          </p:nvSpPr>
          <p:spPr>
            <a:xfrm>
              <a:off x="685800" y="314325"/>
              <a:ext cx="3819525" cy="800100"/>
            </a:xfrm>
            <a:custGeom>
              <a:avLst/>
              <a:gdLst/>
              <a:ahLst/>
              <a:cxnLst/>
              <a:rect l="l" t="t" r="r" b="b"/>
              <a:pathLst>
                <a:path w="3819525" h="800100" extrusionOk="0">
                  <a:moveTo>
                    <a:pt x="79425" y="0"/>
                  </a:moveTo>
                  <a:lnTo>
                    <a:pt x="3740150" y="0"/>
                  </a:lnTo>
                  <a:lnTo>
                    <a:pt x="3771036" y="6219"/>
                  </a:lnTo>
                  <a:lnTo>
                    <a:pt x="3796268" y="23177"/>
                  </a:lnTo>
                  <a:lnTo>
                    <a:pt x="3813284" y="48327"/>
                  </a:lnTo>
                  <a:lnTo>
                    <a:pt x="3819525" y="79121"/>
                  </a:lnTo>
                  <a:lnTo>
                    <a:pt x="3819525" y="720978"/>
                  </a:lnTo>
                  <a:lnTo>
                    <a:pt x="3806184" y="764930"/>
                  </a:lnTo>
                  <a:lnTo>
                    <a:pt x="3770503" y="794067"/>
                  </a:lnTo>
                  <a:lnTo>
                    <a:pt x="3740150" y="800100"/>
                  </a:lnTo>
                  <a:lnTo>
                    <a:pt x="79425" y="800100"/>
                  </a:lnTo>
                  <a:lnTo>
                    <a:pt x="35363" y="786812"/>
                  </a:lnTo>
                  <a:lnTo>
                    <a:pt x="6046" y="751316"/>
                  </a:lnTo>
                  <a:lnTo>
                    <a:pt x="0" y="720978"/>
                  </a:lnTo>
                  <a:lnTo>
                    <a:pt x="0" y="79121"/>
                  </a:lnTo>
                  <a:lnTo>
                    <a:pt x="13346" y="35169"/>
                  </a:lnTo>
                  <a:lnTo>
                    <a:pt x="49031" y="6032"/>
                  </a:lnTo>
                  <a:lnTo>
                    <a:pt x="79425" y="0"/>
                  </a:lnTo>
                  <a:close/>
                </a:path>
              </a:pathLst>
            </a:custGeom>
            <a:noFill/>
            <a:ln w="57150" cap="flat" cmpd="sng">
              <a:solidFill>
                <a:srgbClr val="52BE9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584" name="Google Shape;4584;p14"/>
          <p:cNvSpPr/>
          <p:nvPr/>
        </p:nvSpPr>
        <p:spPr>
          <a:xfrm>
            <a:off x="714375" y="1790700"/>
            <a:ext cx="3790950" cy="781050"/>
          </a:xfrm>
          <a:custGeom>
            <a:avLst/>
            <a:gdLst/>
            <a:ahLst/>
            <a:cxnLst/>
            <a:rect l="l" t="t" r="r" b="b"/>
            <a:pathLst>
              <a:path w="3790950" h="781050" extrusionOk="0">
                <a:moveTo>
                  <a:pt x="80060" y="0"/>
                </a:moveTo>
                <a:lnTo>
                  <a:pt x="3710940" y="0"/>
                </a:lnTo>
                <a:lnTo>
                  <a:pt x="3726610" y="1543"/>
                </a:lnTo>
                <a:lnTo>
                  <a:pt x="3767454" y="23367"/>
                </a:lnTo>
                <a:lnTo>
                  <a:pt x="3789404" y="64212"/>
                </a:lnTo>
                <a:lnTo>
                  <a:pt x="3790950" y="79883"/>
                </a:lnTo>
                <a:lnTo>
                  <a:pt x="3790950" y="701166"/>
                </a:lnTo>
                <a:lnTo>
                  <a:pt x="3784663" y="732293"/>
                </a:lnTo>
                <a:lnTo>
                  <a:pt x="3767518" y="757681"/>
                </a:lnTo>
                <a:lnTo>
                  <a:pt x="3742086" y="774783"/>
                </a:lnTo>
                <a:lnTo>
                  <a:pt x="3710940" y="781050"/>
                </a:lnTo>
                <a:lnTo>
                  <a:pt x="80060" y="781050"/>
                </a:lnTo>
                <a:lnTo>
                  <a:pt x="48900" y="774783"/>
                </a:lnTo>
                <a:lnTo>
                  <a:pt x="23452" y="757681"/>
                </a:lnTo>
                <a:lnTo>
                  <a:pt x="6292" y="732293"/>
                </a:lnTo>
                <a:lnTo>
                  <a:pt x="0" y="701166"/>
                </a:lnTo>
                <a:lnTo>
                  <a:pt x="0" y="79883"/>
                </a:lnTo>
                <a:lnTo>
                  <a:pt x="6292" y="48756"/>
                </a:lnTo>
                <a:lnTo>
                  <a:pt x="23452" y="23368"/>
                </a:lnTo>
                <a:lnTo>
                  <a:pt x="48900" y="6266"/>
                </a:lnTo>
                <a:lnTo>
                  <a:pt x="80060" y="0"/>
                </a:lnTo>
                <a:close/>
              </a:path>
            </a:pathLst>
          </a:custGeom>
          <a:noFill/>
          <a:ln w="57150" cap="flat" cmpd="sng">
            <a:solidFill>
              <a:srgbClr val="BC429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585" name="Google Shape;4585;p14"/>
          <p:cNvSpPr/>
          <p:nvPr/>
        </p:nvSpPr>
        <p:spPr>
          <a:xfrm>
            <a:off x="5705475" y="2124075"/>
            <a:ext cx="5457825" cy="752475"/>
          </a:xfrm>
          <a:custGeom>
            <a:avLst/>
            <a:gdLst/>
            <a:ahLst/>
            <a:cxnLst/>
            <a:rect l="l" t="t" r="r" b="b"/>
            <a:pathLst>
              <a:path w="5457825" h="752475" extrusionOk="0">
                <a:moveTo>
                  <a:pt x="5386070" y="0"/>
                </a:moveTo>
                <a:lnTo>
                  <a:pt x="71754" y="0"/>
                </a:lnTo>
                <a:lnTo>
                  <a:pt x="43826" y="5661"/>
                </a:lnTo>
                <a:lnTo>
                  <a:pt x="21018" y="21097"/>
                </a:lnTo>
                <a:lnTo>
                  <a:pt x="5639" y="43987"/>
                </a:lnTo>
                <a:lnTo>
                  <a:pt x="0" y="72009"/>
                </a:lnTo>
                <a:lnTo>
                  <a:pt x="0" y="680465"/>
                </a:lnTo>
                <a:lnTo>
                  <a:pt x="5639" y="708487"/>
                </a:lnTo>
                <a:lnTo>
                  <a:pt x="21018" y="731377"/>
                </a:lnTo>
                <a:lnTo>
                  <a:pt x="43826" y="746813"/>
                </a:lnTo>
                <a:lnTo>
                  <a:pt x="71754" y="752475"/>
                </a:lnTo>
                <a:lnTo>
                  <a:pt x="5386070" y="752475"/>
                </a:lnTo>
                <a:lnTo>
                  <a:pt x="5413998" y="746813"/>
                </a:lnTo>
                <a:lnTo>
                  <a:pt x="5436806" y="731377"/>
                </a:lnTo>
                <a:lnTo>
                  <a:pt x="5452185" y="708487"/>
                </a:lnTo>
                <a:lnTo>
                  <a:pt x="5457825" y="680465"/>
                </a:lnTo>
                <a:lnTo>
                  <a:pt x="5457825" y="72009"/>
                </a:lnTo>
                <a:lnTo>
                  <a:pt x="5452185" y="43987"/>
                </a:lnTo>
                <a:lnTo>
                  <a:pt x="5436806" y="21097"/>
                </a:lnTo>
                <a:lnTo>
                  <a:pt x="5413998" y="5661"/>
                </a:lnTo>
                <a:lnTo>
                  <a:pt x="5386070" y="0"/>
                </a:lnTo>
                <a:close/>
              </a:path>
            </a:pathLst>
          </a:custGeom>
          <a:solidFill>
            <a:srgbClr val="4373A3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586" name="Google Shape;4586;p14"/>
          <p:cNvGrpSpPr/>
          <p:nvPr/>
        </p:nvGrpSpPr>
        <p:grpSpPr>
          <a:xfrm>
            <a:off x="3384984" y="2985922"/>
            <a:ext cx="1364800" cy="963104"/>
            <a:chOff x="3384984" y="2985922"/>
            <a:chExt cx="1364800" cy="963104"/>
          </a:xfrm>
        </p:grpSpPr>
        <p:sp>
          <p:nvSpPr>
            <p:cNvPr id="4587" name="Google Shape;4587;p14"/>
            <p:cNvSpPr/>
            <p:nvPr/>
          </p:nvSpPr>
          <p:spPr>
            <a:xfrm>
              <a:off x="3472700" y="3038728"/>
              <a:ext cx="1189355" cy="829944"/>
            </a:xfrm>
            <a:custGeom>
              <a:avLst/>
              <a:gdLst/>
              <a:ahLst/>
              <a:cxnLst/>
              <a:rect l="l" t="t" r="r" b="b"/>
              <a:pathLst>
                <a:path w="1189354" h="829945" extrusionOk="0">
                  <a:moveTo>
                    <a:pt x="1189101" y="430314"/>
                  </a:moveTo>
                  <a:lnTo>
                    <a:pt x="856996" y="430314"/>
                  </a:lnTo>
                  <a:lnTo>
                    <a:pt x="856996" y="388493"/>
                  </a:lnTo>
                  <a:lnTo>
                    <a:pt x="1125308" y="388493"/>
                  </a:lnTo>
                  <a:lnTo>
                    <a:pt x="1125308" y="58877"/>
                  </a:lnTo>
                  <a:lnTo>
                    <a:pt x="856996" y="58877"/>
                  </a:lnTo>
                  <a:lnTo>
                    <a:pt x="856996" y="0"/>
                  </a:lnTo>
                  <a:lnTo>
                    <a:pt x="332105" y="0"/>
                  </a:lnTo>
                  <a:lnTo>
                    <a:pt x="332105" y="58877"/>
                  </a:lnTo>
                  <a:lnTo>
                    <a:pt x="63817" y="58877"/>
                  </a:lnTo>
                  <a:lnTo>
                    <a:pt x="63817" y="388493"/>
                  </a:lnTo>
                  <a:lnTo>
                    <a:pt x="332105" y="388493"/>
                  </a:lnTo>
                  <a:lnTo>
                    <a:pt x="332105" y="430314"/>
                  </a:lnTo>
                  <a:lnTo>
                    <a:pt x="0" y="430314"/>
                  </a:lnTo>
                  <a:lnTo>
                    <a:pt x="0" y="829805"/>
                  </a:lnTo>
                  <a:lnTo>
                    <a:pt x="332105" y="829805"/>
                  </a:lnTo>
                  <a:lnTo>
                    <a:pt x="856996" y="829805"/>
                  </a:lnTo>
                  <a:lnTo>
                    <a:pt x="1189101" y="829805"/>
                  </a:lnTo>
                  <a:lnTo>
                    <a:pt x="1189101" y="430314"/>
                  </a:lnTo>
                  <a:close/>
                </a:path>
              </a:pathLst>
            </a:custGeom>
            <a:solidFill>
              <a:srgbClr val="FAEFC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588" name="Google Shape;4588;p14"/>
            <p:cNvSpPr/>
            <p:nvPr/>
          </p:nvSpPr>
          <p:spPr>
            <a:xfrm>
              <a:off x="3472675" y="3038728"/>
              <a:ext cx="1189355" cy="829944"/>
            </a:xfrm>
            <a:custGeom>
              <a:avLst/>
              <a:gdLst/>
              <a:ahLst/>
              <a:cxnLst/>
              <a:rect l="l" t="t" r="r" b="b"/>
              <a:pathLst>
                <a:path w="1189354" h="829945" extrusionOk="0">
                  <a:moveTo>
                    <a:pt x="351929" y="83210"/>
                  </a:moveTo>
                  <a:lnTo>
                    <a:pt x="343827" y="83210"/>
                  </a:lnTo>
                  <a:lnTo>
                    <a:pt x="343827" y="75044"/>
                  </a:lnTo>
                  <a:lnTo>
                    <a:pt x="320421" y="75044"/>
                  </a:lnTo>
                  <a:lnTo>
                    <a:pt x="320421" y="83210"/>
                  </a:lnTo>
                  <a:lnTo>
                    <a:pt x="63842" y="83210"/>
                  </a:lnTo>
                  <a:lnTo>
                    <a:pt x="63842" y="112534"/>
                  </a:lnTo>
                  <a:lnTo>
                    <a:pt x="320421" y="112534"/>
                  </a:lnTo>
                  <a:lnTo>
                    <a:pt x="320421" y="412991"/>
                  </a:lnTo>
                  <a:lnTo>
                    <a:pt x="0" y="412991"/>
                  </a:lnTo>
                  <a:lnTo>
                    <a:pt x="0" y="442302"/>
                  </a:lnTo>
                  <a:lnTo>
                    <a:pt x="320421" y="442302"/>
                  </a:lnTo>
                  <a:lnTo>
                    <a:pt x="320421" y="829805"/>
                  </a:lnTo>
                  <a:lnTo>
                    <a:pt x="343827" y="829805"/>
                  </a:lnTo>
                  <a:lnTo>
                    <a:pt x="343827" y="112534"/>
                  </a:lnTo>
                  <a:lnTo>
                    <a:pt x="351929" y="112534"/>
                  </a:lnTo>
                  <a:lnTo>
                    <a:pt x="351929" y="83210"/>
                  </a:lnTo>
                  <a:close/>
                </a:path>
                <a:path w="1189354" h="829945" extrusionOk="0">
                  <a:moveTo>
                    <a:pt x="764374" y="603504"/>
                  </a:moveTo>
                  <a:lnTo>
                    <a:pt x="429183" y="603504"/>
                  </a:lnTo>
                  <a:lnTo>
                    <a:pt x="429183" y="632828"/>
                  </a:lnTo>
                  <a:lnTo>
                    <a:pt x="764374" y="632828"/>
                  </a:lnTo>
                  <a:lnTo>
                    <a:pt x="764374" y="603504"/>
                  </a:lnTo>
                  <a:close/>
                </a:path>
                <a:path w="1189354" h="829945" extrusionOk="0">
                  <a:moveTo>
                    <a:pt x="818807" y="516978"/>
                  </a:moveTo>
                  <a:lnTo>
                    <a:pt x="370382" y="516978"/>
                  </a:lnTo>
                  <a:lnTo>
                    <a:pt x="370382" y="544156"/>
                  </a:lnTo>
                  <a:lnTo>
                    <a:pt x="818807" y="544156"/>
                  </a:lnTo>
                  <a:lnTo>
                    <a:pt x="818807" y="516978"/>
                  </a:lnTo>
                  <a:close/>
                </a:path>
                <a:path w="1189354" h="829945" extrusionOk="0">
                  <a:moveTo>
                    <a:pt x="840371" y="0"/>
                  </a:moveTo>
                  <a:lnTo>
                    <a:pt x="344233" y="0"/>
                  </a:lnTo>
                  <a:lnTo>
                    <a:pt x="344233" y="23672"/>
                  </a:lnTo>
                  <a:lnTo>
                    <a:pt x="840371" y="23672"/>
                  </a:lnTo>
                  <a:lnTo>
                    <a:pt x="840371" y="0"/>
                  </a:lnTo>
                  <a:close/>
                </a:path>
                <a:path w="1189354" h="829945" extrusionOk="0">
                  <a:moveTo>
                    <a:pt x="1189126" y="412991"/>
                  </a:moveTo>
                  <a:lnTo>
                    <a:pt x="868768" y="412991"/>
                  </a:lnTo>
                  <a:lnTo>
                    <a:pt x="868768" y="112534"/>
                  </a:lnTo>
                  <a:lnTo>
                    <a:pt x="1125334" y="112534"/>
                  </a:lnTo>
                  <a:lnTo>
                    <a:pt x="1125334" y="83210"/>
                  </a:lnTo>
                  <a:lnTo>
                    <a:pt x="868768" y="83210"/>
                  </a:lnTo>
                  <a:lnTo>
                    <a:pt x="868768" y="75044"/>
                  </a:lnTo>
                  <a:lnTo>
                    <a:pt x="845375" y="75044"/>
                  </a:lnTo>
                  <a:lnTo>
                    <a:pt x="845375" y="83210"/>
                  </a:lnTo>
                  <a:lnTo>
                    <a:pt x="841832" y="83210"/>
                  </a:lnTo>
                  <a:lnTo>
                    <a:pt x="841832" y="112534"/>
                  </a:lnTo>
                  <a:lnTo>
                    <a:pt x="845375" y="112534"/>
                  </a:lnTo>
                  <a:lnTo>
                    <a:pt x="845375" y="829805"/>
                  </a:lnTo>
                  <a:lnTo>
                    <a:pt x="868768" y="829805"/>
                  </a:lnTo>
                  <a:lnTo>
                    <a:pt x="868768" y="442302"/>
                  </a:lnTo>
                  <a:lnTo>
                    <a:pt x="1189126" y="442302"/>
                  </a:lnTo>
                  <a:lnTo>
                    <a:pt x="1189126" y="412991"/>
                  </a:lnTo>
                  <a:close/>
                </a:path>
              </a:pathLst>
            </a:custGeom>
            <a:solidFill>
              <a:srgbClr val="E1D3A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589" name="Google Shape;4589;p14"/>
            <p:cNvSpPr/>
            <p:nvPr/>
          </p:nvSpPr>
          <p:spPr>
            <a:xfrm>
              <a:off x="3530333" y="3088881"/>
              <a:ext cx="1073785" cy="779780"/>
            </a:xfrm>
            <a:custGeom>
              <a:avLst/>
              <a:gdLst/>
              <a:ahLst/>
              <a:cxnLst/>
              <a:rect l="l" t="t" r="r" b="b"/>
              <a:pathLst>
                <a:path w="1073785" h="779779" extrusionOk="0">
                  <a:moveTo>
                    <a:pt x="94259" y="661466"/>
                  </a:moveTo>
                  <a:lnTo>
                    <a:pt x="0" y="661466"/>
                  </a:lnTo>
                  <a:lnTo>
                    <a:pt x="0" y="747407"/>
                  </a:lnTo>
                  <a:lnTo>
                    <a:pt x="94259" y="747407"/>
                  </a:lnTo>
                  <a:lnTo>
                    <a:pt x="94259" y="661466"/>
                  </a:lnTo>
                  <a:close/>
                </a:path>
                <a:path w="1073785" h="779779" extrusionOk="0">
                  <a:moveTo>
                    <a:pt x="94945" y="536930"/>
                  </a:moveTo>
                  <a:lnTo>
                    <a:pt x="685" y="536930"/>
                  </a:lnTo>
                  <a:lnTo>
                    <a:pt x="685" y="622871"/>
                  </a:lnTo>
                  <a:lnTo>
                    <a:pt x="94945" y="622871"/>
                  </a:lnTo>
                  <a:lnTo>
                    <a:pt x="94945" y="536930"/>
                  </a:lnTo>
                  <a:close/>
                </a:path>
                <a:path w="1073785" h="779779" extrusionOk="0">
                  <a:moveTo>
                    <a:pt x="94945" y="412407"/>
                  </a:moveTo>
                  <a:lnTo>
                    <a:pt x="685" y="412407"/>
                  </a:lnTo>
                  <a:lnTo>
                    <a:pt x="685" y="498373"/>
                  </a:lnTo>
                  <a:lnTo>
                    <a:pt x="94945" y="498373"/>
                  </a:lnTo>
                  <a:lnTo>
                    <a:pt x="94945" y="412407"/>
                  </a:lnTo>
                  <a:close/>
                </a:path>
                <a:path w="1073785" h="779779" extrusionOk="0">
                  <a:moveTo>
                    <a:pt x="125869" y="213525"/>
                  </a:moveTo>
                  <a:lnTo>
                    <a:pt x="31610" y="213525"/>
                  </a:lnTo>
                  <a:lnTo>
                    <a:pt x="31610" y="299466"/>
                  </a:lnTo>
                  <a:lnTo>
                    <a:pt x="125869" y="299466"/>
                  </a:lnTo>
                  <a:lnTo>
                    <a:pt x="125869" y="213525"/>
                  </a:lnTo>
                  <a:close/>
                </a:path>
                <a:path w="1073785" h="779779" extrusionOk="0">
                  <a:moveTo>
                    <a:pt x="125869" y="89027"/>
                  </a:moveTo>
                  <a:lnTo>
                    <a:pt x="31610" y="89027"/>
                  </a:lnTo>
                  <a:lnTo>
                    <a:pt x="31610" y="174967"/>
                  </a:lnTo>
                  <a:lnTo>
                    <a:pt x="125869" y="174967"/>
                  </a:lnTo>
                  <a:lnTo>
                    <a:pt x="125869" y="89027"/>
                  </a:lnTo>
                  <a:close/>
                </a:path>
                <a:path w="1073785" h="779779" extrusionOk="0">
                  <a:moveTo>
                    <a:pt x="216179" y="661466"/>
                  </a:moveTo>
                  <a:lnTo>
                    <a:pt x="121894" y="661466"/>
                  </a:lnTo>
                  <a:lnTo>
                    <a:pt x="121894" y="747407"/>
                  </a:lnTo>
                  <a:lnTo>
                    <a:pt x="216179" y="747407"/>
                  </a:lnTo>
                  <a:lnTo>
                    <a:pt x="216179" y="661466"/>
                  </a:lnTo>
                  <a:close/>
                </a:path>
                <a:path w="1073785" h="779779" extrusionOk="0">
                  <a:moveTo>
                    <a:pt x="216865" y="536930"/>
                  </a:moveTo>
                  <a:lnTo>
                    <a:pt x="122618" y="536930"/>
                  </a:lnTo>
                  <a:lnTo>
                    <a:pt x="122618" y="622871"/>
                  </a:lnTo>
                  <a:lnTo>
                    <a:pt x="216865" y="622871"/>
                  </a:lnTo>
                  <a:lnTo>
                    <a:pt x="216865" y="536930"/>
                  </a:lnTo>
                  <a:close/>
                </a:path>
                <a:path w="1073785" h="779779" extrusionOk="0">
                  <a:moveTo>
                    <a:pt x="216865" y="412407"/>
                  </a:moveTo>
                  <a:lnTo>
                    <a:pt x="122618" y="412407"/>
                  </a:lnTo>
                  <a:lnTo>
                    <a:pt x="122618" y="498373"/>
                  </a:lnTo>
                  <a:lnTo>
                    <a:pt x="216865" y="498373"/>
                  </a:lnTo>
                  <a:lnTo>
                    <a:pt x="216865" y="412407"/>
                  </a:lnTo>
                  <a:close/>
                </a:path>
                <a:path w="1073785" h="779779" extrusionOk="0">
                  <a:moveTo>
                    <a:pt x="247789" y="213525"/>
                  </a:moveTo>
                  <a:lnTo>
                    <a:pt x="153504" y="213525"/>
                  </a:lnTo>
                  <a:lnTo>
                    <a:pt x="153504" y="299466"/>
                  </a:lnTo>
                  <a:lnTo>
                    <a:pt x="247789" y="299466"/>
                  </a:lnTo>
                  <a:lnTo>
                    <a:pt x="247789" y="213525"/>
                  </a:lnTo>
                  <a:close/>
                </a:path>
                <a:path w="1073785" h="779779" extrusionOk="0">
                  <a:moveTo>
                    <a:pt x="247789" y="89027"/>
                  </a:moveTo>
                  <a:lnTo>
                    <a:pt x="153504" y="89027"/>
                  </a:lnTo>
                  <a:lnTo>
                    <a:pt x="153504" y="174967"/>
                  </a:lnTo>
                  <a:lnTo>
                    <a:pt x="247789" y="174967"/>
                  </a:lnTo>
                  <a:lnTo>
                    <a:pt x="247789" y="89027"/>
                  </a:lnTo>
                  <a:close/>
                </a:path>
                <a:path w="1073785" h="779779" extrusionOk="0">
                  <a:moveTo>
                    <a:pt x="629551" y="598233"/>
                  </a:moveTo>
                  <a:lnTo>
                    <a:pt x="444322" y="598233"/>
                  </a:lnTo>
                  <a:lnTo>
                    <a:pt x="444322" y="779653"/>
                  </a:lnTo>
                  <a:lnTo>
                    <a:pt x="629551" y="779653"/>
                  </a:lnTo>
                  <a:lnTo>
                    <a:pt x="629551" y="598233"/>
                  </a:lnTo>
                  <a:close/>
                </a:path>
                <a:path w="1073785" h="779779" extrusionOk="0">
                  <a:moveTo>
                    <a:pt x="747179" y="248183"/>
                  </a:moveTo>
                  <a:lnTo>
                    <a:pt x="594550" y="248183"/>
                  </a:lnTo>
                  <a:lnTo>
                    <a:pt x="587425" y="265023"/>
                  </a:lnTo>
                  <a:lnTo>
                    <a:pt x="575678" y="278765"/>
                  </a:lnTo>
                  <a:lnTo>
                    <a:pt x="560260" y="288417"/>
                  </a:lnTo>
                  <a:lnTo>
                    <a:pt x="542150" y="293052"/>
                  </a:lnTo>
                  <a:lnTo>
                    <a:pt x="540308" y="293204"/>
                  </a:lnTo>
                  <a:lnTo>
                    <a:pt x="531761" y="293052"/>
                  </a:lnTo>
                  <a:lnTo>
                    <a:pt x="513372" y="288607"/>
                  </a:lnTo>
                  <a:lnTo>
                    <a:pt x="497725" y="278993"/>
                  </a:lnTo>
                  <a:lnTo>
                    <a:pt x="485813" y="265201"/>
                  </a:lnTo>
                  <a:lnTo>
                    <a:pt x="478624" y="248183"/>
                  </a:lnTo>
                  <a:lnTo>
                    <a:pt x="326745" y="248183"/>
                  </a:lnTo>
                  <a:lnTo>
                    <a:pt x="326745" y="465950"/>
                  </a:lnTo>
                  <a:lnTo>
                    <a:pt x="747179" y="465950"/>
                  </a:lnTo>
                  <a:lnTo>
                    <a:pt x="747179" y="248183"/>
                  </a:lnTo>
                  <a:close/>
                </a:path>
                <a:path w="1073785" h="779779" extrusionOk="0">
                  <a:moveTo>
                    <a:pt x="747179" y="0"/>
                  </a:moveTo>
                  <a:lnTo>
                    <a:pt x="326745" y="0"/>
                  </a:lnTo>
                  <a:lnTo>
                    <a:pt x="326745" y="217792"/>
                  </a:lnTo>
                  <a:lnTo>
                    <a:pt x="479132" y="217792"/>
                  </a:lnTo>
                  <a:lnTo>
                    <a:pt x="486575" y="201396"/>
                  </a:lnTo>
                  <a:lnTo>
                    <a:pt x="498449" y="188137"/>
                  </a:lnTo>
                  <a:lnTo>
                    <a:pt x="513803" y="178917"/>
                  </a:lnTo>
                  <a:lnTo>
                    <a:pt x="531761" y="174650"/>
                  </a:lnTo>
                  <a:lnTo>
                    <a:pt x="534974" y="174434"/>
                  </a:lnTo>
                  <a:lnTo>
                    <a:pt x="542150" y="174650"/>
                  </a:lnTo>
                  <a:lnTo>
                    <a:pt x="559841" y="179095"/>
                  </a:lnTo>
                  <a:lnTo>
                    <a:pt x="574992" y="188353"/>
                  </a:lnTo>
                  <a:lnTo>
                    <a:pt x="586689" y="201536"/>
                  </a:lnTo>
                  <a:lnTo>
                    <a:pt x="594042" y="217792"/>
                  </a:lnTo>
                  <a:lnTo>
                    <a:pt x="747179" y="217792"/>
                  </a:lnTo>
                  <a:lnTo>
                    <a:pt x="747179" y="0"/>
                  </a:lnTo>
                  <a:close/>
                </a:path>
                <a:path w="1073785" h="779779" extrusionOk="0">
                  <a:moveTo>
                    <a:pt x="919746" y="213233"/>
                  </a:moveTo>
                  <a:lnTo>
                    <a:pt x="825487" y="213233"/>
                  </a:lnTo>
                  <a:lnTo>
                    <a:pt x="825487" y="299173"/>
                  </a:lnTo>
                  <a:lnTo>
                    <a:pt x="919746" y="299173"/>
                  </a:lnTo>
                  <a:lnTo>
                    <a:pt x="919746" y="213233"/>
                  </a:lnTo>
                  <a:close/>
                </a:path>
                <a:path w="1073785" h="779779" extrusionOk="0">
                  <a:moveTo>
                    <a:pt x="919746" y="88709"/>
                  </a:moveTo>
                  <a:lnTo>
                    <a:pt x="825487" y="88709"/>
                  </a:lnTo>
                  <a:lnTo>
                    <a:pt x="825487" y="174650"/>
                  </a:lnTo>
                  <a:lnTo>
                    <a:pt x="919746" y="174650"/>
                  </a:lnTo>
                  <a:lnTo>
                    <a:pt x="919746" y="88709"/>
                  </a:lnTo>
                  <a:close/>
                </a:path>
                <a:path w="1073785" h="779779" extrusionOk="0">
                  <a:moveTo>
                    <a:pt x="951407" y="660666"/>
                  </a:moveTo>
                  <a:lnTo>
                    <a:pt x="857237" y="660666"/>
                  </a:lnTo>
                  <a:lnTo>
                    <a:pt x="857237" y="746633"/>
                  </a:lnTo>
                  <a:lnTo>
                    <a:pt x="951407" y="746633"/>
                  </a:lnTo>
                  <a:lnTo>
                    <a:pt x="951407" y="660666"/>
                  </a:lnTo>
                  <a:close/>
                </a:path>
                <a:path w="1073785" h="779779" extrusionOk="0">
                  <a:moveTo>
                    <a:pt x="951763" y="536168"/>
                  </a:moveTo>
                  <a:lnTo>
                    <a:pt x="857504" y="536168"/>
                  </a:lnTo>
                  <a:lnTo>
                    <a:pt x="857504" y="622109"/>
                  </a:lnTo>
                  <a:lnTo>
                    <a:pt x="951763" y="622109"/>
                  </a:lnTo>
                  <a:lnTo>
                    <a:pt x="951763" y="536168"/>
                  </a:lnTo>
                  <a:close/>
                </a:path>
                <a:path w="1073785" h="779779" extrusionOk="0">
                  <a:moveTo>
                    <a:pt x="951763" y="413207"/>
                  </a:moveTo>
                  <a:lnTo>
                    <a:pt x="857504" y="413207"/>
                  </a:lnTo>
                  <a:lnTo>
                    <a:pt x="857504" y="499148"/>
                  </a:lnTo>
                  <a:lnTo>
                    <a:pt x="951763" y="499148"/>
                  </a:lnTo>
                  <a:lnTo>
                    <a:pt x="951763" y="413207"/>
                  </a:lnTo>
                  <a:close/>
                </a:path>
                <a:path w="1073785" h="779779" extrusionOk="0">
                  <a:moveTo>
                    <a:pt x="1041666" y="213233"/>
                  </a:moveTo>
                  <a:lnTo>
                    <a:pt x="947394" y="213233"/>
                  </a:lnTo>
                  <a:lnTo>
                    <a:pt x="947394" y="299173"/>
                  </a:lnTo>
                  <a:lnTo>
                    <a:pt x="1041666" y="299173"/>
                  </a:lnTo>
                  <a:lnTo>
                    <a:pt x="1041666" y="213233"/>
                  </a:lnTo>
                  <a:close/>
                </a:path>
                <a:path w="1073785" h="779779" extrusionOk="0">
                  <a:moveTo>
                    <a:pt x="1041666" y="88709"/>
                  </a:moveTo>
                  <a:lnTo>
                    <a:pt x="947394" y="88709"/>
                  </a:lnTo>
                  <a:lnTo>
                    <a:pt x="947394" y="174650"/>
                  </a:lnTo>
                  <a:lnTo>
                    <a:pt x="1041666" y="174650"/>
                  </a:lnTo>
                  <a:lnTo>
                    <a:pt x="1041666" y="88709"/>
                  </a:lnTo>
                  <a:close/>
                </a:path>
                <a:path w="1073785" h="779779" extrusionOk="0">
                  <a:moveTo>
                    <a:pt x="1073416" y="660666"/>
                  </a:moveTo>
                  <a:lnTo>
                    <a:pt x="979068" y="660666"/>
                  </a:lnTo>
                  <a:lnTo>
                    <a:pt x="979068" y="746633"/>
                  </a:lnTo>
                  <a:lnTo>
                    <a:pt x="1073416" y="746633"/>
                  </a:lnTo>
                  <a:lnTo>
                    <a:pt x="1073416" y="660666"/>
                  </a:lnTo>
                  <a:close/>
                </a:path>
                <a:path w="1073785" h="779779" extrusionOk="0">
                  <a:moveTo>
                    <a:pt x="1073683" y="536168"/>
                  </a:moveTo>
                  <a:lnTo>
                    <a:pt x="979424" y="536168"/>
                  </a:lnTo>
                  <a:lnTo>
                    <a:pt x="979424" y="622109"/>
                  </a:lnTo>
                  <a:lnTo>
                    <a:pt x="1073683" y="622109"/>
                  </a:lnTo>
                  <a:lnTo>
                    <a:pt x="1073683" y="536168"/>
                  </a:lnTo>
                  <a:close/>
                </a:path>
                <a:path w="1073785" h="779779" extrusionOk="0">
                  <a:moveTo>
                    <a:pt x="1073683" y="413207"/>
                  </a:moveTo>
                  <a:lnTo>
                    <a:pt x="979424" y="413207"/>
                  </a:lnTo>
                  <a:lnTo>
                    <a:pt x="979424" y="499148"/>
                  </a:lnTo>
                  <a:lnTo>
                    <a:pt x="1073683" y="499148"/>
                  </a:lnTo>
                  <a:lnTo>
                    <a:pt x="1073683" y="413207"/>
                  </a:lnTo>
                  <a:close/>
                </a:path>
              </a:pathLst>
            </a:custGeom>
            <a:solidFill>
              <a:srgbClr val="91CFE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590" name="Google Shape;4590;p14"/>
            <p:cNvSpPr/>
            <p:nvPr/>
          </p:nvSpPr>
          <p:spPr>
            <a:xfrm>
              <a:off x="3433089" y="2985922"/>
              <a:ext cx="1268730" cy="882650"/>
            </a:xfrm>
            <a:custGeom>
              <a:avLst/>
              <a:gdLst/>
              <a:ahLst/>
              <a:cxnLst/>
              <a:rect l="l" t="t" r="r" b="b"/>
              <a:pathLst>
                <a:path w="1268729" h="882650" extrusionOk="0">
                  <a:moveTo>
                    <a:pt x="196380" y="844854"/>
                  </a:moveTo>
                  <a:lnTo>
                    <a:pt x="93052" y="844854"/>
                  </a:lnTo>
                  <a:lnTo>
                    <a:pt x="93052" y="855878"/>
                  </a:lnTo>
                  <a:lnTo>
                    <a:pt x="196380" y="855878"/>
                  </a:lnTo>
                  <a:lnTo>
                    <a:pt x="196380" y="844854"/>
                  </a:lnTo>
                  <a:close/>
                </a:path>
                <a:path w="1268729" h="882650" extrusionOk="0">
                  <a:moveTo>
                    <a:pt x="196380" y="720318"/>
                  </a:moveTo>
                  <a:lnTo>
                    <a:pt x="93052" y="720318"/>
                  </a:lnTo>
                  <a:lnTo>
                    <a:pt x="93052" y="731354"/>
                  </a:lnTo>
                  <a:lnTo>
                    <a:pt x="196380" y="731354"/>
                  </a:lnTo>
                  <a:lnTo>
                    <a:pt x="196380" y="720318"/>
                  </a:lnTo>
                  <a:close/>
                </a:path>
                <a:path w="1268729" h="882650" extrusionOk="0">
                  <a:moveTo>
                    <a:pt x="196380" y="595820"/>
                  </a:moveTo>
                  <a:lnTo>
                    <a:pt x="93052" y="595820"/>
                  </a:lnTo>
                  <a:lnTo>
                    <a:pt x="93052" y="606856"/>
                  </a:lnTo>
                  <a:lnTo>
                    <a:pt x="196380" y="606856"/>
                  </a:lnTo>
                  <a:lnTo>
                    <a:pt x="196380" y="595820"/>
                  </a:lnTo>
                  <a:close/>
                </a:path>
                <a:path w="1268729" h="882650" extrusionOk="0">
                  <a:moveTo>
                    <a:pt x="227634" y="396913"/>
                  </a:moveTo>
                  <a:lnTo>
                    <a:pt x="124320" y="396913"/>
                  </a:lnTo>
                  <a:lnTo>
                    <a:pt x="124320" y="407974"/>
                  </a:lnTo>
                  <a:lnTo>
                    <a:pt x="227634" y="407974"/>
                  </a:lnTo>
                  <a:lnTo>
                    <a:pt x="227634" y="396913"/>
                  </a:lnTo>
                  <a:close/>
                </a:path>
                <a:path w="1268729" h="882650" extrusionOk="0">
                  <a:moveTo>
                    <a:pt x="227634" y="272415"/>
                  </a:moveTo>
                  <a:lnTo>
                    <a:pt x="124320" y="272415"/>
                  </a:lnTo>
                  <a:lnTo>
                    <a:pt x="124320" y="283438"/>
                  </a:lnTo>
                  <a:lnTo>
                    <a:pt x="227634" y="283438"/>
                  </a:lnTo>
                  <a:lnTo>
                    <a:pt x="227634" y="272415"/>
                  </a:lnTo>
                  <a:close/>
                </a:path>
                <a:path w="1268729" h="882650" extrusionOk="0">
                  <a:moveTo>
                    <a:pt x="318300" y="844854"/>
                  </a:moveTo>
                  <a:lnTo>
                    <a:pt x="214985" y="844854"/>
                  </a:lnTo>
                  <a:lnTo>
                    <a:pt x="214985" y="855878"/>
                  </a:lnTo>
                  <a:lnTo>
                    <a:pt x="318300" y="855878"/>
                  </a:lnTo>
                  <a:lnTo>
                    <a:pt x="318300" y="844854"/>
                  </a:lnTo>
                  <a:close/>
                </a:path>
                <a:path w="1268729" h="882650" extrusionOk="0">
                  <a:moveTo>
                    <a:pt x="318300" y="720318"/>
                  </a:moveTo>
                  <a:lnTo>
                    <a:pt x="214985" y="720318"/>
                  </a:lnTo>
                  <a:lnTo>
                    <a:pt x="214985" y="731354"/>
                  </a:lnTo>
                  <a:lnTo>
                    <a:pt x="318300" y="731354"/>
                  </a:lnTo>
                  <a:lnTo>
                    <a:pt x="318300" y="720318"/>
                  </a:lnTo>
                  <a:close/>
                </a:path>
                <a:path w="1268729" h="882650" extrusionOk="0">
                  <a:moveTo>
                    <a:pt x="318300" y="595820"/>
                  </a:moveTo>
                  <a:lnTo>
                    <a:pt x="214985" y="595820"/>
                  </a:lnTo>
                  <a:lnTo>
                    <a:pt x="214985" y="606856"/>
                  </a:lnTo>
                  <a:lnTo>
                    <a:pt x="318300" y="606856"/>
                  </a:lnTo>
                  <a:lnTo>
                    <a:pt x="318300" y="595820"/>
                  </a:lnTo>
                  <a:close/>
                </a:path>
                <a:path w="1268729" h="882650" extrusionOk="0">
                  <a:moveTo>
                    <a:pt x="349567" y="396913"/>
                  </a:moveTo>
                  <a:lnTo>
                    <a:pt x="246240" y="396913"/>
                  </a:lnTo>
                  <a:lnTo>
                    <a:pt x="246240" y="407974"/>
                  </a:lnTo>
                  <a:lnTo>
                    <a:pt x="349567" y="407974"/>
                  </a:lnTo>
                  <a:lnTo>
                    <a:pt x="349567" y="396913"/>
                  </a:lnTo>
                  <a:close/>
                </a:path>
                <a:path w="1268729" h="882650" extrusionOk="0">
                  <a:moveTo>
                    <a:pt x="349567" y="272415"/>
                  </a:moveTo>
                  <a:lnTo>
                    <a:pt x="246240" y="272415"/>
                  </a:lnTo>
                  <a:lnTo>
                    <a:pt x="246240" y="283438"/>
                  </a:lnTo>
                  <a:lnTo>
                    <a:pt x="349567" y="283438"/>
                  </a:lnTo>
                  <a:lnTo>
                    <a:pt x="349567" y="272415"/>
                  </a:lnTo>
                  <a:close/>
                </a:path>
                <a:path w="1268729" h="882650" extrusionOk="0">
                  <a:moveTo>
                    <a:pt x="642937" y="701192"/>
                  </a:moveTo>
                  <a:lnTo>
                    <a:pt x="630948" y="701192"/>
                  </a:lnTo>
                  <a:lnTo>
                    <a:pt x="630948" y="882611"/>
                  </a:lnTo>
                  <a:lnTo>
                    <a:pt x="642937" y="882611"/>
                  </a:lnTo>
                  <a:lnTo>
                    <a:pt x="642937" y="701192"/>
                  </a:lnTo>
                  <a:close/>
                </a:path>
                <a:path w="1268729" h="882650" extrusionOk="0">
                  <a:moveTo>
                    <a:pt x="840511" y="637209"/>
                  </a:moveTo>
                  <a:lnTo>
                    <a:pt x="837958" y="624649"/>
                  </a:lnTo>
                  <a:lnTo>
                    <a:pt x="831011" y="614387"/>
                  </a:lnTo>
                  <a:lnTo>
                    <a:pt x="820699" y="607479"/>
                  </a:lnTo>
                  <a:lnTo>
                    <a:pt x="808088" y="604939"/>
                  </a:lnTo>
                  <a:lnTo>
                    <a:pt x="460273" y="604939"/>
                  </a:lnTo>
                  <a:lnTo>
                    <a:pt x="447636" y="607479"/>
                  </a:lnTo>
                  <a:lnTo>
                    <a:pt x="437324" y="614387"/>
                  </a:lnTo>
                  <a:lnTo>
                    <a:pt x="430377" y="624649"/>
                  </a:lnTo>
                  <a:lnTo>
                    <a:pt x="427824" y="637209"/>
                  </a:lnTo>
                  <a:lnTo>
                    <a:pt x="430377" y="649782"/>
                  </a:lnTo>
                  <a:lnTo>
                    <a:pt x="437324" y="660044"/>
                  </a:lnTo>
                  <a:lnTo>
                    <a:pt x="447636" y="666965"/>
                  </a:lnTo>
                  <a:lnTo>
                    <a:pt x="460273" y="669505"/>
                  </a:lnTo>
                  <a:lnTo>
                    <a:pt x="461010" y="669505"/>
                  </a:lnTo>
                  <a:lnTo>
                    <a:pt x="461010" y="882611"/>
                  </a:lnTo>
                  <a:lnTo>
                    <a:pt x="485267" y="882611"/>
                  </a:lnTo>
                  <a:lnTo>
                    <a:pt x="485267" y="669505"/>
                  </a:lnTo>
                  <a:lnTo>
                    <a:pt x="791857" y="669505"/>
                  </a:lnTo>
                  <a:lnTo>
                    <a:pt x="791857" y="882611"/>
                  </a:lnTo>
                  <a:lnTo>
                    <a:pt x="816089" y="882611"/>
                  </a:lnTo>
                  <a:lnTo>
                    <a:pt x="816089" y="667905"/>
                  </a:lnTo>
                  <a:lnTo>
                    <a:pt x="820699" y="666965"/>
                  </a:lnTo>
                  <a:lnTo>
                    <a:pt x="831011" y="660044"/>
                  </a:lnTo>
                  <a:lnTo>
                    <a:pt x="837958" y="649782"/>
                  </a:lnTo>
                  <a:lnTo>
                    <a:pt x="840511" y="637209"/>
                  </a:lnTo>
                  <a:close/>
                </a:path>
                <a:path w="1268729" h="882650" extrusionOk="0">
                  <a:moveTo>
                    <a:pt x="844372" y="191795"/>
                  </a:moveTo>
                  <a:lnTo>
                    <a:pt x="748169" y="191795"/>
                  </a:lnTo>
                  <a:lnTo>
                    <a:pt x="748169" y="103822"/>
                  </a:lnTo>
                  <a:lnTo>
                    <a:pt x="737781" y="103822"/>
                  </a:lnTo>
                  <a:lnTo>
                    <a:pt x="737781" y="191795"/>
                  </a:lnTo>
                  <a:lnTo>
                    <a:pt x="639394" y="191795"/>
                  </a:lnTo>
                  <a:lnTo>
                    <a:pt x="639394" y="103822"/>
                  </a:lnTo>
                  <a:lnTo>
                    <a:pt x="628992" y="103822"/>
                  </a:lnTo>
                  <a:lnTo>
                    <a:pt x="628992" y="191795"/>
                  </a:lnTo>
                  <a:lnTo>
                    <a:pt x="529894" y="191795"/>
                  </a:lnTo>
                  <a:lnTo>
                    <a:pt x="529894" y="103822"/>
                  </a:lnTo>
                  <a:lnTo>
                    <a:pt x="519493" y="103822"/>
                  </a:lnTo>
                  <a:lnTo>
                    <a:pt x="519493" y="191795"/>
                  </a:lnTo>
                  <a:lnTo>
                    <a:pt x="423964" y="191795"/>
                  </a:lnTo>
                  <a:lnTo>
                    <a:pt x="423964" y="202145"/>
                  </a:lnTo>
                  <a:lnTo>
                    <a:pt x="519493" y="202145"/>
                  </a:lnTo>
                  <a:lnTo>
                    <a:pt x="519493" y="283984"/>
                  </a:lnTo>
                  <a:lnTo>
                    <a:pt x="423341" y="283984"/>
                  </a:lnTo>
                  <a:lnTo>
                    <a:pt x="423341" y="286512"/>
                  </a:lnTo>
                  <a:lnTo>
                    <a:pt x="423341" y="290322"/>
                  </a:lnTo>
                  <a:lnTo>
                    <a:pt x="423341" y="294119"/>
                  </a:lnTo>
                  <a:lnTo>
                    <a:pt x="519493" y="294119"/>
                  </a:lnTo>
                  <a:lnTo>
                    <a:pt x="519493" y="320751"/>
                  </a:lnTo>
                  <a:lnTo>
                    <a:pt x="529894" y="320751"/>
                  </a:lnTo>
                  <a:lnTo>
                    <a:pt x="529894" y="294119"/>
                  </a:lnTo>
                  <a:lnTo>
                    <a:pt x="593636" y="294119"/>
                  </a:lnTo>
                  <a:lnTo>
                    <a:pt x="593636" y="290322"/>
                  </a:lnTo>
                  <a:lnTo>
                    <a:pt x="598157" y="290322"/>
                  </a:lnTo>
                  <a:lnTo>
                    <a:pt x="598157" y="286512"/>
                  </a:lnTo>
                  <a:lnTo>
                    <a:pt x="603415" y="286512"/>
                  </a:lnTo>
                  <a:lnTo>
                    <a:pt x="603415" y="283984"/>
                  </a:lnTo>
                  <a:lnTo>
                    <a:pt x="529894" y="283984"/>
                  </a:lnTo>
                  <a:lnTo>
                    <a:pt x="529894" y="202145"/>
                  </a:lnTo>
                  <a:lnTo>
                    <a:pt x="628992" y="202145"/>
                  </a:lnTo>
                  <a:lnTo>
                    <a:pt x="629005" y="277609"/>
                  </a:lnTo>
                  <a:lnTo>
                    <a:pt x="632218" y="277393"/>
                  </a:lnTo>
                  <a:lnTo>
                    <a:pt x="639394" y="277609"/>
                  </a:lnTo>
                  <a:lnTo>
                    <a:pt x="639394" y="202145"/>
                  </a:lnTo>
                  <a:lnTo>
                    <a:pt x="737781" y="202145"/>
                  </a:lnTo>
                  <a:lnTo>
                    <a:pt x="737781" y="284162"/>
                  </a:lnTo>
                  <a:lnTo>
                    <a:pt x="660857" y="284162"/>
                  </a:lnTo>
                  <a:lnTo>
                    <a:pt x="666127" y="286943"/>
                  </a:lnTo>
                  <a:lnTo>
                    <a:pt x="670979" y="290423"/>
                  </a:lnTo>
                  <a:lnTo>
                    <a:pt x="675220" y="294589"/>
                  </a:lnTo>
                  <a:lnTo>
                    <a:pt x="737781" y="294589"/>
                  </a:lnTo>
                  <a:lnTo>
                    <a:pt x="737781" y="320751"/>
                  </a:lnTo>
                  <a:lnTo>
                    <a:pt x="748169" y="320751"/>
                  </a:lnTo>
                  <a:lnTo>
                    <a:pt x="748169" y="294589"/>
                  </a:lnTo>
                  <a:lnTo>
                    <a:pt x="843762" y="294589"/>
                  </a:lnTo>
                  <a:lnTo>
                    <a:pt x="843762" y="284162"/>
                  </a:lnTo>
                  <a:lnTo>
                    <a:pt x="748169" y="284162"/>
                  </a:lnTo>
                  <a:lnTo>
                    <a:pt x="748169" y="202145"/>
                  </a:lnTo>
                  <a:lnTo>
                    <a:pt x="844372" y="202145"/>
                  </a:lnTo>
                  <a:lnTo>
                    <a:pt x="844372" y="191795"/>
                  </a:lnTo>
                  <a:close/>
                </a:path>
                <a:path w="1268729" h="882650" extrusionOk="0">
                  <a:moveTo>
                    <a:pt x="858393" y="568858"/>
                  </a:moveTo>
                  <a:lnTo>
                    <a:pt x="748169" y="568858"/>
                  </a:lnTo>
                  <a:lnTo>
                    <a:pt x="748169" y="481850"/>
                  </a:lnTo>
                  <a:lnTo>
                    <a:pt x="844372" y="481850"/>
                  </a:lnTo>
                  <a:lnTo>
                    <a:pt x="844372" y="471500"/>
                  </a:lnTo>
                  <a:lnTo>
                    <a:pt x="748169" y="471500"/>
                  </a:lnTo>
                  <a:lnTo>
                    <a:pt x="748169" y="388950"/>
                  </a:lnTo>
                  <a:lnTo>
                    <a:pt x="844423" y="388950"/>
                  </a:lnTo>
                  <a:lnTo>
                    <a:pt x="844423" y="378599"/>
                  </a:lnTo>
                  <a:lnTo>
                    <a:pt x="748169" y="378599"/>
                  </a:lnTo>
                  <a:lnTo>
                    <a:pt x="748169" y="351142"/>
                  </a:lnTo>
                  <a:lnTo>
                    <a:pt x="737781" y="351142"/>
                  </a:lnTo>
                  <a:lnTo>
                    <a:pt x="737781" y="378599"/>
                  </a:lnTo>
                  <a:lnTo>
                    <a:pt x="676198" y="378599"/>
                  </a:lnTo>
                  <a:lnTo>
                    <a:pt x="672185" y="382689"/>
                  </a:lnTo>
                  <a:lnTo>
                    <a:pt x="667512" y="386156"/>
                  </a:lnTo>
                  <a:lnTo>
                    <a:pt x="662368" y="388950"/>
                  </a:lnTo>
                  <a:lnTo>
                    <a:pt x="737781" y="388950"/>
                  </a:lnTo>
                  <a:lnTo>
                    <a:pt x="737781" y="471500"/>
                  </a:lnTo>
                  <a:lnTo>
                    <a:pt x="737781" y="481850"/>
                  </a:lnTo>
                  <a:lnTo>
                    <a:pt x="737781" y="568858"/>
                  </a:lnTo>
                  <a:lnTo>
                    <a:pt x="639394" y="568858"/>
                  </a:lnTo>
                  <a:lnTo>
                    <a:pt x="639394" y="481850"/>
                  </a:lnTo>
                  <a:lnTo>
                    <a:pt x="737781" y="481850"/>
                  </a:lnTo>
                  <a:lnTo>
                    <a:pt x="737781" y="471500"/>
                  </a:lnTo>
                  <a:lnTo>
                    <a:pt x="639394" y="471500"/>
                  </a:lnTo>
                  <a:lnTo>
                    <a:pt x="639394" y="396760"/>
                  </a:lnTo>
                  <a:lnTo>
                    <a:pt x="639394" y="395490"/>
                  </a:lnTo>
                  <a:lnTo>
                    <a:pt x="638086" y="395490"/>
                  </a:lnTo>
                  <a:lnTo>
                    <a:pt x="638086" y="396760"/>
                  </a:lnTo>
                  <a:lnTo>
                    <a:pt x="631672" y="396760"/>
                  </a:lnTo>
                  <a:lnTo>
                    <a:pt x="631672" y="395490"/>
                  </a:lnTo>
                  <a:lnTo>
                    <a:pt x="629005" y="395490"/>
                  </a:lnTo>
                  <a:lnTo>
                    <a:pt x="629005" y="396760"/>
                  </a:lnTo>
                  <a:lnTo>
                    <a:pt x="629005" y="471500"/>
                  </a:lnTo>
                  <a:lnTo>
                    <a:pt x="629005" y="481850"/>
                  </a:lnTo>
                  <a:lnTo>
                    <a:pt x="629005" y="568858"/>
                  </a:lnTo>
                  <a:lnTo>
                    <a:pt x="529894" y="568858"/>
                  </a:lnTo>
                  <a:lnTo>
                    <a:pt x="529894" y="481850"/>
                  </a:lnTo>
                  <a:lnTo>
                    <a:pt x="629005" y="481850"/>
                  </a:lnTo>
                  <a:lnTo>
                    <a:pt x="629005" y="471500"/>
                  </a:lnTo>
                  <a:lnTo>
                    <a:pt x="529894" y="471500"/>
                  </a:lnTo>
                  <a:lnTo>
                    <a:pt x="529894" y="389153"/>
                  </a:lnTo>
                  <a:lnTo>
                    <a:pt x="603199" y="389153"/>
                  </a:lnTo>
                  <a:lnTo>
                    <a:pt x="603199" y="386613"/>
                  </a:lnTo>
                  <a:lnTo>
                    <a:pt x="598093" y="386613"/>
                  </a:lnTo>
                  <a:lnTo>
                    <a:pt x="598093" y="382816"/>
                  </a:lnTo>
                  <a:lnTo>
                    <a:pt x="593686" y="382816"/>
                  </a:lnTo>
                  <a:lnTo>
                    <a:pt x="593686" y="379018"/>
                  </a:lnTo>
                  <a:lnTo>
                    <a:pt x="529894" y="379018"/>
                  </a:lnTo>
                  <a:lnTo>
                    <a:pt x="529894" y="351142"/>
                  </a:lnTo>
                  <a:lnTo>
                    <a:pt x="519493" y="351142"/>
                  </a:lnTo>
                  <a:lnTo>
                    <a:pt x="519493" y="379018"/>
                  </a:lnTo>
                  <a:lnTo>
                    <a:pt x="423989" y="379018"/>
                  </a:lnTo>
                  <a:lnTo>
                    <a:pt x="423989" y="382816"/>
                  </a:lnTo>
                  <a:lnTo>
                    <a:pt x="423989" y="386613"/>
                  </a:lnTo>
                  <a:lnTo>
                    <a:pt x="423989" y="389153"/>
                  </a:lnTo>
                  <a:lnTo>
                    <a:pt x="519493" y="389153"/>
                  </a:lnTo>
                  <a:lnTo>
                    <a:pt x="519493" y="471500"/>
                  </a:lnTo>
                  <a:lnTo>
                    <a:pt x="423964" y="471500"/>
                  </a:lnTo>
                  <a:lnTo>
                    <a:pt x="423964" y="481850"/>
                  </a:lnTo>
                  <a:lnTo>
                    <a:pt x="519493" y="481850"/>
                  </a:lnTo>
                  <a:lnTo>
                    <a:pt x="519493" y="568858"/>
                  </a:lnTo>
                  <a:lnTo>
                    <a:pt x="409968" y="568858"/>
                  </a:lnTo>
                  <a:lnTo>
                    <a:pt x="409968" y="582917"/>
                  </a:lnTo>
                  <a:lnTo>
                    <a:pt x="858393" y="582917"/>
                  </a:lnTo>
                  <a:lnTo>
                    <a:pt x="858393" y="568858"/>
                  </a:lnTo>
                  <a:close/>
                </a:path>
                <a:path w="1268729" h="882650" extrusionOk="0">
                  <a:moveTo>
                    <a:pt x="1021537" y="393827"/>
                  </a:moveTo>
                  <a:lnTo>
                    <a:pt x="918171" y="393827"/>
                  </a:lnTo>
                  <a:lnTo>
                    <a:pt x="918171" y="404901"/>
                  </a:lnTo>
                  <a:lnTo>
                    <a:pt x="1021537" y="404901"/>
                  </a:lnTo>
                  <a:lnTo>
                    <a:pt x="1021537" y="393827"/>
                  </a:lnTo>
                  <a:close/>
                </a:path>
                <a:path w="1268729" h="882650" extrusionOk="0">
                  <a:moveTo>
                    <a:pt x="1021537" y="270446"/>
                  </a:moveTo>
                  <a:lnTo>
                    <a:pt x="918171" y="270446"/>
                  </a:lnTo>
                  <a:lnTo>
                    <a:pt x="918171" y="281482"/>
                  </a:lnTo>
                  <a:lnTo>
                    <a:pt x="1021537" y="281482"/>
                  </a:lnTo>
                  <a:lnTo>
                    <a:pt x="1021537" y="270446"/>
                  </a:lnTo>
                  <a:close/>
                </a:path>
                <a:path w="1268729" h="882650" extrusionOk="0">
                  <a:moveTo>
                    <a:pt x="1053376" y="844054"/>
                  </a:moveTo>
                  <a:lnTo>
                    <a:pt x="950023" y="844054"/>
                  </a:lnTo>
                  <a:lnTo>
                    <a:pt x="950023" y="855116"/>
                  </a:lnTo>
                  <a:lnTo>
                    <a:pt x="1053376" y="855116"/>
                  </a:lnTo>
                  <a:lnTo>
                    <a:pt x="1053376" y="844054"/>
                  </a:lnTo>
                  <a:close/>
                </a:path>
                <a:path w="1268729" h="882650" extrusionOk="0">
                  <a:moveTo>
                    <a:pt x="1053376" y="719556"/>
                  </a:moveTo>
                  <a:lnTo>
                    <a:pt x="950023" y="719556"/>
                  </a:lnTo>
                  <a:lnTo>
                    <a:pt x="950023" y="730592"/>
                  </a:lnTo>
                  <a:lnTo>
                    <a:pt x="1053376" y="730592"/>
                  </a:lnTo>
                  <a:lnTo>
                    <a:pt x="1053376" y="719556"/>
                  </a:lnTo>
                  <a:close/>
                </a:path>
                <a:path w="1268729" h="882650" extrusionOk="0">
                  <a:moveTo>
                    <a:pt x="1053566" y="596595"/>
                  </a:moveTo>
                  <a:lnTo>
                    <a:pt x="950290" y="596595"/>
                  </a:lnTo>
                  <a:lnTo>
                    <a:pt x="950290" y="607618"/>
                  </a:lnTo>
                  <a:lnTo>
                    <a:pt x="1053566" y="607618"/>
                  </a:lnTo>
                  <a:lnTo>
                    <a:pt x="1053566" y="596595"/>
                  </a:lnTo>
                  <a:close/>
                </a:path>
                <a:path w="1268729" h="882650" extrusionOk="0">
                  <a:moveTo>
                    <a:pt x="1143368" y="393827"/>
                  </a:moveTo>
                  <a:lnTo>
                    <a:pt x="1040091" y="393827"/>
                  </a:lnTo>
                  <a:lnTo>
                    <a:pt x="1040091" y="404901"/>
                  </a:lnTo>
                  <a:lnTo>
                    <a:pt x="1143368" y="404901"/>
                  </a:lnTo>
                  <a:lnTo>
                    <a:pt x="1143368" y="393827"/>
                  </a:lnTo>
                  <a:close/>
                </a:path>
                <a:path w="1268729" h="882650" extrusionOk="0">
                  <a:moveTo>
                    <a:pt x="1143368" y="270446"/>
                  </a:moveTo>
                  <a:lnTo>
                    <a:pt x="1040091" y="270446"/>
                  </a:lnTo>
                  <a:lnTo>
                    <a:pt x="1040091" y="281482"/>
                  </a:lnTo>
                  <a:lnTo>
                    <a:pt x="1143368" y="281482"/>
                  </a:lnTo>
                  <a:lnTo>
                    <a:pt x="1143368" y="270446"/>
                  </a:lnTo>
                  <a:close/>
                </a:path>
                <a:path w="1268729" h="882650" extrusionOk="0">
                  <a:moveTo>
                    <a:pt x="1175296" y="844054"/>
                  </a:moveTo>
                  <a:lnTo>
                    <a:pt x="1072032" y="844054"/>
                  </a:lnTo>
                  <a:lnTo>
                    <a:pt x="1072032" y="855116"/>
                  </a:lnTo>
                  <a:lnTo>
                    <a:pt x="1175296" y="855116"/>
                  </a:lnTo>
                  <a:lnTo>
                    <a:pt x="1175296" y="844054"/>
                  </a:lnTo>
                  <a:close/>
                </a:path>
                <a:path w="1268729" h="882650" extrusionOk="0">
                  <a:moveTo>
                    <a:pt x="1175296" y="719556"/>
                  </a:moveTo>
                  <a:lnTo>
                    <a:pt x="1072032" y="719556"/>
                  </a:lnTo>
                  <a:lnTo>
                    <a:pt x="1072032" y="730592"/>
                  </a:lnTo>
                  <a:lnTo>
                    <a:pt x="1175296" y="730592"/>
                  </a:lnTo>
                  <a:lnTo>
                    <a:pt x="1175296" y="719556"/>
                  </a:lnTo>
                  <a:close/>
                </a:path>
                <a:path w="1268729" h="882650" extrusionOk="0">
                  <a:moveTo>
                    <a:pt x="1175486" y="596595"/>
                  </a:moveTo>
                  <a:lnTo>
                    <a:pt x="1072210" y="596595"/>
                  </a:lnTo>
                  <a:lnTo>
                    <a:pt x="1072210" y="607618"/>
                  </a:lnTo>
                  <a:lnTo>
                    <a:pt x="1175486" y="607618"/>
                  </a:lnTo>
                  <a:lnTo>
                    <a:pt x="1175486" y="596595"/>
                  </a:lnTo>
                  <a:close/>
                </a:path>
                <a:path w="1268729" h="882650" extrusionOk="0">
                  <a:moveTo>
                    <a:pt x="1268374" y="462419"/>
                  </a:moveTo>
                  <a:lnTo>
                    <a:pt x="1266736" y="454355"/>
                  </a:lnTo>
                  <a:lnTo>
                    <a:pt x="1262253" y="447776"/>
                  </a:lnTo>
                  <a:lnTo>
                    <a:pt x="1255636" y="443331"/>
                  </a:lnTo>
                  <a:lnTo>
                    <a:pt x="1247546" y="441706"/>
                  </a:lnTo>
                  <a:lnTo>
                    <a:pt x="896607" y="441706"/>
                  </a:lnTo>
                  <a:lnTo>
                    <a:pt x="896607" y="153111"/>
                  </a:lnTo>
                  <a:lnTo>
                    <a:pt x="1184490" y="153111"/>
                  </a:lnTo>
                  <a:lnTo>
                    <a:pt x="1192568" y="151472"/>
                  </a:lnTo>
                  <a:lnTo>
                    <a:pt x="1199159" y="147027"/>
                  </a:lnTo>
                  <a:lnTo>
                    <a:pt x="1203604" y="140449"/>
                  </a:lnTo>
                  <a:lnTo>
                    <a:pt x="1205230" y="132384"/>
                  </a:lnTo>
                  <a:lnTo>
                    <a:pt x="1203604" y="124320"/>
                  </a:lnTo>
                  <a:lnTo>
                    <a:pt x="1199159" y="117741"/>
                  </a:lnTo>
                  <a:lnTo>
                    <a:pt x="1192568" y="113309"/>
                  </a:lnTo>
                  <a:lnTo>
                    <a:pt x="1184490" y="111683"/>
                  </a:lnTo>
                  <a:lnTo>
                    <a:pt x="896607" y="111683"/>
                  </a:lnTo>
                  <a:lnTo>
                    <a:pt x="896607" y="52806"/>
                  </a:lnTo>
                  <a:lnTo>
                    <a:pt x="907707" y="52806"/>
                  </a:lnTo>
                  <a:lnTo>
                    <a:pt x="918032" y="50723"/>
                  </a:lnTo>
                  <a:lnTo>
                    <a:pt x="926439" y="45046"/>
                  </a:lnTo>
                  <a:lnTo>
                    <a:pt x="932116" y="36639"/>
                  </a:lnTo>
                  <a:lnTo>
                    <a:pt x="934186" y="26365"/>
                  </a:lnTo>
                  <a:lnTo>
                    <a:pt x="932116" y="16090"/>
                  </a:lnTo>
                  <a:lnTo>
                    <a:pt x="926439" y="7708"/>
                  </a:lnTo>
                  <a:lnTo>
                    <a:pt x="918032" y="2070"/>
                  </a:lnTo>
                  <a:lnTo>
                    <a:pt x="907707" y="0"/>
                  </a:lnTo>
                  <a:lnTo>
                    <a:pt x="360680" y="0"/>
                  </a:lnTo>
                  <a:lnTo>
                    <a:pt x="350354" y="2070"/>
                  </a:lnTo>
                  <a:lnTo>
                    <a:pt x="341934" y="7708"/>
                  </a:lnTo>
                  <a:lnTo>
                    <a:pt x="336245" y="16090"/>
                  </a:lnTo>
                  <a:lnTo>
                    <a:pt x="334149" y="26365"/>
                  </a:lnTo>
                  <a:lnTo>
                    <a:pt x="336245" y="36639"/>
                  </a:lnTo>
                  <a:lnTo>
                    <a:pt x="341934" y="45046"/>
                  </a:lnTo>
                  <a:lnTo>
                    <a:pt x="350354" y="50723"/>
                  </a:lnTo>
                  <a:lnTo>
                    <a:pt x="360680" y="52806"/>
                  </a:lnTo>
                  <a:lnTo>
                    <a:pt x="371716" y="52806"/>
                  </a:lnTo>
                  <a:lnTo>
                    <a:pt x="371716" y="111683"/>
                  </a:lnTo>
                  <a:lnTo>
                    <a:pt x="83921" y="111683"/>
                  </a:lnTo>
                  <a:lnTo>
                    <a:pt x="75819" y="113309"/>
                  </a:lnTo>
                  <a:lnTo>
                    <a:pt x="69215" y="117741"/>
                  </a:lnTo>
                  <a:lnTo>
                    <a:pt x="64757" y="124320"/>
                  </a:lnTo>
                  <a:lnTo>
                    <a:pt x="63119" y="132384"/>
                  </a:lnTo>
                  <a:lnTo>
                    <a:pt x="64757" y="140449"/>
                  </a:lnTo>
                  <a:lnTo>
                    <a:pt x="69215" y="147027"/>
                  </a:lnTo>
                  <a:lnTo>
                    <a:pt x="75819" y="151472"/>
                  </a:lnTo>
                  <a:lnTo>
                    <a:pt x="83921" y="153111"/>
                  </a:lnTo>
                  <a:lnTo>
                    <a:pt x="371716" y="153111"/>
                  </a:lnTo>
                  <a:lnTo>
                    <a:pt x="371716" y="441706"/>
                  </a:lnTo>
                  <a:lnTo>
                    <a:pt x="20815" y="441706"/>
                  </a:lnTo>
                  <a:lnTo>
                    <a:pt x="12725" y="443331"/>
                  </a:lnTo>
                  <a:lnTo>
                    <a:pt x="6108" y="447776"/>
                  </a:lnTo>
                  <a:lnTo>
                    <a:pt x="1638" y="454355"/>
                  </a:lnTo>
                  <a:lnTo>
                    <a:pt x="0" y="462419"/>
                  </a:lnTo>
                  <a:lnTo>
                    <a:pt x="1638" y="470484"/>
                  </a:lnTo>
                  <a:lnTo>
                    <a:pt x="6108" y="477062"/>
                  </a:lnTo>
                  <a:lnTo>
                    <a:pt x="12725" y="481495"/>
                  </a:lnTo>
                  <a:lnTo>
                    <a:pt x="20815" y="483120"/>
                  </a:lnTo>
                  <a:lnTo>
                    <a:pt x="371716" y="483120"/>
                  </a:lnTo>
                  <a:lnTo>
                    <a:pt x="371716" y="882611"/>
                  </a:lnTo>
                  <a:lnTo>
                    <a:pt x="395973" y="882611"/>
                  </a:lnTo>
                  <a:lnTo>
                    <a:pt x="395973" y="52806"/>
                  </a:lnTo>
                  <a:lnTo>
                    <a:pt x="872413" y="52806"/>
                  </a:lnTo>
                  <a:lnTo>
                    <a:pt x="872413" y="882396"/>
                  </a:lnTo>
                  <a:lnTo>
                    <a:pt x="896607" y="882396"/>
                  </a:lnTo>
                  <a:lnTo>
                    <a:pt x="896607" y="483120"/>
                  </a:lnTo>
                  <a:lnTo>
                    <a:pt x="1247546" y="483120"/>
                  </a:lnTo>
                  <a:lnTo>
                    <a:pt x="1255636" y="481495"/>
                  </a:lnTo>
                  <a:lnTo>
                    <a:pt x="1262253" y="477062"/>
                  </a:lnTo>
                  <a:lnTo>
                    <a:pt x="1266736" y="470484"/>
                  </a:lnTo>
                  <a:lnTo>
                    <a:pt x="1268374" y="462419"/>
                  </a:lnTo>
                  <a:close/>
                </a:path>
              </a:pathLst>
            </a:custGeom>
            <a:solidFill>
              <a:srgbClr val="539CBB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591" name="Google Shape;4591;p14"/>
            <p:cNvSpPr/>
            <p:nvPr/>
          </p:nvSpPr>
          <p:spPr>
            <a:xfrm>
              <a:off x="3857079" y="3263308"/>
              <a:ext cx="421005" cy="119380"/>
            </a:xfrm>
            <a:custGeom>
              <a:avLst/>
              <a:gdLst/>
              <a:ahLst/>
              <a:cxnLst/>
              <a:rect l="l" t="t" r="r" b="b"/>
              <a:pathLst>
                <a:path w="421004" h="119379" extrusionOk="0">
                  <a:moveTo>
                    <a:pt x="208236" y="0"/>
                  </a:moveTo>
                  <a:lnTo>
                    <a:pt x="172088" y="13033"/>
                  </a:lnTo>
                  <a:lnTo>
                    <a:pt x="152390" y="43357"/>
                  </a:lnTo>
                  <a:lnTo>
                    <a:pt x="0" y="43357"/>
                  </a:lnTo>
                  <a:lnTo>
                    <a:pt x="0" y="73744"/>
                  </a:lnTo>
                  <a:lnTo>
                    <a:pt x="151889" y="73744"/>
                  </a:lnTo>
                  <a:lnTo>
                    <a:pt x="154377" y="81480"/>
                  </a:lnTo>
                  <a:lnTo>
                    <a:pt x="188402" y="115480"/>
                  </a:lnTo>
                  <a:lnTo>
                    <a:pt x="213568" y="118777"/>
                  </a:lnTo>
                  <a:lnTo>
                    <a:pt x="223695" y="117898"/>
                  </a:lnTo>
                  <a:lnTo>
                    <a:pt x="257435" y="95232"/>
                  </a:lnTo>
                  <a:lnTo>
                    <a:pt x="267813" y="73744"/>
                  </a:lnTo>
                  <a:lnTo>
                    <a:pt x="420440" y="73744"/>
                  </a:lnTo>
                  <a:lnTo>
                    <a:pt x="420440" y="43357"/>
                  </a:lnTo>
                  <a:lnTo>
                    <a:pt x="267303" y="43357"/>
                  </a:lnTo>
                  <a:lnTo>
                    <a:pt x="264699" y="36032"/>
                  </a:lnTo>
                  <a:lnTo>
                    <a:pt x="230791" y="3215"/>
                  </a:lnTo>
                  <a:lnTo>
                    <a:pt x="215406" y="217"/>
                  </a:lnTo>
                  <a:lnTo>
                    <a:pt x="20823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592" name="Google Shape;4592;p14"/>
            <p:cNvSpPr/>
            <p:nvPr/>
          </p:nvSpPr>
          <p:spPr>
            <a:xfrm>
              <a:off x="4029723" y="3285743"/>
              <a:ext cx="74930" cy="74295"/>
            </a:xfrm>
            <a:custGeom>
              <a:avLst/>
              <a:gdLst/>
              <a:ahLst/>
              <a:cxnLst/>
              <a:rect l="l" t="t" r="r" b="b"/>
              <a:pathLst>
                <a:path w="74929" h="74295" extrusionOk="0">
                  <a:moveTo>
                    <a:pt x="74371" y="27165"/>
                  </a:moveTo>
                  <a:lnTo>
                    <a:pt x="47078" y="27165"/>
                  </a:lnTo>
                  <a:lnTo>
                    <a:pt x="47078" y="0"/>
                  </a:lnTo>
                  <a:lnTo>
                    <a:pt x="27292" y="0"/>
                  </a:lnTo>
                  <a:lnTo>
                    <a:pt x="27292" y="27165"/>
                  </a:lnTo>
                  <a:lnTo>
                    <a:pt x="0" y="27165"/>
                  </a:lnTo>
                  <a:lnTo>
                    <a:pt x="0" y="46837"/>
                  </a:lnTo>
                  <a:lnTo>
                    <a:pt x="27292" y="46837"/>
                  </a:lnTo>
                  <a:lnTo>
                    <a:pt x="27292" y="74002"/>
                  </a:lnTo>
                  <a:lnTo>
                    <a:pt x="47078" y="74002"/>
                  </a:lnTo>
                  <a:lnTo>
                    <a:pt x="47078" y="46837"/>
                  </a:lnTo>
                  <a:lnTo>
                    <a:pt x="74371" y="46837"/>
                  </a:lnTo>
                  <a:lnTo>
                    <a:pt x="74371" y="27165"/>
                  </a:lnTo>
                  <a:close/>
                </a:path>
              </a:pathLst>
            </a:custGeom>
            <a:solidFill>
              <a:srgbClr val="EC1D2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593" name="Google Shape;4593;p14"/>
            <p:cNvSpPr/>
            <p:nvPr/>
          </p:nvSpPr>
          <p:spPr>
            <a:xfrm>
              <a:off x="3420676" y="3868522"/>
              <a:ext cx="1298575" cy="26670"/>
            </a:xfrm>
            <a:custGeom>
              <a:avLst/>
              <a:gdLst/>
              <a:ahLst/>
              <a:cxnLst/>
              <a:rect l="l" t="t" r="r" b="b"/>
              <a:pathLst>
                <a:path w="1298575" h="26670" extrusionOk="0">
                  <a:moveTo>
                    <a:pt x="1293351" y="0"/>
                  </a:moveTo>
                  <a:lnTo>
                    <a:pt x="4691" y="0"/>
                  </a:lnTo>
                  <a:lnTo>
                    <a:pt x="0" y="4667"/>
                  </a:lnTo>
                  <a:lnTo>
                    <a:pt x="0" y="26112"/>
                  </a:lnTo>
                  <a:lnTo>
                    <a:pt x="1298082" y="26112"/>
                  </a:lnTo>
                  <a:lnTo>
                    <a:pt x="1298082" y="4667"/>
                  </a:lnTo>
                  <a:lnTo>
                    <a:pt x="1293351" y="0"/>
                  </a:lnTo>
                  <a:close/>
                </a:path>
              </a:pathLst>
            </a:custGeom>
            <a:solidFill>
              <a:srgbClr val="5B5C5E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594" name="Google Shape;4594;p14"/>
            <p:cNvSpPr/>
            <p:nvPr/>
          </p:nvSpPr>
          <p:spPr>
            <a:xfrm>
              <a:off x="3420669" y="3891571"/>
              <a:ext cx="1298575" cy="57150"/>
            </a:xfrm>
            <a:custGeom>
              <a:avLst/>
              <a:gdLst/>
              <a:ahLst/>
              <a:cxnLst/>
              <a:rect l="l" t="t" r="r" b="b"/>
              <a:pathLst>
                <a:path w="1298575" h="57150" extrusionOk="0">
                  <a:moveTo>
                    <a:pt x="438264" y="3073"/>
                  </a:moveTo>
                  <a:lnTo>
                    <a:pt x="0" y="3073"/>
                  </a:lnTo>
                  <a:lnTo>
                    <a:pt x="0" y="56870"/>
                  </a:lnTo>
                  <a:lnTo>
                    <a:pt x="243903" y="56870"/>
                  </a:lnTo>
                  <a:lnTo>
                    <a:pt x="338975" y="56870"/>
                  </a:lnTo>
                  <a:lnTo>
                    <a:pt x="438264" y="56870"/>
                  </a:lnTo>
                  <a:lnTo>
                    <a:pt x="438264" y="3073"/>
                  </a:lnTo>
                  <a:close/>
                </a:path>
                <a:path w="1298575" h="57150" extrusionOk="0">
                  <a:moveTo>
                    <a:pt x="1298079" y="3073"/>
                  </a:moveTo>
                  <a:lnTo>
                    <a:pt x="1091857" y="3073"/>
                  </a:lnTo>
                  <a:lnTo>
                    <a:pt x="1083818" y="0"/>
                  </a:lnTo>
                  <a:lnTo>
                    <a:pt x="1070165" y="2857"/>
                  </a:lnTo>
                  <a:lnTo>
                    <a:pt x="1069975" y="3073"/>
                  </a:lnTo>
                  <a:lnTo>
                    <a:pt x="859777" y="3073"/>
                  </a:lnTo>
                  <a:lnTo>
                    <a:pt x="859777" y="56870"/>
                  </a:lnTo>
                  <a:lnTo>
                    <a:pt x="956157" y="56870"/>
                  </a:lnTo>
                  <a:lnTo>
                    <a:pt x="1051242" y="56870"/>
                  </a:lnTo>
                  <a:lnTo>
                    <a:pt x="1298079" y="56870"/>
                  </a:lnTo>
                  <a:lnTo>
                    <a:pt x="1298079" y="3073"/>
                  </a:lnTo>
                  <a:close/>
                </a:path>
              </a:pathLst>
            </a:custGeom>
            <a:solidFill>
              <a:srgbClr val="75C72B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595" name="Google Shape;4595;p14"/>
            <p:cNvPicPr preferRelativeResize="0"/>
            <p:nvPr/>
          </p:nvPicPr>
          <p:blipFill rotWithShape="1">
            <a:blip r:embed="rId1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72728" y="3695304"/>
              <a:ext cx="148305" cy="15190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596" name="Google Shape;4596;p14"/>
            <p:cNvPicPr preferRelativeResize="0"/>
            <p:nvPr/>
          </p:nvPicPr>
          <p:blipFill rotWithShape="1">
            <a:blip r:embed="rId1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3666" y="3695249"/>
              <a:ext cx="148367" cy="15190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597" name="Google Shape;4597;p14"/>
            <p:cNvSpPr/>
            <p:nvPr/>
          </p:nvSpPr>
          <p:spPr>
            <a:xfrm>
              <a:off x="3648049" y="3894658"/>
              <a:ext cx="838835" cy="27305"/>
            </a:xfrm>
            <a:custGeom>
              <a:avLst/>
              <a:gdLst/>
              <a:ahLst/>
              <a:cxnLst/>
              <a:rect l="l" t="t" r="r" b="b"/>
              <a:pathLst>
                <a:path w="838835" h="27304" extrusionOk="0">
                  <a:moveTo>
                    <a:pt x="838415" y="18084"/>
                  </a:moveTo>
                  <a:lnTo>
                    <a:pt x="834148" y="10274"/>
                  </a:lnTo>
                  <a:lnTo>
                    <a:pt x="823315" y="2184"/>
                  </a:lnTo>
                  <a:lnTo>
                    <a:pt x="818134" y="215"/>
                  </a:lnTo>
                  <a:lnTo>
                    <a:pt x="811403" y="0"/>
                  </a:lnTo>
                  <a:lnTo>
                    <a:pt x="760539" y="0"/>
                  </a:lnTo>
                  <a:lnTo>
                    <a:pt x="79768" y="0"/>
                  </a:lnTo>
                  <a:lnTo>
                    <a:pt x="33642" y="0"/>
                  </a:lnTo>
                  <a:lnTo>
                    <a:pt x="33642" y="20167"/>
                  </a:lnTo>
                  <a:lnTo>
                    <a:pt x="28003" y="20701"/>
                  </a:lnTo>
                  <a:lnTo>
                    <a:pt x="33578" y="20167"/>
                  </a:lnTo>
                  <a:lnTo>
                    <a:pt x="33642" y="0"/>
                  </a:lnTo>
                  <a:lnTo>
                    <a:pt x="27076" y="0"/>
                  </a:lnTo>
                  <a:lnTo>
                    <a:pt x="18859" y="292"/>
                  </a:lnTo>
                  <a:lnTo>
                    <a:pt x="12573" y="3302"/>
                  </a:lnTo>
                  <a:lnTo>
                    <a:pt x="6286" y="9639"/>
                  </a:lnTo>
                  <a:lnTo>
                    <a:pt x="2044" y="15074"/>
                  </a:lnTo>
                  <a:lnTo>
                    <a:pt x="0" y="20751"/>
                  </a:lnTo>
                  <a:lnTo>
                    <a:pt x="0" y="26885"/>
                  </a:lnTo>
                  <a:lnTo>
                    <a:pt x="18948" y="26885"/>
                  </a:lnTo>
                  <a:lnTo>
                    <a:pt x="53327" y="26885"/>
                  </a:lnTo>
                  <a:lnTo>
                    <a:pt x="838415" y="26885"/>
                  </a:lnTo>
                  <a:lnTo>
                    <a:pt x="838415" y="18084"/>
                  </a:lnTo>
                  <a:close/>
                </a:path>
              </a:pathLst>
            </a:custGeom>
            <a:solidFill>
              <a:srgbClr val="464647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598" name="Google Shape;4598;p14"/>
            <p:cNvSpPr/>
            <p:nvPr/>
          </p:nvSpPr>
          <p:spPr>
            <a:xfrm>
              <a:off x="3529647" y="3857586"/>
              <a:ext cx="1082675" cy="91440"/>
            </a:xfrm>
            <a:custGeom>
              <a:avLst/>
              <a:gdLst/>
              <a:ahLst/>
              <a:cxnLst/>
              <a:rect l="l" t="t" r="r" b="b"/>
              <a:pathLst>
                <a:path w="1082675" h="91439" extrusionOk="0">
                  <a:moveTo>
                    <a:pt x="144310" y="37160"/>
                  </a:moveTo>
                  <a:lnTo>
                    <a:pt x="138645" y="34810"/>
                  </a:lnTo>
                  <a:lnTo>
                    <a:pt x="131953" y="34251"/>
                  </a:lnTo>
                  <a:lnTo>
                    <a:pt x="124333" y="35521"/>
                  </a:lnTo>
                  <a:lnTo>
                    <a:pt x="115887" y="38671"/>
                  </a:lnTo>
                  <a:lnTo>
                    <a:pt x="97891" y="13868"/>
                  </a:lnTo>
                  <a:lnTo>
                    <a:pt x="77914" y="8953"/>
                  </a:lnTo>
                  <a:lnTo>
                    <a:pt x="60566" y="17043"/>
                  </a:lnTo>
                  <a:lnTo>
                    <a:pt x="50444" y="31242"/>
                  </a:lnTo>
                  <a:lnTo>
                    <a:pt x="39522" y="25095"/>
                  </a:lnTo>
                  <a:lnTo>
                    <a:pt x="29629" y="24930"/>
                  </a:lnTo>
                  <a:lnTo>
                    <a:pt x="21526" y="30645"/>
                  </a:lnTo>
                  <a:lnTo>
                    <a:pt x="15989" y="42125"/>
                  </a:lnTo>
                  <a:lnTo>
                    <a:pt x="7366" y="44208"/>
                  </a:lnTo>
                  <a:lnTo>
                    <a:pt x="2120" y="48666"/>
                  </a:lnTo>
                  <a:lnTo>
                    <a:pt x="0" y="55295"/>
                  </a:lnTo>
                  <a:lnTo>
                    <a:pt x="762" y="63957"/>
                  </a:lnTo>
                  <a:lnTo>
                    <a:pt x="59080" y="63957"/>
                  </a:lnTo>
                  <a:lnTo>
                    <a:pt x="63906" y="56578"/>
                  </a:lnTo>
                  <a:lnTo>
                    <a:pt x="71653" y="53975"/>
                  </a:lnTo>
                  <a:lnTo>
                    <a:pt x="79819" y="55740"/>
                  </a:lnTo>
                  <a:lnTo>
                    <a:pt x="85953" y="61493"/>
                  </a:lnTo>
                  <a:lnTo>
                    <a:pt x="92113" y="49872"/>
                  </a:lnTo>
                  <a:lnTo>
                    <a:pt x="102247" y="43853"/>
                  </a:lnTo>
                  <a:lnTo>
                    <a:pt x="113753" y="43180"/>
                  </a:lnTo>
                  <a:lnTo>
                    <a:pt x="124015" y="47637"/>
                  </a:lnTo>
                  <a:lnTo>
                    <a:pt x="124688" y="46710"/>
                  </a:lnTo>
                  <a:lnTo>
                    <a:pt x="130975" y="40373"/>
                  </a:lnTo>
                  <a:lnTo>
                    <a:pt x="137261" y="37363"/>
                  </a:lnTo>
                  <a:lnTo>
                    <a:pt x="144310" y="37160"/>
                  </a:lnTo>
                  <a:close/>
                </a:path>
                <a:path w="1082675" h="91439" extrusionOk="0">
                  <a:moveTo>
                    <a:pt x="289115" y="82207"/>
                  </a:moveTo>
                  <a:lnTo>
                    <a:pt x="286994" y="75577"/>
                  </a:lnTo>
                  <a:lnTo>
                    <a:pt x="281736" y="71158"/>
                  </a:lnTo>
                  <a:lnTo>
                    <a:pt x="273113" y="69075"/>
                  </a:lnTo>
                  <a:lnTo>
                    <a:pt x="272046" y="65493"/>
                  </a:lnTo>
                  <a:lnTo>
                    <a:pt x="271284" y="63957"/>
                  </a:lnTo>
                  <a:lnTo>
                    <a:pt x="265455" y="55308"/>
                  </a:lnTo>
                  <a:lnTo>
                    <a:pt x="257683" y="51396"/>
                  </a:lnTo>
                  <a:lnTo>
                    <a:pt x="248551" y="52298"/>
                  </a:lnTo>
                  <a:lnTo>
                    <a:pt x="238645" y="58115"/>
                  </a:lnTo>
                  <a:lnTo>
                    <a:pt x="235496" y="51701"/>
                  </a:lnTo>
                  <a:lnTo>
                    <a:pt x="204470" y="34874"/>
                  </a:lnTo>
                  <a:lnTo>
                    <a:pt x="198170" y="37071"/>
                  </a:lnTo>
                  <a:lnTo>
                    <a:pt x="173228" y="65582"/>
                  </a:lnTo>
                  <a:lnTo>
                    <a:pt x="166992" y="59232"/>
                  </a:lnTo>
                  <a:lnTo>
                    <a:pt x="160401" y="57035"/>
                  </a:lnTo>
                  <a:lnTo>
                    <a:pt x="154038" y="57111"/>
                  </a:lnTo>
                  <a:lnTo>
                    <a:pt x="153377" y="57111"/>
                  </a:lnTo>
                  <a:lnTo>
                    <a:pt x="152641" y="57188"/>
                  </a:lnTo>
                  <a:lnTo>
                    <a:pt x="151980" y="57238"/>
                  </a:lnTo>
                  <a:lnTo>
                    <a:pt x="132270" y="74841"/>
                  </a:lnTo>
                  <a:lnTo>
                    <a:pt x="132473" y="82054"/>
                  </a:lnTo>
                  <a:lnTo>
                    <a:pt x="135001" y="90411"/>
                  </a:lnTo>
                  <a:lnTo>
                    <a:pt x="138188" y="82651"/>
                  </a:lnTo>
                  <a:lnTo>
                    <a:pt x="144665" y="78320"/>
                  </a:lnTo>
                  <a:lnTo>
                    <a:pt x="152298" y="78206"/>
                  </a:lnTo>
                  <a:lnTo>
                    <a:pt x="158940" y="83058"/>
                  </a:lnTo>
                  <a:lnTo>
                    <a:pt x="167906" y="72631"/>
                  </a:lnTo>
                  <a:lnTo>
                    <a:pt x="181533" y="69748"/>
                  </a:lnTo>
                  <a:lnTo>
                    <a:pt x="194919" y="74853"/>
                  </a:lnTo>
                  <a:lnTo>
                    <a:pt x="203136" y="88366"/>
                  </a:lnTo>
                  <a:lnTo>
                    <a:pt x="209283" y="82638"/>
                  </a:lnTo>
                  <a:lnTo>
                    <a:pt x="217487" y="80886"/>
                  </a:lnTo>
                  <a:lnTo>
                    <a:pt x="225221" y="83502"/>
                  </a:lnTo>
                  <a:lnTo>
                    <a:pt x="229997" y="90855"/>
                  </a:lnTo>
                  <a:lnTo>
                    <a:pt x="288353" y="90855"/>
                  </a:lnTo>
                  <a:lnTo>
                    <a:pt x="289115" y="82207"/>
                  </a:lnTo>
                  <a:close/>
                </a:path>
                <a:path w="1082675" h="91439" extrusionOk="0">
                  <a:moveTo>
                    <a:pt x="942174" y="90411"/>
                  </a:moveTo>
                  <a:lnTo>
                    <a:pt x="921397" y="61137"/>
                  </a:lnTo>
                  <a:lnTo>
                    <a:pt x="914920" y="61836"/>
                  </a:lnTo>
                  <a:lnTo>
                    <a:pt x="907783" y="63957"/>
                  </a:lnTo>
                  <a:lnTo>
                    <a:pt x="903960" y="65582"/>
                  </a:lnTo>
                  <a:lnTo>
                    <a:pt x="903236" y="63957"/>
                  </a:lnTo>
                  <a:lnTo>
                    <a:pt x="872655" y="34874"/>
                  </a:lnTo>
                  <a:lnTo>
                    <a:pt x="866470" y="35166"/>
                  </a:lnTo>
                  <a:lnTo>
                    <a:pt x="838454" y="58115"/>
                  </a:lnTo>
                  <a:lnTo>
                    <a:pt x="828548" y="52298"/>
                  </a:lnTo>
                  <a:lnTo>
                    <a:pt x="803960" y="69075"/>
                  </a:lnTo>
                  <a:lnTo>
                    <a:pt x="795350" y="71158"/>
                  </a:lnTo>
                  <a:lnTo>
                    <a:pt x="790092" y="75577"/>
                  </a:lnTo>
                  <a:lnTo>
                    <a:pt x="787971" y="82207"/>
                  </a:lnTo>
                  <a:lnTo>
                    <a:pt x="788771" y="90855"/>
                  </a:lnTo>
                  <a:lnTo>
                    <a:pt x="847178" y="90855"/>
                  </a:lnTo>
                  <a:lnTo>
                    <a:pt x="851954" y="83502"/>
                  </a:lnTo>
                  <a:lnTo>
                    <a:pt x="859688" y="80886"/>
                  </a:lnTo>
                  <a:lnTo>
                    <a:pt x="867879" y="82638"/>
                  </a:lnTo>
                  <a:lnTo>
                    <a:pt x="874026" y="88366"/>
                  </a:lnTo>
                  <a:lnTo>
                    <a:pt x="882269" y="74853"/>
                  </a:lnTo>
                  <a:lnTo>
                    <a:pt x="895654" y="69748"/>
                  </a:lnTo>
                  <a:lnTo>
                    <a:pt x="909281" y="72644"/>
                  </a:lnTo>
                  <a:lnTo>
                    <a:pt x="918248" y="83058"/>
                  </a:lnTo>
                  <a:lnTo>
                    <a:pt x="924864" y="78206"/>
                  </a:lnTo>
                  <a:lnTo>
                    <a:pt x="932497" y="78320"/>
                  </a:lnTo>
                  <a:lnTo>
                    <a:pt x="938987" y="82651"/>
                  </a:lnTo>
                  <a:lnTo>
                    <a:pt x="942174" y="90411"/>
                  </a:lnTo>
                  <a:close/>
                </a:path>
                <a:path w="1082675" h="91439" extrusionOk="0">
                  <a:moveTo>
                    <a:pt x="1082484" y="46405"/>
                  </a:moveTo>
                  <a:lnTo>
                    <a:pt x="1080338" y="39763"/>
                  </a:lnTo>
                  <a:lnTo>
                    <a:pt x="1075080" y="35306"/>
                  </a:lnTo>
                  <a:lnTo>
                    <a:pt x="1066457" y="33197"/>
                  </a:lnTo>
                  <a:lnTo>
                    <a:pt x="1060869" y="21742"/>
                  </a:lnTo>
                  <a:lnTo>
                    <a:pt x="1052766" y="16040"/>
                  </a:lnTo>
                  <a:lnTo>
                    <a:pt x="1042885" y="16205"/>
                  </a:lnTo>
                  <a:lnTo>
                    <a:pt x="1031976" y="22352"/>
                  </a:lnTo>
                  <a:lnTo>
                    <a:pt x="1021854" y="8102"/>
                  </a:lnTo>
                  <a:lnTo>
                    <a:pt x="1004506" y="0"/>
                  </a:lnTo>
                  <a:lnTo>
                    <a:pt x="984516" y="4940"/>
                  </a:lnTo>
                  <a:lnTo>
                    <a:pt x="966470" y="29781"/>
                  </a:lnTo>
                  <a:lnTo>
                    <a:pt x="954430" y="25844"/>
                  </a:lnTo>
                  <a:lnTo>
                    <a:pt x="944232" y="25844"/>
                  </a:lnTo>
                  <a:lnTo>
                    <a:pt x="936231" y="29667"/>
                  </a:lnTo>
                  <a:lnTo>
                    <a:pt x="930795" y="37160"/>
                  </a:lnTo>
                  <a:lnTo>
                    <a:pt x="936536" y="37287"/>
                  </a:lnTo>
                  <a:lnTo>
                    <a:pt x="941717" y="39255"/>
                  </a:lnTo>
                  <a:lnTo>
                    <a:pt x="945997" y="42456"/>
                  </a:lnTo>
                  <a:lnTo>
                    <a:pt x="948359" y="43268"/>
                  </a:lnTo>
                  <a:lnTo>
                    <a:pt x="950544" y="44792"/>
                  </a:lnTo>
                  <a:lnTo>
                    <a:pt x="952182" y="47218"/>
                  </a:lnTo>
                  <a:lnTo>
                    <a:pt x="961186" y="36842"/>
                  </a:lnTo>
                  <a:lnTo>
                    <a:pt x="974839" y="33985"/>
                  </a:lnTo>
                  <a:lnTo>
                    <a:pt x="988212" y="39090"/>
                  </a:lnTo>
                  <a:lnTo>
                    <a:pt x="996403" y="52603"/>
                  </a:lnTo>
                  <a:lnTo>
                    <a:pt x="1002588" y="46850"/>
                  </a:lnTo>
                  <a:lnTo>
                    <a:pt x="1010780" y="45085"/>
                  </a:lnTo>
                  <a:lnTo>
                    <a:pt x="1018489" y="47688"/>
                  </a:lnTo>
                  <a:lnTo>
                    <a:pt x="1023239" y="55067"/>
                  </a:lnTo>
                  <a:lnTo>
                    <a:pt x="1081747" y="55067"/>
                  </a:lnTo>
                  <a:lnTo>
                    <a:pt x="1082484" y="46405"/>
                  </a:lnTo>
                  <a:close/>
                </a:path>
              </a:pathLst>
            </a:custGeom>
            <a:solidFill>
              <a:srgbClr val="8BD02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599" name="Google Shape;4599;p14"/>
            <p:cNvPicPr preferRelativeResize="0"/>
            <p:nvPr/>
          </p:nvPicPr>
          <p:blipFill rotWithShape="1">
            <a:blip r:embed="rId17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99569" y="3678684"/>
              <a:ext cx="150215" cy="14960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600" name="Google Shape;4600;p14"/>
            <p:cNvSpPr/>
            <p:nvPr/>
          </p:nvSpPr>
          <p:spPr>
            <a:xfrm>
              <a:off x="4629230" y="3916522"/>
              <a:ext cx="53340" cy="17145"/>
            </a:xfrm>
            <a:custGeom>
              <a:avLst/>
              <a:gdLst/>
              <a:ahLst/>
              <a:cxnLst/>
              <a:rect l="l" t="t" r="r" b="b"/>
              <a:pathLst>
                <a:path w="53339" h="17145" extrusionOk="0">
                  <a:moveTo>
                    <a:pt x="23383" y="0"/>
                  </a:moveTo>
                  <a:lnTo>
                    <a:pt x="16559" y="4143"/>
                  </a:lnTo>
                  <a:lnTo>
                    <a:pt x="14375" y="6983"/>
                  </a:lnTo>
                  <a:lnTo>
                    <a:pt x="13283" y="10984"/>
                  </a:lnTo>
                  <a:lnTo>
                    <a:pt x="9280" y="3267"/>
                  </a:lnTo>
                  <a:lnTo>
                    <a:pt x="454" y="7349"/>
                  </a:lnTo>
                  <a:lnTo>
                    <a:pt x="0" y="16900"/>
                  </a:lnTo>
                  <a:lnTo>
                    <a:pt x="52771" y="16900"/>
                  </a:lnTo>
                  <a:lnTo>
                    <a:pt x="50951" y="6983"/>
                  </a:lnTo>
                  <a:lnTo>
                    <a:pt x="41034" y="7431"/>
                  </a:lnTo>
                  <a:lnTo>
                    <a:pt x="37849" y="15074"/>
                  </a:lnTo>
                  <a:lnTo>
                    <a:pt x="37030" y="10135"/>
                  </a:lnTo>
                  <a:lnTo>
                    <a:pt x="35120" y="6555"/>
                  </a:lnTo>
                  <a:lnTo>
                    <a:pt x="28660" y="502"/>
                  </a:lnTo>
                  <a:lnTo>
                    <a:pt x="23383" y="0"/>
                  </a:lnTo>
                  <a:close/>
                </a:path>
              </a:pathLst>
            </a:custGeom>
            <a:solidFill>
              <a:srgbClr val="8BD02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601" name="Google Shape;4601;p14"/>
            <p:cNvPicPr preferRelativeResize="0"/>
            <p:nvPr/>
          </p:nvPicPr>
          <p:blipFill rotWithShape="1">
            <a:blip r:embed="rId18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84984" y="3678611"/>
              <a:ext cx="150208" cy="14959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602" name="Google Shape;4602;p14"/>
            <p:cNvSpPr/>
            <p:nvPr/>
          </p:nvSpPr>
          <p:spPr>
            <a:xfrm>
              <a:off x="3452769" y="3916440"/>
              <a:ext cx="52705" cy="17145"/>
            </a:xfrm>
            <a:custGeom>
              <a:avLst/>
              <a:gdLst/>
              <a:ahLst/>
              <a:cxnLst/>
              <a:rect l="l" t="t" r="r" b="b"/>
              <a:pathLst>
                <a:path w="52704" h="17145" extrusionOk="0">
                  <a:moveTo>
                    <a:pt x="29352" y="0"/>
                  </a:moveTo>
                  <a:lnTo>
                    <a:pt x="24066" y="455"/>
                  </a:lnTo>
                  <a:lnTo>
                    <a:pt x="20126" y="4225"/>
                  </a:lnTo>
                  <a:lnTo>
                    <a:pt x="17646" y="6480"/>
                  </a:lnTo>
                  <a:lnTo>
                    <a:pt x="15727" y="10142"/>
                  </a:lnTo>
                  <a:lnTo>
                    <a:pt x="14927" y="15019"/>
                  </a:lnTo>
                  <a:lnTo>
                    <a:pt x="11702" y="7431"/>
                  </a:lnTo>
                  <a:lnTo>
                    <a:pt x="1813" y="7010"/>
                  </a:lnTo>
                  <a:lnTo>
                    <a:pt x="0" y="16908"/>
                  </a:lnTo>
                  <a:lnTo>
                    <a:pt x="52699" y="16908"/>
                  </a:lnTo>
                  <a:lnTo>
                    <a:pt x="52244" y="7357"/>
                  </a:lnTo>
                  <a:lnTo>
                    <a:pt x="43473" y="3295"/>
                  </a:lnTo>
                  <a:lnTo>
                    <a:pt x="39451" y="11018"/>
                  </a:lnTo>
                  <a:lnTo>
                    <a:pt x="38332" y="7010"/>
                  </a:lnTo>
                  <a:lnTo>
                    <a:pt x="36149" y="4170"/>
                  </a:lnTo>
                  <a:lnTo>
                    <a:pt x="29352" y="0"/>
                  </a:lnTo>
                  <a:close/>
                </a:path>
              </a:pathLst>
            </a:custGeom>
            <a:solidFill>
              <a:srgbClr val="8BD02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603" name="Google Shape;4603;p14"/>
            <p:cNvSpPr/>
            <p:nvPr/>
          </p:nvSpPr>
          <p:spPr>
            <a:xfrm>
              <a:off x="3804808" y="3921535"/>
              <a:ext cx="525145" cy="27305"/>
            </a:xfrm>
            <a:custGeom>
              <a:avLst/>
              <a:gdLst/>
              <a:ahLst/>
              <a:cxnLst/>
              <a:rect l="l" t="t" r="r" b="b"/>
              <a:pathLst>
                <a:path w="525145" h="27304" extrusionOk="0">
                  <a:moveTo>
                    <a:pt x="497877" y="0"/>
                  </a:moveTo>
                  <a:lnTo>
                    <a:pt x="27004" y="0"/>
                  </a:lnTo>
                  <a:lnTo>
                    <a:pt x="0" y="26907"/>
                  </a:lnTo>
                  <a:lnTo>
                    <a:pt x="524899" y="26907"/>
                  </a:lnTo>
                  <a:lnTo>
                    <a:pt x="522788" y="16435"/>
                  </a:lnTo>
                  <a:lnTo>
                    <a:pt x="517018" y="7882"/>
                  </a:lnTo>
                  <a:lnTo>
                    <a:pt x="508433" y="2115"/>
                  </a:lnTo>
                  <a:lnTo>
                    <a:pt x="497877" y="0"/>
                  </a:lnTo>
                  <a:close/>
                </a:path>
              </a:pathLst>
            </a:custGeom>
            <a:solidFill>
              <a:srgbClr val="3D3C3E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604" name="Google Shape;4604;p14"/>
            <p:cNvSpPr/>
            <p:nvPr/>
          </p:nvSpPr>
          <p:spPr>
            <a:xfrm>
              <a:off x="3472891" y="3823474"/>
              <a:ext cx="1189355" cy="97790"/>
            </a:xfrm>
            <a:custGeom>
              <a:avLst/>
              <a:gdLst/>
              <a:ahLst/>
              <a:cxnLst/>
              <a:rect l="l" t="t" r="r" b="b"/>
              <a:pathLst>
                <a:path w="1189354" h="97789" extrusionOk="0">
                  <a:moveTo>
                    <a:pt x="13385" y="0"/>
                  </a:moveTo>
                  <a:lnTo>
                    <a:pt x="9144" y="1676"/>
                  </a:lnTo>
                  <a:lnTo>
                    <a:pt x="4610" y="2844"/>
                  </a:lnTo>
                  <a:lnTo>
                    <a:pt x="0" y="3632"/>
                  </a:lnTo>
                  <a:lnTo>
                    <a:pt x="0" y="97193"/>
                  </a:lnTo>
                  <a:lnTo>
                    <a:pt x="3937" y="93433"/>
                  </a:lnTo>
                  <a:lnTo>
                    <a:pt x="9220" y="92976"/>
                  </a:lnTo>
                  <a:lnTo>
                    <a:pt x="13385" y="95516"/>
                  </a:lnTo>
                  <a:lnTo>
                    <a:pt x="13385" y="0"/>
                  </a:lnTo>
                  <a:close/>
                </a:path>
                <a:path w="1189354" h="97789" extrusionOk="0">
                  <a:moveTo>
                    <a:pt x="1188910" y="3708"/>
                  </a:moveTo>
                  <a:lnTo>
                    <a:pt x="1184351" y="2921"/>
                  </a:lnTo>
                  <a:lnTo>
                    <a:pt x="1179804" y="1752"/>
                  </a:lnTo>
                  <a:lnTo>
                    <a:pt x="1175524" y="76"/>
                  </a:lnTo>
                  <a:lnTo>
                    <a:pt x="1175524" y="95605"/>
                  </a:lnTo>
                  <a:lnTo>
                    <a:pt x="1179715" y="93052"/>
                  </a:lnTo>
                  <a:lnTo>
                    <a:pt x="1184998" y="93560"/>
                  </a:lnTo>
                  <a:lnTo>
                    <a:pt x="1188910" y="97269"/>
                  </a:lnTo>
                  <a:lnTo>
                    <a:pt x="1188910" y="3708"/>
                  </a:lnTo>
                  <a:close/>
                </a:path>
              </a:pathLst>
            </a:custGeom>
            <a:solidFill>
              <a:srgbClr val="A0946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605" name="Google Shape;4605;p14"/>
          <p:cNvSpPr/>
          <p:nvPr/>
        </p:nvSpPr>
        <p:spPr>
          <a:xfrm>
            <a:off x="6848475" y="2257425"/>
            <a:ext cx="0" cy="571500"/>
          </a:xfrm>
          <a:custGeom>
            <a:avLst/>
            <a:gdLst/>
            <a:ahLst/>
            <a:cxnLst/>
            <a:rect l="l" t="t" r="r" b="b"/>
            <a:pathLst>
              <a:path w="120000" h="571500" extrusionOk="0">
                <a:moveTo>
                  <a:pt x="0" y="571500"/>
                </a:move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06" name="Google Shape;4606;p14"/>
          <p:cNvSpPr/>
          <p:nvPr/>
        </p:nvSpPr>
        <p:spPr>
          <a:xfrm>
            <a:off x="5781675" y="3038475"/>
            <a:ext cx="1485900" cy="0"/>
          </a:xfrm>
          <a:custGeom>
            <a:avLst/>
            <a:gdLst/>
            <a:ahLst/>
            <a:cxnLst/>
            <a:rect l="l" t="t" r="r" b="b"/>
            <a:pathLst>
              <a:path w="1485900" h="120000" extrusionOk="0">
                <a:moveTo>
                  <a:pt x="0" y="0"/>
                </a:moveTo>
                <a:lnTo>
                  <a:pt x="1485900" y="0"/>
                </a:lnTo>
              </a:path>
            </a:pathLst>
          </a:custGeom>
          <a:noFill/>
          <a:ln w="381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07" name="Google Shape;4607;p14"/>
          <p:cNvSpPr/>
          <p:nvPr/>
        </p:nvSpPr>
        <p:spPr>
          <a:xfrm>
            <a:off x="6838950" y="1476375"/>
            <a:ext cx="0" cy="571500"/>
          </a:xfrm>
          <a:custGeom>
            <a:avLst/>
            <a:gdLst/>
            <a:ahLst/>
            <a:cxnLst/>
            <a:rect l="l" t="t" r="r" b="b"/>
            <a:pathLst>
              <a:path w="120000" h="571500" extrusionOk="0">
                <a:moveTo>
                  <a:pt x="0" y="571500"/>
                </a:move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08" name="Google Shape;4608;p14"/>
          <p:cNvSpPr/>
          <p:nvPr/>
        </p:nvSpPr>
        <p:spPr>
          <a:xfrm>
            <a:off x="5734050" y="4762500"/>
            <a:ext cx="5457825" cy="942975"/>
          </a:xfrm>
          <a:custGeom>
            <a:avLst/>
            <a:gdLst/>
            <a:ahLst/>
            <a:cxnLst/>
            <a:rect l="l" t="t" r="r" b="b"/>
            <a:pathLst>
              <a:path w="5457825" h="942975" extrusionOk="0">
                <a:moveTo>
                  <a:pt x="5386070" y="0"/>
                </a:moveTo>
                <a:lnTo>
                  <a:pt x="71754" y="0"/>
                </a:lnTo>
                <a:lnTo>
                  <a:pt x="43826" y="5617"/>
                </a:lnTo>
                <a:lnTo>
                  <a:pt x="21018" y="20939"/>
                </a:lnTo>
                <a:lnTo>
                  <a:pt x="5639" y="43666"/>
                </a:lnTo>
                <a:lnTo>
                  <a:pt x="0" y="71500"/>
                </a:lnTo>
                <a:lnTo>
                  <a:pt x="0" y="871410"/>
                </a:lnTo>
                <a:lnTo>
                  <a:pt x="5639" y="899265"/>
                </a:lnTo>
                <a:lnTo>
                  <a:pt x="21018" y="922013"/>
                </a:lnTo>
                <a:lnTo>
                  <a:pt x="43826" y="937350"/>
                </a:lnTo>
                <a:lnTo>
                  <a:pt x="71754" y="942975"/>
                </a:lnTo>
                <a:lnTo>
                  <a:pt x="5386070" y="942975"/>
                </a:lnTo>
                <a:lnTo>
                  <a:pt x="5413998" y="937350"/>
                </a:lnTo>
                <a:lnTo>
                  <a:pt x="5436806" y="922013"/>
                </a:lnTo>
                <a:lnTo>
                  <a:pt x="5452185" y="899265"/>
                </a:lnTo>
                <a:lnTo>
                  <a:pt x="5457825" y="871410"/>
                </a:lnTo>
                <a:lnTo>
                  <a:pt x="5457825" y="71500"/>
                </a:lnTo>
                <a:lnTo>
                  <a:pt x="5452185" y="43666"/>
                </a:lnTo>
                <a:lnTo>
                  <a:pt x="5436806" y="20939"/>
                </a:lnTo>
                <a:lnTo>
                  <a:pt x="5413998" y="5617"/>
                </a:lnTo>
                <a:lnTo>
                  <a:pt x="5386070" y="0"/>
                </a:lnTo>
                <a:close/>
              </a:path>
            </a:pathLst>
          </a:custGeom>
          <a:solidFill>
            <a:srgbClr val="0CC0D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609" name="Google Shape;4609;p14"/>
          <p:cNvGrpSpPr/>
          <p:nvPr/>
        </p:nvGrpSpPr>
        <p:grpSpPr>
          <a:xfrm>
            <a:off x="847725" y="4545594"/>
            <a:ext cx="3790950" cy="824242"/>
            <a:chOff x="847725" y="4257675"/>
            <a:chExt cx="3790950" cy="781050"/>
          </a:xfrm>
        </p:grpSpPr>
        <p:sp>
          <p:nvSpPr>
            <p:cNvPr id="4610" name="Google Shape;4610;p14"/>
            <p:cNvSpPr/>
            <p:nvPr/>
          </p:nvSpPr>
          <p:spPr>
            <a:xfrm>
              <a:off x="847725" y="4257675"/>
              <a:ext cx="3790950" cy="781050"/>
            </a:xfrm>
            <a:custGeom>
              <a:avLst/>
              <a:gdLst/>
              <a:ahLst/>
              <a:cxnLst/>
              <a:rect l="l" t="t" r="r" b="b"/>
              <a:pathLst>
                <a:path w="3790950" h="781050" extrusionOk="0">
                  <a:moveTo>
                    <a:pt x="3710940" y="0"/>
                  </a:moveTo>
                  <a:lnTo>
                    <a:pt x="80060" y="0"/>
                  </a:lnTo>
                  <a:lnTo>
                    <a:pt x="48900" y="6266"/>
                  </a:lnTo>
                  <a:lnTo>
                    <a:pt x="23452" y="23368"/>
                  </a:lnTo>
                  <a:lnTo>
                    <a:pt x="6292" y="48756"/>
                  </a:lnTo>
                  <a:lnTo>
                    <a:pt x="0" y="79882"/>
                  </a:lnTo>
                  <a:lnTo>
                    <a:pt x="0" y="701167"/>
                  </a:lnTo>
                  <a:lnTo>
                    <a:pt x="6292" y="732293"/>
                  </a:lnTo>
                  <a:lnTo>
                    <a:pt x="23452" y="757682"/>
                  </a:lnTo>
                  <a:lnTo>
                    <a:pt x="48900" y="774783"/>
                  </a:lnTo>
                  <a:lnTo>
                    <a:pt x="80060" y="781050"/>
                  </a:lnTo>
                  <a:lnTo>
                    <a:pt x="3710940" y="781050"/>
                  </a:lnTo>
                  <a:lnTo>
                    <a:pt x="3742086" y="774783"/>
                  </a:lnTo>
                  <a:lnTo>
                    <a:pt x="3767518" y="757682"/>
                  </a:lnTo>
                  <a:lnTo>
                    <a:pt x="3784663" y="732293"/>
                  </a:lnTo>
                  <a:lnTo>
                    <a:pt x="3790950" y="701167"/>
                  </a:lnTo>
                  <a:lnTo>
                    <a:pt x="3790950" y="79882"/>
                  </a:lnTo>
                  <a:lnTo>
                    <a:pt x="3777501" y="35538"/>
                  </a:lnTo>
                  <a:lnTo>
                    <a:pt x="3741531" y="6064"/>
                  </a:lnTo>
                  <a:lnTo>
                    <a:pt x="37109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611" name="Google Shape;4611;p14"/>
            <p:cNvSpPr/>
            <p:nvPr/>
          </p:nvSpPr>
          <p:spPr>
            <a:xfrm>
              <a:off x="847725" y="4257675"/>
              <a:ext cx="3790950" cy="781050"/>
            </a:xfrm>
            <a:custGeom>
              <a:avLst/>
              <a:gdLst/>
              <a:ahLst/>
              <a:cxnLst/>
              <a:rect l="l" t="t" r="r" b="b"/>
              <a:pathLst>
                <a:path w="3790950" h="781050" extrusionOk="0">
                  <a:moveTo>
                    <a:pt x="80060" y="0"/>
                  </a:moveTo>
                  <a:lnTo>
                    <a:pt x="3710940" y="0"/>
                  </a:lnTo>
                  <a:lnTo>
                    <a:pt x="3726610" y="1543"/>
                  </a:lnTo>
                  <a:lnTo>
                    <a:pt x="3767454" y="23368"/>
                  </a:lnTo>
                  <a:lnTo>
                    <a:pt x="3789404" y="64212"/>
                  </a:lnTo>
                  <a:lnTo>
                    <a:pt x="3790950" y="79882"/>
                  </a:lnTo>
                  <a:lnTo>
                    <a:pt x="3790950" y="701167"/>
                  </a:lnTo>
                  <a:lnTo>
                    <a:pt x="3784663" y="732293"/>
                  </a:lnTo>
                  <a:lnTo>
                    <a:pt x="3767518" y="757682"/>
                  </a:lnTo>
                  <a:lnTo>
                    <a:pt x="3742086" y="774783"/>
                  </a:lnTo>
                  <a:lnTo>
                    <a:pt x="3710940" y="781050"/>
                  </a:lnTo>
                  <a:lnTo>
                    <a:pt x="80060" y="781050"/>
                  </a:lnTo>
                  <a:lnTo>
                    <a:pt x="48900" y="774783"/>
                  </a:lnTo>
                  <a:lnTo>
                    <a:pt x="23452" y="757682"/>
                  </a:lnTo>
                  <a:lnTo>
                    <a:pt x="6292" y="732293"/>
                  </a:lnTo>
                  <a:lnTo>
                    <a:pt x="0" y="701167"/>
                  </a:lnTo>
                  <a:lnTo>
                    <a:pt x="0" y="79882"/>
                  </a:lnTo>
                  <a:lnTo>
                    <a:pt x="6292" y="48756"/>
                  </a:lnTo>
                  <a:lnTo>
                    <a:pt x="23452" y="23368"/>
                  </a:lnTo>
                  <a:lnTo>
                    <a:pt x="48900" y="6266"/>
                  </a:lnTo>
                  <a:lnTo>
                    <a:pt x="80060" y="0"/>
                  </a:lnTo>
                  <a:close/>
                </a:path>
              </a:pathLst>
            </a:custGeom>
            <a:noFill/>
            <a:ln w="57150" cap="flat" cmpd="sng">
              <a:solidFill>
                <a:srgbClr val="4373A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612" name="Google Shape;4612;p14"/>
          <p:cNvSpPr/>
          <p:nvPr/>
        </p:nvSpPr>
        <p:spPr>
          <a:xfrm>
            <a:off x="6886575" y="4962525"/>
            <a:ext cx="0" cy="571500"/>
          </a:xfrm>
          <a:custGeom>
            <a:avLst/>
            <a:gdLst/>
            <a:ahLst/>
            <a:cxnLst/>
            <a:rect l="l" t="t" r="r" b="b"/>
            <a:pathLst>
              <a:path w="120000" h="571500" extrusionOk="0">
                <a:moveTo>
                  <a:pt x="0" y="571500"/>
                </a:move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613" name="Google Shape;4613;p14"/>
          <p:cNvPicPr preferRelativeResize="0"/>
          <p:nvPr/>
        </p:nvPicPr>
        <p:blipFill rotWithShape="1">
          <a:blip r:embed="rId1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34075" y="3343275"/>
            <a:ext cx="828675" cy="419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614" name="Google Shape;4614;p14"/>
          <p:cNvPicPr preferRelativeResize="0"/>
          <p:nvPr/>
        </p:nvPicPr>
        <p:blipFill rotWithShape="1">
          <a:blip r:embed="rId2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36839" y="2181440"/>
            <a:ext cx="749506" cy="63778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15" name="Google Shape;4615;p14"/>
          <p:cNvPicPr preferRelativeResize="0"/>
          <p:nvPr/>
        </p:nvPicPr>
        <p:blipFill rotWithShape="1">
          <a:blip r:embed="rId2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01416" y="391250"/>
            <a:ext cx="617919" cy="5890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616" name="Google Shape;4616;p14"/>
          <p:cNvPicPr preferRelativeResize="0"/>
          <p:nvPr/>
        </p:nvPicPr>
        <p:blipFill rotWithShape="1">
          <a:blip r:embed="rId2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6756" y="3995970"/>
            <a:ext cx="523329" cy="613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4617" name="Google Shape;4617;p14"/>
          <p:cNvPicPr preferRelativeResize="0"/>
          <p:nvPr/>
        </p:nvPicPr>
        <p:blipFill rotWithShape="1">
          <a:blip r:embed="rId2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3825" y="5265024"/>
            <a:ext cx="171475" cy="19501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618" name="Google Shape;4618;p14"/>
          <p:cNvGrpSpPr/>
          <p:nvPr/>
        </p:nvGrpSpPr>
        <p:grpSpPr>
          <a:xfrm>
            <a:off x="6029334" y="4876819"/>
            <a:ext cx="686368" cy="676787"/>
            <a:chOff x="6029334" y="4876819"/>
            <a:chExt cx="686368" cy="676787"/>
          </a:xfrm>
        </p:grpSpPr>
        <p:pic>
          <p:nvPicPr>
            <p:cNvPr id="4619" name="Google Shape;4619;p14"/>
            <p:cNvPicPr preferRelativeResize="0"/>
            <p:nvPr/>
          </p:nvPicPr>
          <p:blipFill rotWithShape="1">
            <a:blip r:embed="rId2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42081" y="5265024"/>
              <a:ext cx="171475" cy="1950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620" name="Google Shape;4620;p14"/>
            <p:cNvSpPr/>
            <p:nvPr/>
          </p:nvSpPr>
          <p:spPr>
            <a:xfrm>
              <a:off x="6180898" y="5182766"/>
              <a:ext cx="325755" cy="370840"/>
            </a:xfrm>
            <a:custGeom>
              <a:avLst/>
              <a:gdLst/>
              <a:ahLst/>
              <a:cxnLst/>
              <a:rect l="l" t="t" r="r" b="b"/>
              <a:pathLst>
                <a:path w="325754" h="370839" extrusionOk="0">
                  <a:moveTo>
                    <a:pt x="166153" y="0"/>
                  </a:moveTo>
                  <a:lnTo>
                    <a:pt x="140664" y="214"/>
                  </a:lnTo>
                  <a:lnTo>
                    <a:pt x="102863" y="18512"/>
                  </a:lnTo>
                  <a:lnTo>
                    <a:pt x="85556" y="47409"/>
                  </a:lnTo>
                  <a:lnTo>
                    <a:pt x="82231" y="80791"/>
                  </a:lnTo>
                  <a:lnTo>
                    <a:pt x="86378" y="112547"/>
                  </a:lnTo>
                  <a:lnTo>
                    <a:pt x="80627" y="115575"/>
                  </a:lnTo>
                  <a:lnTo>
                    <a:pt x="77497" y="123575"/>
                  </a:lnTo>
                  <a:lnTo>
                    <a:pt x="79062" y="132958"/>
                  </a:lnTo>
                  <a:lnTo>
                    <a:pt x="81755" y="141414"/>
                  </a:lnTo>
                  <a:lnTo>
                    <a:pt x="86404" y="148317"/>
                  </a:lnTo>
                  <a:lnTo>
                    <a:pt x="92365" y="152971"/>
                  </a:lnTo>
                  <a:lnTo>
                    <a:pt x="98993" y="154677"/>
                  </a:lnTo>
                  <a:lnTo>
                    <a:pt x="99653" y="154677"/>
                  </a:lnTo>
                  <a:lnTo>
                    <a:pt x="100275" y="154640"/>
                  </a:lnTo>
                  <a:lnTo>
                    <a:pt x="100897" y="154528"/>
                  </a:lnTo>
                  <a:lnTo>
                    <a:pt x="106758" y="166583"/>
                  </a:lnTo>
                  <a:lnTo>
                    <a:pt x="112798" y="177223"/>
                  </a:lnTo>
                  <a:lnTo>
                    <a:pt x="118926" y="186216"/>
                  </a:lnTo>
                  <a:lnTo>
                    <a:pt x="125052" y="193330"/>
                  </a:lnTo>
                  <a:lnTo>
                    <a:pt x="119508" y="214825"/>
                  </a:lnTo>
                  <a:lnTo>
                    <a:pt x="85417" y="233255"/>
                  </a:lnTo>
                  <a:lnTo>
                    <a:pt x="79590" y="233255"/>
                  </a:lnTo>
                  <a:lnTo>
                    <a:pt x="48683" y="239230"/>
                  </a:lnTo>
                  <a:lnTo>
                    <a:pt x="23376" y="255497"/>
                  </a:lnTo>
                  <a:lnTo>
                    <a:pt x="6278" y="279573"/>
                  </a:lnTo>
                  <a:lnTo>
                    <a:pt x="0" y="308973"/>
                  </a:lnTo>
                  <a:lnTo>
                    <a:pt x="0" y="370299"/>
                  </a:lnTo>
                  <a:lnTo>
                    <a:pt x="325585" y="370299"/>
                  </a:lnTo>
                  <a:lnTo>
                    <a:pt x="325585" y="308973"/>
                  </a:lnTo>
                  <a:lnTo>
                    <a:pt x="319303" y="279621"/>
                  </a:lnTo>
                  <a:lnTo>
                    <a:pt x="302201" y="255539"/>
                  </a:lnTo>
                  <a:lnTo>
                    <a:pt x="276893" y="239245"/>
                  </a:lnTo>
                  <a:lnTo>
                    <a:pt x="245994" y="233255"/>
                  </a:lnTo>
                  <a:lnTo>
                    <a:pt x="239696" y="233255"/>
                  </a:lnTo>
                  <a:lnTo>
                    <a:pt x="206547" y="214825"/>
                  </a:lnTo>
                  <a:lnTo>
                    <a:pt x="206076" y="214825"/>
                  </a:lnTo>
                  <a:lnTo>
                    <a:pt x="200513" y="193312"/>
                  </a:lnTo>
                  <a:lnTo>
                    <a:pt x="207771" y="185372"/>
                  </a:lnTo>
                  <a:lnTo>
                    <a:pt x="214752" y="176195"/>
                  </a:lnTo>
                  <a:lnTo>
                    <a:pt x="221241" y="165918"/>
                  </a:lnTo>
                  <a:lnTo>
                    <a:pt x="227025" y="154677"/>
                  </a:lnTo>
                  <a:lnTo>
                    <a:pt x="233523" y="152808"/>
                  </a:lnTo>
                  <a:lnTo>
                    <a:pt x="239347" y="148121"/>
                  </a:lnTo>
                  <a:lnTo>
                    <a:pt x="243883" y="141283"/>
                  </a:lnTo>
                  <a:lnTo>
                    <a:pt x="246521" y="132958"/>
                  </a:lnTo>
                  <a:lnTo>
                    <a:pt x="247823" y="125126"/>
                  </a:lnTo>
                  <a:lnTo>
                    <a:pt x="245861" y="118267"/>
                  </a:lnTo>
                  <a:lnTo>
                    <a:pt x="241826" y="114454"/>
                  </a:lnTo>
                  <a:lnTo>
                    <a:pt x="244194" y="99297"/>
                  </a:lnTo>
                  <a:lnTo>
                    <a:pt x="245300" y="80041"/>
                  </a:lnTo>
                  <a:lnTo>
                    <a:pt x="244377" y="60137"/>
                  </a:lnTo>
                  <a:lnTo>
                    <a:pt x="240657" y="43035"/>
                  </a:lnTo>
                  <a:lnTo>
                    <a:pt x="235564" y="33875"/>
                  </a:lnTo>
                  <a:lnTo>
                    <a:pt x="226416" y="25197"/>
                  </a:lnTo>
                  <a:lnTo>
                    <a:pt x="213457" y="21064"/>
                  </a:lnTo>
                  <a:lnTo>
                    <a:pt x="196931" y="25540"/>
                  </a:lnTo>
                  <a:lnTo>
                    <a:pt x="193047" y="18931"/>
                  </a:lnTo>
                  <a:lnTo>
                    <a:pt x="183201" y="8328"/>
                  </a:lnTo>
                  <a:lnTo>
                    <a:pt x="166153" y="0"/>
                  </a:lnTo>
                  <a:close/>
                </a:path>
              </a:pathLst>
            </a:custGeom>
            <a:solidFill>
              <a:srgbClr val="FFD0A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621" name="Google Shape;4621;p14"/>
            <p:cNvSpPr/>
            <p:nvPr/>
          </p:nvSpPr>
          <p:spPr>
            <a:xfrm>
              <a:off x="6266654" y="4876819"/>
              <a:ext cx="241935" cy="276225"/>
            </a:xfrm>
            <a:custGeom>
              <a:avLst/>
              <a:gdLst/>
              <a:ahLst/>
              <a:cxnLst/>
              <a:rect l="l" t="t" r="r" b="b"/>
              <a:pathLst>
                <a:path w="241934" h="276225" extrusionOk="0">
                  <a:moveTo>
                    <a:pt x="120828" y="0"/>
                  </a:moveTo>
                  <a:lnTo>
                    <a:pt x="73796" y="9412"/>
                  </a:lnTo>
                  <a:lnTo>
                    <a:pt x="35390" y="35080"/>
                  </a:lnTo>
                  <a:lnTo>
                    <a:pt x="9495" y="73152"/>
                  </a:lnTo>
                  <a:lnTo>
                    <a:pt x="0" y="119773"/>
                  </a:lnTo>
                  <a:lnTo>
                    <a:pt x="4959" y="153833"/>
                  </a:lnTo>
                  <a:lnTo>
                    <a:pt x="18886" y="184079"/>
                  </a:lnTo>
                  <a:lnTo>
                    <a:pt x="40355" y="209098"/>
                  </a:lnTo>
                  <a:lnTo>
                    <a:pt x="67938" y="227471"/>
                  </a:lnTo>
                  <a:lnTo>
                    <a:pt x="48327" y="276031"/>
                  </a:lnTo>
                  <a:lnTo>
                    <a:pt x="100690" y="237863"/>
                  </a:lnTo>
                  <a:lnTo>
                    <a:pt x="107233" y="238966"/>
                  </a:lnTo>
                  <a:lnTo>
                    <a:pt x="113965" y="239527"/>
                  </a:lnTo>
                  <a:lnTo>
                    <a:pt x="120828" y="239527"/>
                  </a:lnTo>
                  <a:lnTo>
                    <a:pt x="167857" y="230117"/>
                  </a:lnTo>
                  <a:lnTo>
                    <a:pt x="206257" y="204455"/>
                  </a:lnTo>
                  <a:lnTo>
                    <a:pt x="232146" y="166390"/>
                  </a:lnTo>
                  <a:lnTo>
                    <a:pt x="241638" y="119773"/>
                  </a:lnTo>
                  <a:lnTo>
                    <a:pt x="232146" y="73152"/>
                  </a:lnTo>
                  <a:lnTo>
                    <a:pt x="206257" y="35080"/>
                  </a:lnTo>
                  <a:lnTo>
                    <a:pt x="167857" y="9412"/>
                  </a:lnTo>
                  <a:lnTo>
                    <a:pt x="120828" y="0"/>
                  </a:lnTo>
                  <a:close/>
                </a:path>
              </a:pathLst>
            </a:custGeom>
            <a:solidFill>
              <a:srgbClr val="FF8B89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622" name="Google Shape;4622;p14"/>
            <p:cNvSpPr/>
            <p:nvPr/>
          </p:nvSpPr>
          <p:spPr>
            <a:xfrm>
              <a:off x="6029334" y="4993882"/>
              <a:ext cx="171450" cy="195580"/>
            </a:xfrm>
            <a:custGeom>
              <a:avLst/>
              <a:gdLst/>
              <a:ahLst/>
              <a:cxnLst/>
              <a:rect l="l" t="t" r="r" b="b"/>
              <a:pathLst>
                <a:path w="171450" h="195579" extrusionOk="0">
                  <a:moveTo>
                    <a:pt x="85436" y="0"/>
                  </a:moveTo>
                  <a:lnTo>
                    <a:pt x="52183" y="6656"/>
                  </a:lnTo>
                  <a:lnTo>
                    <a:pt x="25026" y="24807"/>
                  </a:lnTo>
                  <a:lnTo>
                    <a:pt x="6715" y="51727"/>
                  </a:lnTo>
                  <a:lnTo>
                    <a:pt x="0" y="84689"/>
                  </a:lnTo>
                  <a:lnTo>
                    <a:pt x="6715" y="117651"/>
                  </a:lnTo>
                  <a:lnTo>
                    <a:pt x="25026" y="144571"/>
                  </a:lnTo>
                  <a:lnTo>
                    <a:pt x="52183" y="162722"/>
                  </a:lnTo>
                  <a:lnTo>
                    <a:pt x="85436" y="169379"/>
                  </a:lnTo>
                  <a:lnTo>
                    <a:pt x="90301" y="169379"/>
                  </a:lnTo>
                  <a:lnTo>
                    <a:pt x="95052" y="168968"/>
                  </a:lnTo>
                  <a:lnTo>
                    <a:pt x="99691" y="168201"/>
                  </a:lnTo>
                  <a:lnTo>
                    <a:pt x="136705" y="195191"/>
                  </a:lnTo>
                  <a:lnTo>
                    <a:pt x="122846" y="160837"/>
                  </a:lnTo>
                  <a:lnTo>
                    <a:pt x="142346" y="147851"/>
                  </a:lnTo>
                  <a:lnTo>
                    <a:pt x="157522" y="130165"/>
                  </a:lnTo>
                  <a:lnTo>
                    <a:pt x="167367" y="108778"/>
                  </a:lnTo>
                  <a:lnTo>
                    <a:pt x="170872" y="84689"/>
                  </a:lnTo>
                  <a:lnTo>
                    <a:pt x="164160" y="51727"/>
                  </a:lnTo>
                  <a:lnTo>
                    <a:pt x="145852" y="24807"/>
                  </a:lnTo>
                  <a:lnTo>
                    <a:pt x="118696" y="6656"/>
                  </a:lnTo>
                  <a:lnTo>
                    <a:pt x="85436" y="0"/>
                  </a:lnTo>
                  <a:close/>
                </a:path>
              </a:pathLst>
            </a:custGeom>
            <a:solidFill>
              <a:srgbClr val="87EB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623" name="Google Shape;4623;p14"/>
            <p:cNvSpPr/>
            <p:nvPr/>
          </p:nvSpPr>
          <p:spPr>
            <a:xfrm>
              <a:off x="6544252" y="5004143"/>
              <a:ext cx="171450" cy="195580"/>
            </a:xfrm>
            <a:custGeom>
              <a:avLst/>
              <a:gdLst/>
              <a:ahLst/>
              <a:cxnLst/>
              <a:rect l="l" t="t" r="r" b="b"/>
              <a:pathLst>
                <a:path w="171450" h="195579" extrusionOk="0">
                  <a:moveTo>
                    <a:pt x="85436" y="0"/>
                  </a:moveTo>
                  <a:lnTo>
                    <a:pt x="52183" y="6656"/>
                  </a:lnTo>
                  <a:lnTo>
                    <a:pt x="25026" y="24807"/>
                  </a:lnTo>
                  <a:lnTo>
                    <a:pt x="6715" y="51727"/>
                  </a:lnTo>
                  <a:lnTo>
                    <a:pt x="0" y="84689"/>
                  </a:lnTo>
                  <a:lnTo>
                    <a:pt x="3505" y="108778"/>
                  </a:lnTo>
                  <a:lnTo>
                    <a:pt x="13352" y="130167"/>
                  </a:lnTo>
                  <a:lnTo>
                    <a:pt x="28534" y="147859"/>
                  </a:lnTo>
                  <a:lnTo>
                    <a:pt x="48044" y="160856"/>
                  </a:lnTo>
                  <a:lnTo>
                    <a:pt x="34185" y="195191"/>
                  </a:lnTo>
                  <a:lnTo>
                    <a:pt x="71200" y="168201"/>
                  </a:lnTo>
                  <a:lnTo>
                    <a:pt x="75819" y="168968"/>
                  </a:lnTo>
                  <a:lnTo>
                    <a:pt x="80590" y="169379"/>
                  </a:lnTo>
                  <a:lnTo>
                    <a:pt x="85436" y="169379"/>
                  </a:lnTo>
                  <a:lnTo>
                    <a:pt x="118688" y="162725"/>
                  </a:lnTo>
                  <a:lnTo>
                    <a:pt x="145845" y="144578"/>
                  </a:lnTo>
                  <a:lnTo>
                    <a:pt x="164157" y="117659"/>
                  </a:lnTo>
                  <a:lnTo>
                    <a:pt x="170872" y="84689"/>
                  </a:lnTo>
                  <a:lnTo>
                    <a:pt x="164157" y="51727"/>
                  </a:lnTo>
                  <a:lnTo>
                    <a:pt x="145845" y="24807"/>
                  </a:lnTo>
                  <a:lnTo>
                    <a:pt x="118688" y="6656"/>
                  </a:lnTo>
                  <a:lnTo>
                    <a:pt x="85436" y="0"/>
                  </a:lnTo>
                  <a:close/>
                </a:path>
              </a:pathLst>
            </a:custGeom>
            <a:solidFill>
              <a:srgbClr val="F9D45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624" name="Google Shape;4624;p14"/>
            <p:cNvPicPr preferRelativeResize="0"/>
            <p:nvPr/>
          </p:nvPicPr>
          <p:blipFill rotWithShape="1">
            <a:blip r:embed="rId2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18188" y="4922519"/>
              <a:ext cx="140778" cy="13272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625" name="Google Shape;4625;p14"/>
            <p:cNvSpPr/>
            <p:nvPr/>
          </p:nvSpPr>
          <p:spPr>
            <a:xfrm>
              <a:off x="6074714" y="5020462"/>
              <a:ext cx="612140" cy="99060"/>
            </a:xfrm>
            <a:custGeom>
              <a:avLst/>
              <a:gdLst/>
              <a:ahLst/>
              <a:cxnLst/>
              <a:rect l="l" t="t" r="r" b="b"/>
              <a:pathLst>
                <a:path w="612140" h="99060" extrusionOk="0">
                  <a:moveTo>
                    <a:pt x="82118" y="45046"/>
                  </a:moveTo>
                  <a:lnTo>
                    <a:pt x="80949" y="32994"/>
                  </a:lnTo>
                  <a:lnTo>
                    <a:pt x="80835" y="31877"/>
                  </a:lnTo>
                  <a:lnTo>
                    <a:pt x="72834" y="32994"/>
                  </a:lnTo>
                  <a:lnTo>
                    <a:pt x="46761" y="32994"/>
                  </a:lnTo>
                  <a:lnTo>
                    <a:pt x="54343" y="24663"/>
                  </a:lnTo>
                  <a:lnTo>
                    <a:pt x="52082" y="0"/>
                  </a:lnTo>
                  <a:lnTo>
                    <a:pt x="42875" y="4495"/>
                  </a:lnTo>
                  <a:lnTo>
                    <a:pt x="42367" y="8305"/>
                  </a:lnTo>
                  <a:lnTo>
                    <a:pt x="41287" y="12725"/>
                  </a:lnTo>
                  <a:lnTo>
                    <a:pt x="38608" y="19202"/>
                  </a:lnTo>
                  <a:lnTo>
                    <a:pt x="34010" y="26123"/>
                  </a:lnTo>
                  <a:lnTo>
                    <a:pt x="27165" y="31877"/>
                  </a:lnTo>
                  <a:lnTo>
                    <a:pt x="19456" y="36309"/>
                  </a:lnTo>
                  <a:lnTo>
                    <a:pt x="15824" y="42113"/>
                  </a:lnTo>
                  <a:lnTo>
                    <a:pt x="14389" y="45046"/>
                  </a:lnTo>
                  <a:lnTo>
                    <a:pt x="0" y="45046"/>
                  </a:lnTo>
                  <a:lnTo>
                    <a:pt x="0" y="84505"/>
                  </a:lnTo>
                  <a:lnTo>
                    <a:pt x="15214" y="84505"/>
                  </a:lnTo>
                  <a:lnTo>
                    <a:pt x="39662" y="87363"/>
                  </a:lnTo>
                  <a:lnTo>
                    <a:pt x="48310" y="87706"/>
                  </a:lnTo>
                  <a:lnTo>
                    <a:pt x="56248" y="86639"/>
                  </a:lnTo>
                  <a:lnTo>
                    <a:pt x="59664" y="85725"/>
                  </a:lnTo>
                  <a:lnTo>
                    <a:pt x="73329" y="82956"/>
                  </a:lnTo>
                  <a:lnTo>
                    <a:pt x="73329" y="74676"/>
                  </a:lnTo>
                  <a:lnTo>
                    <a:pt x="73761" y="70980"/>
                  </a:lnTo>
                  <a:lnTo>
                    <a:pt x="69723" y="70040"/>
                  </a:lnTo>
                  <a:lnTo>
                    <a:pt x="77304" y="70040"/>
                  </a:lnTo>
                  <a:lnTo>
                    <a:pt x="77609" y="59512"/>
                  </a:lnTo>
                  <a:lnTo>
                    <a:pt x="72834" y="57962"/>
                  </a:lnTo>
                  <a:lnTo>
                    <a:pt x="79476" y="57962"/>
                  </a:lnTo>
                  <a:lnTo>
                    <a:pt x="79476" y="45669"/>
                  </a:lnTo>
                  <a:lnTo>
                    <a:pt x="71666" y="45669"/>
                  </a:lnTo>
                  <a:lnTo>
                    <a:pt x="71716" y="45046"/>
                  </a:lnTo>
                  <a:lnTo>
                    <a:pt x="82118" y="45046"/>
                  </a:lnTo>
                  <a:close/>
                </a:path>
                <a:path w="612140" h="99060" extrusionOk="0">
                  <a:moveTo>
                    <a:pt x="576541" y="92151"/>
                  </a:moveTo>
                  <a:lnTo>
                    <a:pt x="497840" y="92151"/>
                  </a:lnTo>
                  <a:lnTo>
                    <a:pt x="497840" y="98793"/>
                  </a:lnTo>
                  <a:lnTo>
                    <a:pt x="576541" y="98793"/>
                  </a:lnTo>
                  <a:lnTo>
                    <a:pt x="576541" y="92151"/>
                  </a:lnTo>
                  <a:close/>
                </a:path>
                <a:path w="612140" h="99060" extrusionOk="0">
                  <a:moveTo>
                    <a:pt x="612101" y="66484"/>
                  </a:moveTo>
                  <a:lnTo>
                    <a:pt x="497840" y="66484"/>
                  </a:lnTo>
                  <a:lnTo>
                    <a:pt x="497840" y="73126"/>
                  </a:lnTo>
                  <a:lnTo>
                    <a:pt x="612101" y="73126"/>
                  </a:lnTo>
                  <a:lnTo>
                    <a:pt x="612101" y="66484"/>
                  </a:lnTo>
                  <a:close/>
                </a:path>
                <a:path w="612140" h="99060" extrusionOk="0">
                  <a:moveTo>
                    <a:pt x="612101" y="40843"/>
                  </a:moveTo>
                  <a:lnTo>
                    <a:pt x="497840" y="40843"/>
                  </a:lnTo>
                  <a:lnTo>
                    <a:pt x="497840" y="47485"/>
                  </a:lnTo>
                  <a:lnTo>
                    <a:pt x="612101" y="47485"/>
                  </a:lnTo>
                  <a:lnTo>
                    <a:pt x="612101" y="408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4626" name="Google Shape;4626;p14"/>
          <p:cNvGrpSpPr/>
          <p:nvPr/>
        </p:nvGrpSpPr>
        <p:grpSpPr>
          <a:xfrm>
            <a:off x="5916409" y="1440052"/>
            <a:ext cx="797217" cy="549961"/>
            <a:chOff x="5916409" y="1440052"/>
            <a:chExt cx="797217" cy="549961"/>
          </a:xfrm>
        </p:grpSpPr>
        <p:sp>
          <p:nvSpPr>
            <p:cNvPr id="4627" name="Google Shape;4627;p14"/>
            <p:cNvSpPr/>
            <p:nvPr/>
          </p:nvSpPr>
          <p:spPr>
            <a:xfrm>
              <a:off x="5916409" y="1440052"/>
              <a:ext cx="374015" cy="474980"/>
            </a:xfrm>
            <a:custGeom>
              <a:avLst/>
              <a:gdLst/>
              <a:ahLst/>
              <a:cxnLst/>
              <a:rect l="l" t="t" r="r" b="b"/>
              <a:pathLst>
                <a:path w="374014" h="474980" extrusionOk="0">
                  <a:moveTo>
                    <a:pt x="134124" y="344385"/>
                  </a:moveTo>
                  <a:lnTo>
                    <a:pt x="125920" y="336181"/>
                  </a:lnTo>
                  <a:lnTo>
                    <a:pt x="119278" y="336169"/>
                  </a:lnTo>
                  <a:lnTo>
                    <a:pt x="115176" y="340283"/>
                  </a:lnTo>
                  <a:lnTo>
                    <a:pt x="82626" y="372135"/>
                  </a:lnTo>
                  <a:lnTo>
                    <a:pt x="63855" y="353314"/>
                  </a:lnTo>
                  <a:lnTo>
                    <a:pt x="57200" y="353301"/>
                  </a:lnTo>
                  <a:lnTo>
                    <a:pt x="48996" y="361505"/>
                  </a:lnTo>
                  <a:lnTo>
                    <a:pt x="48983" y="368160"/>
                  </a:lnTo>
                  <a:lnTo>
                    <a:pt x="71831" y="391071"/>
                  </a:lnTo>
                  <a:lnTo>
                    <a:pt x="77241" y="393319"/>
                  </a:lnTo>
                  <a:lnTo>
                    <a:pt x="88760" y="393319"/>
                  </a:lnTo>
                  <a:lnTo>
                    <a:pt x="94183" y="391071"/>
                  </a:lnTo>
                  <a:lnTo>
                    <a:pt x="134124" y="351040"/>
                  </a:lnTo>
                  <a:lnTo>
                    <a:pt x="134124" y="344385"/>
                  </a:lnTo>
                  <a:close/>
                </a:path>
                <a:path w="374014" h="474980" extrusionOk="0">
                  <a:moveTo>
                    <a:pt x="134124" y="224637"/>
                  </a:moveTo>
                  <a:lnTo>
                    <a:pt x="130022" y="220548"/>
                  </a:lnTo>
                  <a:lnTo>
                    <a:pt x="125920" y="216446"/>
                  </a:lnTo>
                  <a:lnTo>
                    <a:pt x="119278" y="216433"/>
                  </a:lnTo>
                  <a:lnTo>
                    <a:pt x="115176" y="220548"/>
                  </a:lnTo>
                  <a:lnTo>
                    <a:pt x="82626" y="252399"/>
                  </a:lnTo>
                  <a:lnTo>
                    <a:pt x="63868" y="233540"/>
                  </a:lnTo>
                  <a:lnTo>
                    <a:pt x="57213" y="233527"/>
                  </a:lnTo>
                  <a:lnTo>
                    <a:pt x="48996" y="241731"/>
                  </a:lnTo>
                  <a:lnTo>
                    <a:pt x="48983" y="248373"/>
                  </a:lnTo>
                  <a:lnTo>
                    <a:pt x="71831" y="271322"/>
                  </a:lnTo>
                  <a:lnTo>
                    <a:pt x="77228" y="273570"/>
                  </a:lnTo>
                  <a:lnTo>
                    <a:pt x="88773" y="273570"/>
                  </a:lnTo>
                  <a:lnTo>
                    <a:pt x="94183" y="271322"/>
                  </a:lnTo>
                  <a:lnTo>
                    <a:pt x="134124" y="231305"/>
                  </a:lnTo>
                  <a:lnTo>
                    <a:pt x="134124" y="224637"/>
                  </a:lnTo>
                  <a:close/>
                </a:path>
                <a:path w="374014" h="474980" extrusionOk="0">
                  <a:moveTo>
                    <a:pt x="136474" y="105740"/>
                  </a:moveTo>
                  <a:lnTo>
                    <a:pt x="132372" y="101625"/>
                  </a:lnTo>
                  <a:lnTo>
                    <a:pt x="128282" y="97536"/>
                  </a:lnTo>
                  <a:lnTo>
                    <a:pt x="121627" y="97497"/>
                  </a:lnTo>
                  <a:lnTo>
                    <a:pt x="117525" y="101625"/>
                  </a:lnTo>
                  <a:lnTo>
                    <a:pt x="84975" y="133502"/>
                  </a:lnTo>
                  <a:lnTo>
                    <a:pt x="66217" y="114617"/>
                  </a:lnTo>
                  <a:lnTo>
                    <a:pt x="59563" y="114617"/>
                  </a:lnTo>
                  <a:lnTo>
                    <a:pt x="51346" y="122783"/>
                  </a:lnTo>
                  <a:lnTo>
                    <a:pt x="51333" y="129451"/>
                  </a:lnTo>
                  <a:lnTo>
                    <a:pt x="74180" y="152412"/>
                  </a:lnTo>
                  <a:lnTo>
                    <a:pt x="79590" y="154635"/>
                  </a:lnTo>
                  <a:lnTo>
                    <a:pt x="91122" y="154635"/>
                  </a:lnTo>
                  <a:lnTo>
                    <a:pt x="96532" y="152412"/>
                  </a:lnTo>
                  <a:lnTo>
                    <a:pt x="136474" y="112395"/>
                  </a:lnTo>
                  <a:lnTo>
                    <a:pt x="136474" y="105740"/>
                  </a:lnTo>
                  <a:close/>
                </a:path>
                <a:path w="374014" h="474980" extrusionOk="0">
                  <a:moveTo>
                    <a:pt x="230479" y="335229"/>
                  </a:moveTo>
                  <a:lnTo>
                    <a:pt x="225767" y="330530"/>
                  </a:lnTo>
                  <a:lnTo>
                    <a:pt x="219976" y="330530"/>
                  </a:lnTo>
                  <a:lnTo>
                    <a:pt x="166636" y="330530"/>
                  </a:lnTo>
                  <a:lnTo>
                    <a:pt x="161925" y="335229"/>
                  </a:lnTo>
                  <a:lnTo>
                    <a:pt x="161925" y="346837"/>
                  </a:lnTo>
                  <a:lnTo>
                    <a:pt x="166636" y="351548"/>
                  </a:lnTo>
                  <a:lnTo>
                    <a:pt x="225767" y="351548"/>
                  </a:lnTo>
                  <a:lnTo>
                    <a:pt x="230479" y="346837"/>
                  </a:lnTo>
                  <a:lnTo>
                    <a:pt x="230479" y="335229"/>
                  </a:lnTo>
                  <a:close/>
                </a:path>
                <a:path w="374014" h="474980" extrusionOk="0">
                  <a:moveTo>
                    <a:pt x="230517" y="383667"/>
                  </a:moveTo>
                  <a:lnTo>
                    <a:pt x="225818" y="378955"/>
                  </a:lnTo>
                  <a:lnTo>
                    <a:pt x="172440" y="378955"/>
                  </a:lnTo>
                  <a:lnTo>
                    <a:pt x="166636" y="378955"/>
                  </a:lnTo>
                  <a:lnTo>
                    <a:pt x="161925" y="383667"/>
                  </a:lnTo>
                  <a:lnTo>
                    <a:pt x="161925" y="395287"/>
                  </a:lnTo>
                  <a:lnTo>
                    <a:pt x="166636" y="399986"/>
                  </a:lnTo>
                  <a:lnTo>
                    <a:pt x="225818" y="399986"/>
                  </a:lnTo>
                  <a:lnTo>
                    <a:pt x="230517" y="395287"/>
                  </a:lnTo>
                  <a:lnTo>
                    <a:pt x="230517" y="383667"/>
                  </a:lnTo>
                  <a:close/>
                </a:path>
                <a:path w="374014" h="474980" extrusionOk="0">
                  <a:moveTo>
                    <a:pt x="244068" y="263944"/>
                  </a:moveTo>
                  <a:lnTo>
                    <a:pt x="239369" y="259245"/>
                  </a:lnTo>
                  <a:lnTo>
                    <a:pt x="233565" y="259245"/>
                  </a:lnTo>
                  <a:lnTo>
                    <a:pt x="166636" y="259245"/>
                  </a:lnTo>
                  <a:lnTo>
                    <a:pt x="161925" y="263944"/>
                  </a:lnTo>
                  <a:lnTo>
                    <a:pt x="161925" y="275564"/>
                  </a:lnTo>
                  <a:lnTo>
                    <a:pt x="166636" y="280276"/>
                  </a:lnTo>
                  <a:lnTo>
                    <a:pt x="239369" y="280276"/>
                  </a:lnTo>
                  <a:lnTo>
                    <a:pt x="244068" y="275564"/>
                  </a:lnTo>
                  <a:lnTo>
                    <a:pt x="244068" y="263944"/>
                  </a:lnTo>
                  <a:close/>
                </a:path>
                <a:path w="374014" h="474980" extrusionOk="0">
                  <a:moveTo>
                    <a:pt x="257187" y="215480"/>
                  </a:moveTo>
                  <a:lnTo>
                    <a:pt x="252476" y="210769"/>
                  </a:lnTo>
                  <a:lnTo>
                    <a:pt x="172453" y="210769"/>
                  </a:lnTo>
                  <a:lnTo>
                    <a:pt x="166649" y="210769"/>
                  </a:lnTo>
                  <a:lnTo>
                    <a:pt x="161950" y="215480"/>
                  </a:lnTo>
                  <a:lnTo>
                    <a:pt x="161950" y="227088"/>
                  </a:lnTo>
                  <a:lnTo>
                    <a:pt x="166649" y="231787"/>
                  </a:lnTo>
                  <a:lnTo>
                    <a:pt x="252476" y="231787"/>
                  </a:lnTo>
                  <a:lnTo>
                    <a:pt x="257187" y="227088"/>
                  </a:lnTo>
                  <a:lnTo>
                    <a:pt x="257187" y="215480"/>
                  </a:lnTo>
                  <a:close/>
                </a:path>
                <a:path w="374014" h="474980" extrusionOk="0">
                  <a:moveTo>
                    <a:pt x="260121" y="97396"/>
                  </a:moveTo>
                  <a:lnTo>
                    <a:pt x="255422" y="92659"/>
                  </a:lnTo>
                  <a:lnTo>
                    <a:pt x="169595" y="92659"/>
                  </a:lnTo>
                  <a:lnTo>
                    <a:pt x="164896" y="97396"/>
                  </a:lnTo>
                  <a:lnTo>
                    <a:pt x="164896" y="109004"/>
                  </a:lnTo>
                  <a:lnTo>
                    <a:pt x="169595" y="113690"/>
                  </a:lnTo>
                  <a:lnTo>
                    <a:pt x="175399" y="113690"/>
                  </a:lnTo>
                  <a:lnTo>
                    <a:pt x="255422" y="113690"/>
                  </a:lnTo>
                  <a:lnTo>
                    <a:pt x="260121" y="109004"/>
                  </a:lnTo>
                  <a:lnTo>
                    <a:pt x="260121" y="97396"/>
                  </a:lnTo>
                  <a:close/>
                </a:path>
                <a:path w="374014" h="474980" extrusionOk="0">
                  <a:moveTo>
                    <a:pt x="312432" y="144208"/>
                  </a:moveTo>
                  <a:lnTo>
                    <a:pt x="307721" y="139484"/>
                  </a:lnTo>
                  <a:lnTo>
                    <a:pt x="166649" y="139484"/>
                  </a:lnTo>
                  <a:lnTo>
                    <a:pt x="161950" y="144208"/>
                  </a:lnTo>
                  <a:lnTo>
                    <a:pt x="161950" y="155816"/>
                  </a:lnTo>
                  <a:lnTo>
                    <a:pt x="166649" y="160502"/>
                  </a:lnTo>
                  <a:lnTo>
                    <a:pt x="307721" y="160502"/>
                  </a:lnTo>
                  <a:lnTo>
                    <a:pt x="312432" y="155816"/>
                  </a:lnTo>
                  <a:lnTo>
                    <a:pt x="312432" y="150012"/>
                  </a:lnTo>
                  <a:lnTo>
                    <a:pt x="312432" y="144208"/>
                  </a:lnTo>
                  <a:close/>
                </a:path>
                <a:path w="374014" h="474980" extrusionOk="0">
                  <a:moveTo>
                    <a:pt x="373392" y="31305"/>
                  </a:moveTo>
                  <a:lnTo>
                    <a:pt x="370928" y="19126"/>
                  </a:lnTo>
                  <a:lnTo>
                    <a:pt x="364223" y="9182"/>
                  </a:lnTo>
                  <a:lnTo>
                    <a:pt x="354279" y="2463"/>
                  </a:lnTo>
                  <a:lnTo>
                    <a:pt x="342125" y="0"/>
                  </a:lnTo>
                  <a:lnTo>
                    <a:pt x="31267" y="0"/>
                  </a:lnTo>
                  <a:lnTo>
                    <a:pt x="19113" y="2463"/>
                  </a:lnTo>
                  <a:lnTo>
                    <a:pt x="9169" y="9182"/>
                  </a:lnTo>
                  <a:lnTo>
                    <a:pt x="2463" y="19126"/>
                  </a:lnTo>
                  <a:lnTo>
                    <a:pt x="0" y="31305"/>
                  </a:lnTo>
                  <a:lnTo>
                    <a:pt x="0" y="443699"/>
                  </a:lnTo>
                  <a:lnTo>
                    <a:pt x="2463" y="455853"/>
                  </a:lnTo>
                  <a:lnTo>
                    <a:pt x="9169" y="465810"/>
                  </a:lnTo>
                  <a:lnTo>
                    <a:pt x="19113" y="472516"/>
                  </a:lnTo>
                  <a:lnTo>
                    <a:pt x="31280" y="474980"/>
                  </a:lnTo>
                  <a:lnTo>
                    <a:pt x="227050" y="474980"/>
                  </a:lnTo>
                  <a:lnTo>
                    <a:pt x="231749" y="470268"/>
                  </a:lnTo>
                  <a:lnTo>
                    <a:pt x="231749" y="458660"/>
                  </a:lnTo>
                  <a:lnTo>
                    <a:pt x="227050" y="453961"/>
                  </a:lnTo>
                  <a:lnTo>
                    <a:pt x="221246" y="453961"/>
                  </a:lnTo>
                  <a:lnTo>
                    <a:pt x="25603" y="453961"/>
                  </a:lnTo>
                  <a:lnTo>
                    <a:pt x="21005" y="449351"/>
                  </a:lnTo>
                  <a:lnTo>
                    <a:pt x="21005" y="25641"/>
                  </a:lnTo>
                  <a:lnTo>
                    <a:pt x="25603" y="21031"/>
                  </a:lnTo>
                  <a:lnTo>
                    <a:pt x="347802" y="21031"/>
                  </a:lnTo>
                  <a:lnTo>
                    <a:pt x="352399" y="25641"/>
                  </a:lnTo>
                  <a:lnTo>
                    <a:pt x="352399" y="204508"/>
                  </a:lnTo>
                  <a:lnTo>
                    <a:pt x="357111" y="209207"/>
                  </a:lnTo>
                  <a:lnTo>
                    <a:pt x="368706" y="209207"/>
                  </a:lnTo>
                  <a:lnTo>
                    <a:pt x="373392" y="204508"/>
                  </a:lnTo>
                  <a:lnTo>
                    <a:pt x="373392" y="31305"/>
                  </a:lnTo>
                  <a:close/>
                </a:path>
              </a:pathLst>
            </a:custGeom>
            <a:solidFill>
              <a:srgbClr val="3A365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628" name="Google Shape;4628;p14"/>
            <p:cNvSpPr/>
            <p:nvPr/>
          </p:nvSpPr>
          <p:spPr>
            <a:xfrm>
              <a:off x="6153607" y="1638922"/>
              <a:ext cx="332740" cy="333375"/>
            </a:xfrm>
            <a:custGeom>
              <a:avLst/>
              <a:gdLst/>
              <a:ahLst/>
              <a:cxnLst/>
              <a:rect l="l" t="t" r="r" b="b"/>
              <a:pathLst>
                <a:path w="332739" h="333375" extrusionOk="0">
                  <a:moveTo>
                    <a:pt x="332473" y="1282"/>
                  </a:moveTo>
                  <a:lnTo>
                    <a:pt x="332270" y="1282"/>
                  </a:lnTo>
                  <a:lnTo>
                    <a:pt x="332270" y="12"/>
                  </a:lnTo>
                  <a:lnTo>
                    <a:pt x="203" y="0"/>
                  </a:lnTo>
                  <a:lnTo>
                    <a:pt x="203" y="1270"/>
                  </a:lnTo>
                  <a:lnTo>
                    <a:pt x="166230" y="1282"/>
                  </a:lnTo>
                  <a:lnTo>
                    <a:pt x="0" y="1270"/>
                  </a:lnTo>
                  <a:lnTo>
                    <a:pt x="0" y="3810"/>
                  </a:lnTo>
                  <a:lnTo>
                    <a:pt x="0" y="327672"/>
                  </a:lnTo>
                  <a:lnTo>
                    <a:pt x="2222" y="327672"/>
                  </a:lnTo>
                  <a:lnTo>
                    <a:pt x="0" y="327672"/>
                  </a:lnTo>
                  <a:lnTo>
                    <a:pt x="0" y="331482"/>
                  </a:lnTo>
                  <a:lnTo>
                    <a:pt x="762" y="331495"/>
                  </a:lnTo>
                  <a:lnTo>
                    <a:pt x="762" y="332765"/>
                  </a:lnTo>
                  <a:lnTo>
                    <a:pt x="331711" y="332765"/>
                  </a:lnTo>
                  <a:lnTo>
                    <a:pt x="331711" y="331495"/>
                  </a:lnTo>
                  <a:lnTo>
                    <a:pt x="332473" y="331495"/>
                  </a:lnTo>
                  <a:lnTo>
                    <a:pt x="332473" y="327914"/>
                  </a:lnTo>
                  <a:lnTo>
                    <a:pt x="332473" y="327685"/>
                  </a:lnTo>
                  <a:lnTo>
                    <a:pt x="332473" y="4292"/>
                  </a:lnTo>
                  <a:lnTo>
                    <a:pt x="330250" y="4292"/>
                  </a:lnTo>
                  <a:lnTo>
                    <a:pt x="330250" y="3822"/>
                  </a:lnTo>
                  <a:lnTo>
                    <a:pt x="332473" y="3822"/>
                  </a:lnTo>
                  <a:lnTo>
                    <a:pt x="332473" y="1282"/>
                  </a:lnTo>
                  <a:close/>
                </a:path>
              </a:pathLst>
            </a:custGeom>
            <a:solidFill>
              <a:srgbClr val="52BE9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629" name="Google Shape;4629;p14"/>
            <p:cNvPicPr preferRelativeResize="0"/>
            <p:nvPr/>
          </p:nvPicPr>
          <p:blipFill rotWithShape="1">
            <a:blip r:embed="rId2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46621" y="1678839"/>
              <a:ext cx="194173" cy="10369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630" name="Google Shape;4630;p14"/>
            <p:cNvSpPr/>
            <p:nvPr/>
          </p:nvSpPr>
          <p:spPr>
            <a:xfrm>
              <a:off x="6154826" y="1610918"/>
              <a:ext cx="558800" cy="379095"/>
            </a:xfrm>
            <a:custGeom>
              <a:avLst/>
              <a:gdLst/>
              <a:ahLst/>
              <a:cxnLst/>
              <a:rect l="l" t="t" r="r" b="b"/>
              <a:pathLst>
                <a:path w="558800" h="379094" extrusionOk="0">
                  <a:moveTo>
                    <a:pt x="52349" y="353047"/>
                  </a:moveTo>
                  <a:lnTo>
                    <a:pt x="50292" y="343001"/>
                  </a:lnTo>
                  <a:lnTo>
                    <a:pt x="49606" y="341985"/>
                  </a:lnTo>
                  <a:lnTo>
                    <a:pt x="44691" y="334797"/>
                  </a:lnTo>
                  <a:lnTo>
                    <a:pt x="37401" y="329971"/>
                  </a:lnTo>
                  <a:lnTo>
                    <a:pt x="37401" y="346938"/>
                  </a:lnTo>
                  <a:lnTo>
                    <a:pt x="37401" y="359143"/>
                  </a:lnTo>
                  <a:lnTo>
                    <a:pt x="32359" y="364096"/>
                  </a:lnTo>
                  <a:lnTo>
                    <a:pt x="19989" y="364096"/>
                  </a:lnTo>
                  <a:lnTo>
                    <a:pt x="14960" y="359143"/>
                  </a:lnTo>
                  <a:lnTo>
                    <a:pt x="14960" y="346938"/>
                  </a:lnTo>
                  <a:lnTo>
                    <a:pt x="19989" y="341985"/>
                  </a:lnTo>
                  <a:lnTo>
                    <a:pt x="32359" y="341985"/>
                  </a:lnTo>
                  <a:lnTo>
                    <a:pt x="37401" y="346938"/>
                  </a:lnTo>
                  <a:lnTo>
                    <a:pt x="37401" y="329971"/>
                  </a:lnTo>
                  <a:lnTo>
                    <a:pt x="36360" y="329272"/>
                  </a:lnTo>
                  <a:lnTo>
                    <a:pt x="26174" y="327240"/>
                  </a:lnTo>
                  <a:lnTo>
                    <a:pt x="15989" y="329272"/>
                  </a:lnTo>
                  <a:lnTo>
                    <a:pt x="7670" y="334797"/>
                  </a:lnTo>
                  <a:lnTo>
                    <a:pt x="2057" y="343001"/>
                  </a:lnTo>
                  <a:lnTo>
                    <a:pt x="0" y="353047"/>
                  </a:lnTo>
                  <a:lnTo>
                    <a:pt x="2057" y="363080"/>
                  </a:lnTo>
                  <a:lnTo>
                    <a:pt x="7670" y="371284"/>
                  </a:lnTo>
                  <a:lnTo>
                    <a:pt x="15989" y="376809"/>
                  </a:lnTo>
                  <a:lnTo>
                    <a:pt x="26174" y="378841"/>
                  </a:lnTo>
                  <a:lnTo>
                    <a:pt x="36360" y="376809"/>
                  </a:lnTo>
                  <a:lnTo>
                    <a:pt x="44678" y="371284"/>
                  </a:lnTo>
                  <a:lnTo>
                    <a:pt x="49606" y="364096"/>
                  </a:lnTo>
                  <a:lnTo>
                    <a:pt x="50292" y="363080"/>
                  </a:lnTo>
                  <a:lnTo>
                    <a:pt x="52349" y="353047"/>
                  </a:lnTo>
                  <a:close/>
                </a:path>
                <a:path w="558800" h="379094" extrusionOk="0">
                  <a:moveTo>
                    <a:pt x="548259" y="353047"/>
                  </a:moveTo>
                  <a:lnTo>
                    <a:pt x="546201" y="343001"/>
                  </a:lnTo>
                  <a:lnTo>
                    <a:pt x="545503" y="341985"/>
                  </a:lnTo>
                  <a:lnTo>
                    <a:pt x="540588" y="334797"/>
                  </a:lnTo>
                  <a:lnTo>
                    <a:pt x="533298" y="329971"/>
                  </a:lnTo>
                  <a:lnTo>
                    <a:pt x="533298" y="346938"/>
                  </a:lnTo>
                  <a:lnTo>
                    <a:pt x="533298" y="359143"/>
                  </a:lnTo>
                  <a:lnTo>
                    <a:pt x="528269" y="364096"/>
                  </a:lnTo>
                  <a:lnTo>
                    <a:pt x="515886" y="364096"/>
                  </a:lnTo>
                  <a:lnTo>
                    <a:pt x="510857" y="359143"/>
                  </a:lnTo>
                  <a:lnTo>
                    <a:pt x="510857" y="346938"/>
                  </a:lnTo>
                  <a:lnTo>
                    <a:pt x="515886" y="341985"/>
                  </a:lnTo>
                  <a:lnTo>
                    <a:pt x="528269" y="341985"/>
                  </a:lnTo>
                  <a:lnTo>
                    <a:pt x="533298" y="346938"/>
                  </a:lnTo>
                  <a:lnTo>
                    <a:pt x="533298" y="329971"/>
                  </a:lnTo>
                  <a:lnTo>
                    <a:pt x="532257" y="329272"/>
                  </a:lnTo>
                  <a:lnTo>
                    <a:pt x="522058" y="327240"/>
                  </a:lnTo>
                  <a:lnTo>
                    <a:pt x="511873" y="329272"/>
                  </a:lnTo>
                  <a:lnTo>
                    <a:pt x="503567" y="334797"/>
                  </a:lnTo>
                  <a:lnTo>
                    <a:pt x="497954" y="343001"/>
                  </a:lnTo>
                  <a:lnTo>
                    <a:pt x="495896" y="353047"/>
                  </a:lnTo>
                  <a:lnTo>
                    <a:pt x="497954" y="363080"/>
                  </a:lnTo>
                  <a:lnTo>
                    <a:pt x="503567" y="371284"/>
                  </a:lnTo>
                  <a:lnTo>
                    <a:pt x="511873" y="376809"/>
                  </a:lnTo>
                  <a:lnTo>
                    <a:pt x="522058" y="378841"/>
                  </a:lnTo>
                  <a:lnTo>
                    <a:pt x="532257" y="376809"/>
                  </a:lnTo>
                  <a:lnTo>
                    <a:pt x="540588" y="371284"/>
                  </a:lnTo>
                  <a:lnTo>
                    <a:pt x="545503" y="364096"/>
                  </a:lnTo>
                  <a:lnTo>
                    <a:pt x="546201" y="363080"/>
                  </a:lnTo>
                  <a:lnTo>
                    <a:pt x="548259" y="353047"/>
                  </a:lnTo>
                  <a:close/>
                </a:path>
                <a:path w="558800" h="379094" extrusionOk="0">
                  <a:moveTo>
                    <a:pt x="558711" y="4927"/>
                  </a:moveTo>
                  <a:lnTo>
                    <a:pt x="553707" y="0"/>
                  </a:lnTo>
                  <a:lnTo>
                    <a:pt x="532345" y="0"/>
                  </a:lnTo>
                  <a:lnTo>
                    <a:pt x="527304" y="4927"/>
                  </a:lnTo>
                  <a:lnTo>
                    <a:pt x="527304" y="33159"/>
                  </a:lnTo>
                  <a:lnTo>
                    <a:pt x="527304" y="53784"/>
                  </a:lnTo>
                  <a:lnTo>
                    <a:pt x="527304" y="245427"/>
                  </a:lnTo>
                  <a:lnTo>
                    <a:pt x="63576" y="245427"/>
                  </a:lnTo>
                  <a:lnTo>
                    <a:pt x="63576" y="53784"/>
                  </a:lnTo>
                  <a:lnTo>
                    <a:pt x="104457" y="53784"/>
                  </a:lnTo>
                  <a:lnTo>
                    <a:pt x="104457" y="180568"/>
                  </a:lnTo>
                  <a:lnTo>
                    <a:pt x="76631" y="180568"/>
                  </a:lnTo>
                  <a:lnTo>
                    <a:pt x="71615" y="185521"/>
                  </a:lnTo>
                  <a:lnTo>
                    <a:pt x="71615" y="234213"/>
                  </a:lnTo>
                  <a:lnTo>
                    <a:pt x="76631" y="239153"/>
                  </a:lnTo>
                  <a:lnTo>
                    <a:pt x="514235" y="239166"/>
                  </a:lnTo>
                  <a:lnTo>
                    <a:pt x="519277" y="234213"/>
                  </a:lnTo>
                  <a:lnTo>
                    <a:pt x="519277" y="185521"/>
                  </a:lnTo>
                  <a:lnTo>
                    <a:pt x="514235" y="180568"/>
                  </a:lnTo>
                  <a:lnTo>
                    <a:pt x="486422" y="180568"/>
                  </a:lnTo>
                  <a:lnTo>
                    <a:pt x="486422" y="53784"/>
                  </a:lnTo>
                  <a:lnTo>
                    <a:pt x="527304" y="53784"/>
                  </a:lnTo>
                  <a:lnTo>
                    <a:pt x="527304" y="33159"/>
                  </a:lnTo>
                  <a:lnTo>
                    <a:pt x="474472" y="33159"/>
                  </a:lnTo>
                  <a:lnTo>
                    <a:pt x="474472" y="53784"/>
                  </a:lnTo>
                  <a:lnTo>
                    <a:pt x="474472" y="180568"/>
                  </a:lnTo>
                  <a:lnTo>
                    <a:pt x="433552" y="180568"/>
                  </a:lnTo>
                  <a:lnTo>
                    <a:pt x="433552" y="53784"/>
                  </a:lnTo>
                  <a:lnTo>
                    <a:pt x="474472" y="53784"/>
                  </a:lnTo>
                  <a:lnTo>
                    <a:pt x="474472" y="33159"/>
                  </a:lnTo>
                  <a:lnTo>
                    <a:pt x="421601" y="33159"/>
                  </a:lnTo>
                  <a:lnTo>
                    <a:pt x="421601" y="53784"/>
                  </a:lnTo>
                  <a:lnTo>
                    <a:pt x="421601" y="180568"/>
                  </a:lnTo>
                  <a:lnTo>
                    <a:pt x="380720" y="180568"/>
                  </a:lnTo>
                  <a:lnTo>
                    <a:pt x="380720" y="115697"/>
                  </a:lnTo>
                  <a:lnTo>
                    <a:pt x="368731" y="115697"/>
                  </a:lnTo>
                  <a:lnTo>
                    <a:pt x="368731" y="180568"/>
                  </a:lnTo>
                  <a:lnTo>
                    <a:pt x="169291" y="180568"/>
                  </a:lnTo>
                  <a:lnTo>
                    <a:pt x="169291" y="53784"/>
                  </a:lnTo>
                  <a:lnTo>
                    <a:pt x="210172" y="53784"/>
                  </a:lnTo>
                  <a:lnTo>
                    <a:pt x="210172" y="91567"/>
                  </a:lnTo>
                  <a:lnTo>
                    <a:pt x="222148" y="91567"/>
                  </a:lnTo>
                  <a:lnTo>
                    <a:pt x="222148" y="53784"/>
                  </a:lnTo>
                  <a:lnTo>
                    <a:pt x="263029" y="53784"/>
                  </a:lnTo>
                  <a:lnTo>
                    <a:pt x="263029" y="62458"/>
                  </a:lnTo>
                  <a:lnTo>
                    <a:pt x="274993" y="62458"/>
                  </a:lnTo>
                  <a:lnTo>
                    <a:pt x="274993" y="53784"/>
                  </a:lnTo>
                  <a:lnTo>
                    <a:pt x="315887" y="53784"/>
                  </a:lnTo>
                  <a:lnTo>
                    <a:pt x="315887" y="75895"/>
                  </a:lnTo>
                  <a:lnTo>
                    <a:pt x="327850" y="75895"/>
                  </a:lnTo>
                  <a:lnTo>
                    <a:pt x="327850" y="53784"/>
                  </a:lnTo>
                  <a:lnTo>
                    <a:pt x="421601" y="53784"/>
                  </a:lnTo>
                  <a:lnTo>
                    <a:pt x="421601" y="33159"/>
                  </a:lnTo>
                  <a:lnTo>
                    <a:pt x="157314" y="33159"/>
                  </a:lnTo>
                  <a:lnTo>
                    <a:pt x="157314" y="53784"/>
                  </a:lnTo>
                  <a:lnTo>
                    <a:pt x="157314" y="180568"/>
                  </a:lnTo>
                  <a:lnTo>
                    <a:pt x="116433" y="180568"/>
                  </a:lnTo>
                  <a:lnTo>
                    <a:pt x="116433" y="53784"/>
                  </a:lnTo>
                  <a:lnTo>
                    <a:pt x="157314" y="53784"/>
                  </a:lnTo>
                  <a:lnTo>
                    <a:pt x="157314" y="33159"/>
                  </a:lnTo>
                  <a:lnTo>
                    <a:pt x="63576" y="33159"/>
                  </a:lnTo>
                  <a:lnTo>
                    <a:pt x="63576" y="4927"/>
                  </a:lnTo>
                  <a:lnTo>
                    <a:pt x="58547" y="0"/>
                  </a:lnTo>
                  <a:lnTo>
                    <a:pt x="37185" y="0"/>
                  </a:lnTo>
                  <a:lnTo>
                    <a:pt x="32156" y="4927"/>
                  </a:lnTo>
                  <a:lnTo>
                    <a:pt x="32156" y="323405"/>
                  </a:lnTo>
                  <a:lnTo>
                    <a:pt x="41605" y="326948"/>
                  </a:lnTo>
                  <a:lnTo>
                    <a:pt x="49250" y="333184"/>
                  </a:lnTo>
                  <a:lnTo>
                    <a:pt x="54495" y="341541"/>
                  </a:lnTo>
                  <a:lnTo>
                    <a:pt x="56667" y="351028"/>
                  </a:lnTo>
                  <a:lnTo>
                    <a:pt x="56756" y="351421"/>
                  </a:lnTo>
                  <a:lnTo>
                    <a:pt x="60769" y="349732"/>
                  </a:lnTo>
                  <a:lnTo>
                    <a:pt x="63576" y="345808"/>
                  </a:lnTo>
                  <a:lnTo>
                    <a:pt x="63576" y="304393"/>
                  </a:lnTo>
                  <a:lnTo>
                    <a:pt x="527304" y="304393"/>
                  </a:lnTo>
                  <a:lnTo>
                    <a:pt x="527304" y="323405"/>
                  </a:lnTo>
                  <a:lnTo>
                    <a:pt x="527634" y="323405"/>
                  </a:lnTo>
                  <a:lnTo>
                    <a:pt x="536930" y="326656"/>
                  </a:lnTo>
                  <a:lnTo>
                    <a:pt x="544779" y="332790"/>
                  </a:lnTo>
                  <a:lnTo>
                    <a:pt x="550214" y="341122"/>
                  </a:lnTo>
                  <a:lnTo>
                    <a:pt x="552627" y="351028"/>
                  </a:lnTo>
                  <a:lnTo>
                    <a:pt x="556234" y="349186"/>
                  </a:lnTo>
                  <a:lnTo>
                    <a:pt x="558711" y="345516"/>
                  </a:lnTo>
                  <a:lnTo>
                    <a:pt x="558711" y="304393"/>
                  </a:lnTo>
                  <a:lnTo>
                    <a:pt x="558711" y="245427"/>
                  </a:lnTo>
                  <a:lnTo>
                    <a:pt x="558711" y="53784"/>
                  </a:lnTo>
                  <a:lnTo>
                    <a:pt x="558711" y="33159"/>
                  </a:lnTo>
                  <a:lnTo>
                    <a:pt x="558711" y="4927"/>
                  </a:lnTo>
                  <a:close/>
                </a:path>
              </a:pathLst>
            </a:custGeom>
            <a:solidFill>
              <a:srgbClr val="FF914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631" name="Google Shape;4631;p14"/>
          <p:cNvSpPr txBox="1"/>
          <p:nvPr/>
        </p:nvSpPr>
        <p:spPr>
          <a:xfrm>
            <a:off x="6922769" y="1366034"/>
            <a:ext cx="3642995" cy="13328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350" rIns="0" bIns="0" anchor="t" anchorCtr="0">
            <a:spAutoFit/>
          </a:bodyPr>
          <a:lstStyle/>
          <a:p>
            <a:pPr marL="12700" marR="154305" lvl="0" indent="0" algn="l" rtl="0">
              <a:lnSpc>
                <a:spcPct val="12769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Develop equitable and inclusive unit policies consistent with the 2022 American Academy of Pediatrics safe sleep recommendations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  <a:p>
            <a:pPr marL="60960" marR="5080" lvl="0" indent="0" algn="l" rtl="0">
              <a:lnSpc>
                <a:spcPct val="125099"/>
              </a:lnSpc>
              <a:spcBef>
                <a:spcPts val="835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xamine all unit policies with an equity lens and make necessary changes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2" name="Google Shape;4632;p14"/>
          <p:cNvSpPr txBox="1"/>
          <p:nvPr/>
        </p:nvSpPr>
        <p:spPr>
          <a:xfrm>
            <a:off x="405129" y="1793562"/>
            <a:ext cx="4157345" cy="3101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2700" rIns="0" bIns="0" anchor="t" anchorCtr="0">
            <a:spAutoFit/>
          </a:bodyPr>
          <a:lstStyle/>
          <a:p>
            <a:pPr marL="24257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2: Equitable and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  <a:p>
            <a:pPr marL="237490" lvl="0" indent="0" algn="ctr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Inclusive Unit Policies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5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1060"/>
              </a:spcBef>
              <a:spcAft>
                <a:spcPts val="0"/>
              </a:spcAft>
              <a:buNone/>
            </a:pPr>
            <a:endParaRPr sz="1550">
              <a:latin typeface="Calibri"/>
              <a:ea typeface="Calibri"/>
              <a:cs typeface="Calibri"/>
              <a:sym typeface="Calibri"/>
            </a:endParaRPr>
          </a:p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latin typeface="Tahoma"/>
                <a:ea typeface="Tahoma"/>
                <a:cs typeface="Tahoma"/>
                <a:sym typeface="Tahoma"/>
              </a:rPr>
              <a:t>DRIVER 2:</a:t>
            </a:r>
            <a:endParaRPr sz="2000">
              <a:latin typeface="Tahoma"/>
              <a:ea typeface="Tahoma"/>
              <a:cs typeface="Tahoma"/>
              <a:sym typeface="Tahoma"/>
            </a:endParaRPr>
          </a:p>
          <a:p>
            <a:pPr marL="12700" marR="1608455" lvl="0" indent="0" algn="l" rtl="0">
              <a:lnSpc>
                <a:spcPct val="119000"/>
              </a:lnSpc>
              <a:spcBef>
                <a:spcPts val="70"/>
              </a:spcBef>
              <a:spcAft>
                <a:spcPts val="0"/>
              </a:spcAft>
              <a:buNone/>
            </a:pPr>
            <a:r>
              <a:rPr lang="en-US" sz="2000" b="1">
                <a:latin typeface="Tahoma"/>
                <a:ea typeface="Tahoma"/>
                <a:cs typeface="Tahoma"/>
                <a:sym typeface="Tahoma"/>
              </a:rPr>
              <a:t>INCLUSIVE CLINICAL ENVIRONMENT</a:t>
            </a:r>
            <a:endParaRPr sz="2000">
              <a:latin typeface="Tahoma"/>
              <a:ea typeface="Tahoma"/>
              <a:cs typeface="Tahoma"/>
              <a:sym typeface="Tahoma"/>
            </a:endParaRPr>
          </a:p>
          <a:p>
            <a:pPr marL="0" lvl="0" indent="0" algn="l" rtl="0">
              <a:lnSpc>
                <a:spcPct val="100000"/>
              </a:lnSpc>
              <a:spcBef>
                <a:spcPts val="70"/>
              </a:spcBef>
              <a:spcAft>
                <a:spcPts val="0"/>
              </a:spcAft>
              <a:buNone/>
            </a:pPr>
            <a:endParaRPr sz="2000">
              <a:latin typeface="Tahoma"/>
              <a:ea typeface="Tahoma"/>
              <a:cs typeface="Tahoma"/>
              <a:sym typeface="Tahoma"/>
            </a:endParaRPr>
          </a:p>
          <a:p>
            <a:pPr marL="1251585" marR="5080" lvl="0" indent="-732790" algn="l" rtl="0">
              <a:lnSpc>
                <a:spcPct val="11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3: Parent and Caregiver Experience Prioritization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3" name="Google Shape;4633;p14"/>
          <p:cNvSpPr txBox="1"/>
          <p:nvPr/>
        </p:nvSpPr>
        <p:spPr>
          <a:xfrm>
            <a:off x="6962140" y="3269932"/>
            <a:ext cx="3976370" cy="23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21590" marR="205104" lvl="0" indent="0" algn="l" rtl="0">
              <a:lnSpc>
                <a:spcPct val="1252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Use qualified interpreters and provide information in multiple languages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None/>
            </a:pPr>
            <a:endParaRPr sz="1250">
              <a:latin typeface="Calibri"/>
              <a:ea typeface="Calibri"/>
              <a:cs typeface="Calibri"/>
              <a:sym typeface="Calibri"/>
            </a:endParaRPr>
          </a:p>
          <a:p>
            <a:pPr marL="12700" marR="275590" lvl="0" indent="0" algn="l" rtl="0">
              <a:lnSpc>
                <a:spcPct val="12509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ncourage your unit to highlight data, stories, and strategies pertaining to racial equity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5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40"/>
              </a:spcBef>
              <a:spcAft>
                <a:spcPts val="0"/>
              </a:spcAft>
              <a:buNone/>
            </a:pPr>
            <a:endParaRPr sz="1250">
              <a:latin typeface="Calibri"/>
              <a:ea typeface="Calibri"/>
              <a:cs typeface="Calibri"/>
              <a:sym typeface="Calibri"/>
            </a:endParaRPr>
          </a:p>
          <a:p>
            <a:pPr marL="21590" marR="5080" lvl="0" indent="0" algn="l" rtl="0">
              <a:lnSpc>
                <a:spcPct val="12769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Obtain hospital experience feedback from parent and caregivers; develop a process to review and share feedback with providers, nurses, other staff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4" name="Google Shape;4634;p14"/>
          <p:cNvSpPr txBox="1"/>
          <p:nvPr/>
        </p:nvSpPr>
        <p:spPr>
          <a:xfrm>
            <a:off x="1031875" y="377380"/>
            <a:ext cx="3084830" cy="578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462915" marR="5080" lvl="0" indent="-450850" algn="l" rtl="0">
              <a:lnSpc>
                <a:spcPct val="11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1: Organizational Leadership Commitment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5" name="Google Shape;4635;p14"/>
          <p:cNvSpPr/>
          <p:nvPr/>
        </p:nvSpPr>
        <p:spPr>
          <a:xfrm>
            <a:off x="4510151" y="738251"/>
            <a:ext cx="1206500" cy="40640"/>
          </a:xfrm>
          <a:custGeom>
            <a:avLst/>
            <a:gdLst/>
            <a:ahLst/>
            <a:cxnLst/>
            <a:rect l="l" t="t" r="r" b="b"/>
            <a:pathLst>
              <a:path w="1206500" h="40640" extrusionOk="0">
                <a:moveTo>
                  <a:pt x="0" y="40639"/>
                </a:moveTo>
                <a:lnTo>
                  <a:pt x="1206246" y="0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36" name="Google Shape;4636;p14"/>
          <p:cNvSpPr txBox="1">
            <a:spLocks noGrp="1"/>
          </p:cNvSpPr>
          <p:nvPr>
            <p:ph type="title"/>
          </p:nvPr>
        </p:nvSpPr>
        <p:spPr>
          <a:xfrm>
            <a:off x="6918959" y="-46926"/>
            <a:ext cx="3600450" cy="941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96393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>
                <a:solidFill>
                  <a:srgbClr val="000000"/>
                </a:solidFill>
              </a:rPr>
              <a:t>Change Ideas</a:t>
            </a:r>
            <a:endParaRPr sz="2400"/>
          </a:p>
          <a:p>
            <a:pPr marL="12700" marR="5080" lvl="0" indent="0" algn="l" rtl="0">
              <a:lnSpc>
                <a:spcPct val="125099"/>
              </a:lnSpc>
              <a:spcBef>
                <a:spcPts val="570"/>
              </a:spcBef>
              <a:spcAft>
                <a:spcPts val="0"/>
              </a:spcAft>
              <a:buNone/>
            </a:pPr>
            <a:r>
              <a:rPr lang="en-US" sz="12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Obtain organizational leadership commitment to equitable and respectful healthcare delivery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7" name="Google Shape;4637;p14"/>
          <p:cNvSpPr/>
          <p:nvPr/>
        </p:nvSpPr>
        <p:spPr>
          <a:xfrm>
            <a:off x="4519676" y="1700276"/>
            <a:ext cx="1260475" cy="824230"/>
          </a:xfrm>
          <a:custGeom>
            <a:avLst/>
            <a:gdLst/>
            <a:ahLst/>
            <a:cxnLst/>
            <a:rect l="l" t="t" r="r" b="b"/>
            <a:pathLst>
              <a:path w="1260475" h="824230" extrusionOk="0">
                <a:moveTo>
                  <a:pt x="0" y="537590"/>
                </a:moveTo>
                <a:lnTo>
                  <a:pt x="1173099" y="0"/>
                </a:lnTo>
              </a:path>
              <a:path w="1260475" h="824230" extrusionOk="0">
                <a:moveTo>
                  <a:pt x="9525" y="533400"/>
                </a:moveTo>
                <a:lnTo>
                  <a:pt x="1259966" y="823849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38" name="Google Shape;4638;p14"/>
          <p:cNvSpPr/>
          <p:nvPr/>
        </p:nvSpPr>
        <p:spPr>
          <a:xfrm>
            <a:off x="4614926" y="3538601"/>
            <a:ext cx="1140460" cy="1111885"/>
          </a:xfrm>
          <a:custGeom>
            <a:avLst/>
            <a:gdLst/>
            <a:ahLst/>
            <a:cxnLst/>
            <a:rect l="l" t="t" r="r" b="b"/>
            <a:pathLst>
              <a:path w="1140460" h="1111885" extrusionOk="0">
                <a:moveTo>
                  <a:pt x="0" y="1111885"/>
                </a:moveTo>
                <a:lnTo>
                  <a:pt x="1139952" y="0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43" name="Google Shape;4643;p15"/>
          <p:cNvGraphicFramePr/>
          <p:nvPr>
            <p:extLst>
              <p:ext uri="{D42A27DB-BD31-4B8C-83A1-F6EECF244321}">
                <p14:modId xmlns:p14="http://schemas.microsoft.com/office/powerpoint/2010/main" val="1083962274"/>
              </p:ext>
            </p:extLst>
          </p:nvPr>
        </p:nvGraphicFramePr>
        <p:xfrm>
          <a:off x="287489" y="196214"/>
          <a:ext cx="11603375" cy="2101850"/>
        </p:xfrm>
        <a:graphic>
          <a:graphicData uri="http://schemas.openxmlformats.org/drawingml/2006/table">
            <a:tbl>
              <a:tblPr firstRow="1" bandRow="1">
                <a:noFill/>
                <a:tableStyleId>{410EBB18-085E-4E12-99BB-723E436381A6}</a:tableStyleId>
              </a:tblPr>
              <a:tblGrid>
                <a:gridCol w="1534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4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34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0400">
                <a:tc>
                  <a:txBody>
                    <a:bodyPr/>
                    <a:lstStyle/>
                    <a:p>
                      <a:pPr marL="91440" marR="458469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Baseline (%)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tc>
                  <a:txBody>
                    <a:bodyPr/>
                    <a:lstStyle/>
                    <a:p>
                      <a:pPr marL="92710" marR="43434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Current (%)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tc>
                  <a:txBody>
                    <a:bodyPr/>
                    <a:lstStyle/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tructure Measure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105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96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100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standardized process to use qualified language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interpreters in parents/caregivers’ preferred language.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4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34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2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86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2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standardized process for reviewing all unit policies with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an equity lens and making necessary changes.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2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644" name="Google Shape;4644;p15"/>
          <p:cNvSpPr txBox="1"/>
          <p:nvPr/>
        </p:nvSpPr>
        <p:spPr>
          <a:xfrm>
            <a:off x="78739" y="6613525"/>
            <a:ext cx="2218055" cy="208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latin typeface="Arial"/>
                <a:ea typeface="Arial"/>
                <a:cs typeface="Arial"/>
                <a:sym typeface="Arial"/>
              </a:rPr>
              <a:t>Baseline (Oct-Dec 2023), N=75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EA3D0B5-865C-4D68-BF4E-0150531D3441}"/>
              </a:ext>
            </a:extLst>
          </p:cNvPr>
          <p:cNvSpPr/>
          <p:nvPr/>
        </p:nvSpPr>
        <p:spPr>
          <a:xfrm>
            <a:off x="154112" y="1510301"/>
            <a:ext cx="11835830" cy="893852"/>
          </a:xfrm>
          <a:prstGeom prst="roundRect">
            <a:avLst/>
          </a:prstGeom>
          <a:noFill/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Google Shape;4469;p13">
            <a:extLst>
              <a:ext uri="{FF2B5EF4-FFF2-40B4-BE49-F238E27FC236}">
                <a16:creationId xmlns:a16="http://schemas.microsoft.com/office/drawing/2014/main" id="{95AC47F9-BC93-4B20-0CE4-09FD0F7705B6}"/>
              </a:ext>
            </a:extLst>
          </p:cNvPr>
          <p:cNvSpPr txBox="1"/>
          <p:nvPr/>
        </p:nvSpPr>
        <p:spPr>
          <a:xfrm>
            <a:off x="9895206" y="6613525"/>
            <a:ext cx="221805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/>
                <a:ea typeface="Arial"/>
                <a:cs typeface="Arial"/>
                <a:sym typeface="Arial"/>
              </a:rPr>
              <a:t>8.15.2025</a:t>
            </a:r>
            <a:endParaRPr sz="12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4470;p13">
            <a:extLst>
              <a:ext uri="{FF2B5EF4-FFF2-40B4-BE49-F238E27FC236}">
                <a16:creationId xmlns:a16="http://schemas.microsoft.com/office/drawing/2014/main" id="{761B8E3A-E522-597A-F16B-B3397FEC456D}"/>
              </a:ext>
            </a:extLst>
          </p:cNvPr>
          <p:cNvSpPr txBox="1"/>
          <p:nvPr/>
        </p:nvSpPr>
        <p:spPr>
          <a:xfrm>
            <a:off x="2480945" y="6613525"/>
            <a:ext cx="190817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/>
                <a:ea typeface="Arial"/>
                <a:cs typeface="Arial"/>
                <a:sym typeface="Arial"/>
              </a:rPr>
              <a:t>Current (June 2025), N=</a:t>
            </a:r>
            <a:r>
              <a:rPr lang="en-US" sz="1200" dirty="0"/>
              <a:t>51</a:t>
            </a:r>
            <a:endParaRPr sz="1200" dirty="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1" name="Google Shape;4651;p16"/>
          <p:cNvSpPr/>
          <p:nvPr/>
        </p:nvSpPr>
        <p:spPr>
          <a:xfrm>
            <a:off x="4519676" y="1471675"/>
            <a:ext cx="1261745" cy="647065"/>
          </a:xfrm>
          <a:custGeom>
            <a:avLst/>
            <a:gdLst/>
            <a:ahLst/>
            <a:cxnLst/>
            <a:rect l="l" t="t" r="r" b="b"/>
            <a:pathLst>
              <a:path w="1261745" h="647064" extrusionOk="0">
                <a:moveTo>
                  <a:pt x="0" y="228473"/>
                </a:moveTo>
                <a:lnTo>
                  <a:pt x="1261490" y="0"/>
                </a:lnTo>
              </a:path>
              <a:path w="1261745" h="647064" extrusionOk="0">
                <a:moveTo>
                  <a:pt x="9525" y="257175"/>
                </a:moveTo>
                <a:lnTo>
                  <a:pt x="1259966" y="647064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652" name="Google Shape;4652;p16"/>
          <p:cNvGrpSpPr/>
          <p:nvPr/>
        </p:nvGrpSpPr>
        <p:grpSpPr>
          <a:xfrm>
            <a:off x="5934075" y="3743325"/>
            <a:ext cx="5153025" cy="2971800"/>
            <a:chOff x="5934075" y="3743325"/>
            <a:chExt cx="5153025" cy="2971800"/>
          </a:xfrm>
        </p:grpSpPr>
        <p:pic>
          <p:nvPicPr>
            <p:cNvPr id="4653" name="Google Shape;4653;p16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34075" y="5124450"/>
              <a:ext cx="5153025" cy="15906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654" name="Google Shape;4654;p16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34075" y="3743325"/>
              <a:ext cx="5153025" cy="159893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655" name="Google Shape;4655;p16"/>
          <p:cNvSpPr/>
          <p:nvPr/>
        </p:nvSpPr>
        <p:spPr>
          <a:xfrm>
            <a:off x="5781675" y="1847850"/>
            <a:ext cx="5457825" cy="647700"/>
          </a:xfrm>
          <a:custGeom>
            <a:avLst/>
            <a:gdLst/>
            <a:ahLst/>
            <a:cxnLst/>
            <a:rect l="l" t="t" r="r" b="b"/>
            <a:pathLst>
              <a:path w="5457825" h="647700" extrusionOk="0">
                <a:moveTo>
                  <a:pt x="5386070" y="0"/>
                </a:moveTo>
                <a:lnTo>
                  <a:pt x="71754" y="0"/>
                </a:lnTo>
                <a:lnTo>
                  <a:pt x="43826" y="5639"/>
                </a:lnTo>
                <a:lnTo>
                  <a:pt x="21018" y="21018"/>
                </a:lnTo>
                <a:lnTo>
                  <a:pt x="5639" y="43826"/>
                </a:lnTo>
                <a:lnTo>
                  <a:pt x="0" y="71754"/>
                </a:lnTo>
                <a:lnTo>
                  <a:pt x="0" y="575945"/>
                </a:lnTo>
                <a:lnTo>
                  <a:pt x="5639" y="603873"/>
                </a:lnTo>
                <a:lnTo>
                  <a:pt x="21018" y="626681"/>
                </a:lnTo>
                <a:lnTo>
                  <a:pt x="43826" y="642060"/>
                </a:lnTo>
                <a:lnTo>
                  <a:pt x="71754" y="647700"/>
                </a:lnTo>
                <a:lnTo>
                  <a:pt x="5386070" y="647700"/>
                </a:lnTo>
                <a:lnTo>
                  <a:pt x="5413998" y="642060"/>
                </a:lnTo>
                <a:lnTo>
                  <a:pt x="5436806" y="626681"/>
                </a:lnTo>
                <a:lnTo>
                  <a:pt x="5452185" y="603873"/>
                </a:lnTo>
                <a:lnTo>
                  <a:pt x="5457825" y="575945"/>
                </a:lnTo>
                <a:lnTo>
                  <a:pt x="5457825" y="71754"/>
                </a:lnTo>
                <a:lnTo>
                  <a:pt x="5452185" y="43826"/>
                </a:lnTo>
                <a:lnTo>
                  <a:pt x="5436806" y="21018"/>
                </a:lnTo>
                <a:lnTo>
                  <a:pt x="5413998" y="5639"/>
                </a:lnTo>
                <a:lnTo>
                  <a:pt x="5386070" y="0"/>
                </a:lnTo>
                <a:close/>
              </a:path>
            </a:pathLst>
          </a:custGeom>
          <a:solidFill>
            <a:srgbClr val="0CC0D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656" name="Google Shape;4656;p16"/>
          <p:cNvGrpSpPr/>
          <p:nvPr/>
        </p:nvGrpSpPr>
        <p:grpSpPr>
          <a:xfrm>
            <a:off x="5781675" y="1123950"/>
            <a:ext cx="5457825" cy="647700"/>
            <a:chOff x="5781675" y="1123950"/>
            <a:chExt cx="5457825" cy="647700"/>
          </a:xfrm>
        </p:grpSpPr>
        <p:sp>
          <p:nvSpPr>
            <p:cNvPr id="4657" name="Google Shape;4657;p16"/>
            <p:cNvSpPr/>
            <p:nvPr/>
          </p:nvSpPr>
          <p:spPr>
            <a:xfrm>
              <a:off x="5781675" y="1123950"/>
              <a:ext cx="5457825" cy="647700"/>
            </a:xfrm>
            <a:custGeom>
              <a:avLst/>
              <a:gdLst/>
              <a:ahLst/>
              <a:cxnLst/>
              <a:rect l="l" t="t" r="r" b="b"/>
              <a:pathLst>
                <a:path w="5457825" h="647700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39"/>
                  </a:lnTo>
                  <a:lnTo>
                    <a:pt x="21018" y="21018"/>
                  </a:lnTo>
                  <a:lnTo>
                    <a:pt x="5639" y="43826"/>
                  </a:lnTo>
                  <a:lnTo>
                    <a:pt x="0" y="71754"/>
                  </a:lnTo>
                  <a:lnTo>
                    <a:pt x="0" y="575945"/>
                  </a:lnTo>
                  <a:lnTo>
                    <a:pt x="5639" y="603873"/>
                  </a:lnTo>
                  <a:lnTo>
                    <a:pt x="21018" y="626681"/>
                  </a:lnTo>
                  <a:lnTo>
                    <a:pt x="43826" y="642060"/>
                  </a:lnTo>
                  <a:lnTo>
                    <a:pt x="71754" y="647700"/>
                  </a:lnTo>
                  <a:lnTo>
                    <a:pt x="5386070" y="647700"/>
                  </a:lnTo>
                  <a:lnTo>
                    <a:pt x="5413998" y="642060"/>
                  </a:lnTo>
                  <a:lnTo>
                    <a:pt x="5436806" y="626681"/>
                  </a:lnTo>
                  <a:lnTo>
                    <a:pt x="5452185" y="603873"/>
                  </a:lnTo>
                  <a:lnTo>
                    <a:pt x="5457825" y="575945"/>
                  </a:lnTo>
                  <a:lnTo>
                    <a:pt x="5457825" y="71754"/>
                  </a:lnTo>
                  <a:lnTo>
                    <a:pt x="5452185" y="43826"/>
                  </a:lnTo>
                  <a:lnTo>
                    <a:pt x="5436806" y="21018"/>
                  </a:lnTo>
                  <a:lnTo>
                    <a:pt x="5413998" y="5639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F84B66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658" name="Google Shape;4658;p16"/>
            <p:cNvSpPr/>
            <p:nvPr/>
          </p:nvSpPr>
          <p:spPr>
            <a:xfrm>
              <a:off x="6753225" y="1152525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659" name="Google Shape;4659;p16"/>
          <p:cNvSpPr/>
          <p:nvPr/>
        </p:nvSpPr>
        <p:spPr>
          <a:xfrm>
            <a:off x="5781675" y="2609850"/>
            <a:ext cx="1485900" cy="0"/>
          </a:xfrm>
          <a:custGeom>
            <a:avLst/>
            <a:gdLst/>
            <a:ahLst/>
            <a:cxnLst/>
            <a:rect l="l" t="t" r="r" b="b"/>
            <a:pathLst>
              <a:path w="1485900" h="120000" extrusionOk="0">
                <a:moveTo>
                  <a:pt x="0" y="0"/>
                </a:moveTo>
                <a:lnTo>
                  <a:pt x="1485900" y="0"/>
                </a:lnTo>
              </a:path>
            </a:pathLst>
          </a:custGeom>
          <a:noFill/>
          <a:ln w="381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660" name="Google Shape;4660;p16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01" y="4898623"/>
            <a:ext cx="237556" cy="1959374"/>
          </a:xfrm>
          <a:prstGeom prst="rect">
            <a:avLst/>
          </a:prstGeom>
          <a:noFill/>
          <a:ln>
            <a:noFill/>
          </a:ln>
        </p:spPr>
      </p:pic>
      <p:pic>
        <p:nvPicPr>
          <p:cNvPr id="4661" name="Google Shape;4661;p16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27800" y="18876"/>
            <a:ext cx="237625" cy="2083458"/>
          </a:xfrm>
          <a:prstGeom prst="rect">
            <a:avLst/>
          </a:prstGeom>
          <a:noFill/>
          <a:ln>
            <a:noFill/>
          </a:ln>
        </p:spPr>
      </p:pic>
      <p:sp>
        <p:nvSpPr>
          <p:cNvPr id="4662" name="Google Shape;4662;p16"/>
          <p:cNvSpPr/>
          <p:nvPr/>
        </p:nvSpPr>
        <p:spPr>
          <a:xfrm>
            <a:off x="11382375" y="6172200"/>
            <a:ext cx="809625" cy="685800"/>
          </a:xfrm>
          <a:custGeom>
            <a:avLst/>
            <a:gdLst/>
            <a:ahLst/>
            <a:cxnLst/>
            <a:rect l="l" t="t" r="r" b="b"/>
            <a:pathLst>
              <a:path w="809625" h="685800" extrusionOk="0">
                <a:moveTo>
                  <a:pt x="809625" y="12475"/>
                </a:moveTo>
                <a:lnTo>
                  <a:pt x="777433" y="6763"/>
                </a:lnTo>
                <a:lnTo>
                  <a:pt x="729728" y="1709"/>
                </a:lnTo>
                <a:lnTo>
                  <a:pt x="681101" y="0"/>
                </a:lnTo>
                <a:lnTo>
                  <a:pt x="632458" y="1709"/>
                </a:lnTo>
                <a:lnTo>
                  <a:pt x="584738" y="6763"/>
                </a:lnTo>
                <a:lnTo>
                  <a:pt x="538057" y="15044"/>
                </a:lnTo>
                <a:lnTo>
                  <a:pt x="492530" y="26437"/>
                </a:lnTo>
                <a:lnTo>
                  <a:pt x="448272" y="40828"/>
                </a:lnTo>
                <a:lnTo>
                  <a:pt x="405398" y="58101"/>
                </a:lnTo>
                <a:lnTo>
                  <a:pt x="364023" y="78142"/>
                </a:lnTo>
                <a:lnTo>
                  <a:pt x="324264" y="100833"/>
                </a:lnTo>
                <a:lnTo>
                  <a:pt x="286234" y="126061"/>
                </a:lnTo>
                <a:lnTo>
                  <a:pt x="250050" y="153711"/>
                </a:lnTo>
                <a:lnTo>
                  <a:pt x="215826" y="183666"/>
                </a:lnTo>
                <a:lnTo>
                  <a:pt x="183677" y="215812"/>
                </a:lnTo>
                <a:lnTo>
                  <a:pt x="153720" y="250033"/>
                </a:lnTo>
                <a:lnTo>
                  <a:pt x="126069" y="286214"/>
                </a:lnTo>
                <a:lnTo>
                  <a:pt x="100839" y="324240"/>
                </a:lnTo>
                <a:lnTo>
                  <a:pt x="78146" y="363996"/>
                </a:lnTo>
                <a:lnTo>
                  <a:pt x="58105" y="405367"/>
                </a:lnTo>
                <a:lnTo>
                  <a:pt x="40830" y="448236"/>
                </a:lnTo>
                <a:lnTo>
                  <a:pt x="26439" y="492489"/>
                </a:lnTo>
                <a:lnTo>
                  <a:pt x="15044" y="538011"/>
                </a:lnTo>
                <a:lnTo>
                  <a:pt x="6763" y="584687"/>
                </a:lnTo>
                <a:lnTo>
                  <a:pt x="1710" y="632400"/>
                </a:lnTo>
                <a:lnTo>
                  <a:pt x="0" y="681037"/>
                </a:lnTo>
                <a:lnTo>
                  <a:pt x="167" y="685800"/>
                </a:lnTo>
              </a:path>
            </a:pathLst>
          </a:custGeom>
          <a:noFill/>
          <a:ln w="38100" cap="flat" cmpd="sng">
            <a:solidFill>
              <a:srgbClr val="EBEF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63" name="Google Shape;4663;p16"/>
          <p:cNvSpPr/>
          <p:nvPr/>
        </p:nvSpPr>
        <p:spPr>
          <a:xfrm>
            <a:off x="0" y="0"/>
            <a:ext cx="952500" cy="714375"/>
          </a:xfrm>
          <a:custGeom>
            <a:avLst/>
            <a:gdLst/>
            <a:ahLst/>
            <a:cxnLst/>
            <a:rect l="l" t="t" r="r" b="b"/>
            <a:pathLst>
              <a:path w="952500" h="714375" extrusionOk="0">
                <a:moveTo>
                  <a:pt x="0" y="660252"/>
                </a:moveTo>
                <a:lnTo>
                  <a:pt x="76832" y="687749"/>
                </a:lnTo>
                <a:lnTo>
                  <a:pt x="122673" y="699223"/>
                </a:lnTo>
                <a:lnTo>
                  <a:pt x="169675" y="707563"/>
                </a:lnTo>
                <a:lnTo>
                  <a:pt x="217722" y="712652"/>
                </a:lnTo>
                <a:lnTo>
                  <a:pt x="266700" y="714375"/>
                </a:lnTo>
                <a:lnTo>
                  <a:pt x="315676" y="712652"/>
                </a:lnTo>
                <a:lnTo>
                  <a:pt x="363723" y="707563"/>
                </a:lnTo>
                <a:lnTo>
                  <a:pt x="410725" y="699223"/>
                </a:lnTo>
                <a:lnTo>
                  <a:pt x="456565" y="687749"/>
                </a:lnTo>
                <a:lnTo>
                  <a:pt x="501128" y="673256"/>
                </a:lnTo>
                <a:lnTo>
                  <a:pt x="544297" y="655860"/>
                </a:lnTo>
                <a:lnTo>
                  <a:pt x="585957" y="635678"/>
                </a:lnTo>
                <a:lnTo>
                  <a:pt x="625991" y="612826"/>
                </a:lnTo>
                <a:lnTo>
                  <a:pt x="664283" y="587420"/>
                </a:lnTo>
                <a:lnTo>
                  <a:pt x="700717" y="559576"/>
                </a:lnTo>
                <a:lnTo>
                  <a:pt x="735178" y="529410"/>
                </a:lnTo>
                <a:lnTo>
                  <a:pt x="767548" y="497038"/>
                </a:lnTo>
                <a:lnTo>
                  <a:pt x="797713" y="462576"/>
                </a:lnTo>
                <a:lnTo>
                  <a:pt x="825556" y="426141"/>
                </a:lnTo>
                <a:lnTo>
                  <a:pt x="850960" y="387849"/>
                </a:lnTo>
                <a:lnTo>
                  <a:pt x="873811" y="347815"/>
                </a:lnTo>
                <a:lnTo>
                  <a:pt x="893991" y="306156"/>
                </a:lnTo>
                <a:lnTo>
                  <a:pt x="911385" y="262988"/>
                </a:lnTo>
                <a:lnTo>
                  <a:pt x="925877" y="218427"/>
                </a:lnTo>
                <a:lnTo>
                  <a:pt x="937350" y="172589"/>
                </a:lnTo>
                <a:lnTo>
                  <a:pt x="945689" y="125590"/>
                </a:lnTo>
                <a:lnTo>
                  <a:pt x="950778" y="77546"/>
                </a:lnTo>
                <a:lnTo>
                  <a:pt x="952500" y="28575"/>
                </a:lnTo>
                <a:lnTo>
                  <a:pt x="951495" y="0"/>
                </a:lnTo>
              </a:path>
            </a:pathLst>
          </a:custGeom>
          <a:noFill/>
          <a:ln w="38100" cap="flat" cmpd="sng">
            <a:solidFill>
              <a:srgbClr val="EBEF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664" name="Google Shape;4664;p16"/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093" y="5873830"/>
            <a:ext cx="217098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665" name="Google Shape;4665;p16"/>
          <p:cNvPicPr preferRelativeResize="0"/>
          <p:nvPr/>
        </p:nvPicPr>
        <p:blipFill rotWithShape="1"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06421" y="5732899"/>
            <a:ext cx="217098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66" name="Google Shape;4666;p16"/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06421" y="6014767"/>
            <a:ext cx="217098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67" name="Google Shape;4667;p16"/>
          <p:cNvPicPr preferRelativeResize="0"/>
          <p:nvPr/>
        </p:nvPicPr>
        <p:blipFill rotWithShape="1"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749" y="5873830"/>
            <a:ext cx="217098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668" name="Google Shape;4668;p16"/>
          <p:cNvPicPr preferRelativeResize="0"/>
          <p:nvPr/>
        </p:nvPicPr>
        <p:blipFill rotWithShape="1">
          <a:blip r:embed="rId1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3077" y="5732898"/>
            <a:ext cx="217206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69" name="Google Shape;4669;p16"/>
          <p:cNvPicPr preferRelativeResize="0"/>
          <p:nvPr/>
        </p:nvPicPr>
        <p:blipFill rotWithShape="1">
          <a:blip r:embed="rId1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3077" y="6014767"/>
            <a:ext cx="217206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70" name="Google Shape;4670;p16"/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06528" y="5873830"/>
            <a:ext cx="217083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671" name="Google Shape;4671;p16"/>
          <p:cNvPicPr preferRelativeResize="0"/>
          <p:nvPr/>
        </p:nvPicPr>
        <p:blipFill rotWithShape="1">
          <a:blip r:embed="rId1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9856" y="5732898"/>
            <a:ext cx="217083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72" name="Google Shape;4672;p16"/>
          <p:cNvPicPr preferRelativeResize="0"/>
          <p:nvPr/>
        </p:nvPicPr>
        <p:blipFill rotWithShape="1">
          <a:blip r:embed="rId1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9857" y="6014766"/>
            <a:ext cx="217083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73" name="Google Shape;4673;p16"/>
          <p:cNvPicPr preferRelativeResize="0"/>
          <p:nvPr/>
        </p:nvPicPr>
        <p:blipFill rotWithShape="1"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73181" y="5873830"/>
            <a:ext cx="217086" cy="91817"/>
          </a:xfrm>
          <a:prstGeom prst="rect">
            <a:avLst/>
          </a:prstGeom>
          <a:noFill/>
          <a:ln>
            <a:noFill/>
          </a:ln>
        </p:spPr>
      </p:pic>
      <p:sp>
        <p:nvSpPr>
          <p:cNvPr id="4674" name="Google Shape;4674;p16"/>
          <p:cNvSpPr/>
          <p:nvPr/>
        </p:nvSpPr>
        <p:spPr>
          <a:xfrm>
            <a:off x="5535996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75" name="Google Shape;4675;p16"/>
          <p:cNvSpPr/>
          <p:nvPr/>
        </p:nvSpPr>
        <p:spPr>
          <a:xfrm>
            <a:off x="5679054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76" name="Google Shape;4676;p16"/>
          <p:cNvSpPr/>
          <p:nvPr/>
        </p:nvSpPr>
        <p:spPr>
          <a:xfrm>
            <a:off x="5822112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77" name="Google Shape;4677;p16"/>
          <p:cNvSpPr/>
          <p:nvPr/>
        </p:nvSpPr>
        <p:spPr>
          <a:xfrm>
            <a:off x="5965170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78" name="Google Shape;4678;p16"/>
          <p:cNvSpPr/>
          <p:nvPr/>
        </p:nvSpPr>
        <p:spPr>
          <a:xfrm>
            <a:off x="6108228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79" name="Google Shape;4679;p16"/>
          <p:cNvSpPr/>
          <p:nvPr/>
        </p:nvSpPr>
        <p:spPr>
          <a:xfrm>
            <a:off x="6251286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80" name="Google Shape;4680;p16"/>
          <p:cNvSpPr/>
          <p:nvPr/>
        </p:nvSpPr>
        <p:spPr>
          <a:xfrm>
            <a:off x="6394344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81" name="Google Shape;4681;p16"/>
          <p:cNvSpPr/>
          <p:nvPr/>
        </p:nvSpPr>
        <p:spPr>
          <a:xfrm>
            <a:off x="6537401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82" name="Google Shape;4682;p16"/>
          <p:cNvSpPr/>
          <p:nvPr/>
        </p:nvSpPr>
        <p:spPr>
          <a:xfrm>
            <a:off x="6680459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83" name="Google Shape;4683;p16"/>
          <p:cNvSpPr/>
          <p:nvPr/>
        </p:nvSpPr>
        <p:spPr>
          <a:xfrm>
            <a:off x="682351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84" name="Google Shape;4684;p16"/>
          <p:cNvSpPr/>
          <p:nvPr/>
        </p:nvSpPr>
        <p:spPr>
          <a:xfrm>
            <a:off x="696657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85" name="Google Shape;4685;p16"/>
          <p:cNvSpPr/>
          <p:nvPr/>
        </p:nvSpPr>
        <p:spPr>
          <a:xfrm>
            <a:off x="7109633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86" name="Google Shape;4686;p16"/>
          <p:cNvSpPr/>
          <p:nvPr/>
        </p:nvSpPr>
        <p:spPr>
          <a:xfrm>
            <a:off x="7252691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87" name="Google Shape;4687;p16"/>
          <p:cNvSpPr/>
          <p:nvPr/>
        </p:nvSpPr>
        <p:spPr>
          <a:xfrm>
            <a:off x="7395749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88" name="Google Shape;4688;p16"/>
          <p:cNvSpPr/>
          <p:nvPr/>
        </p:nvSpPr>
        <p:spPr>
          <a:xfrm>
            <a:off x="753880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89" name="Google Shape;4689;p16"/>
          <p:cNvSpPr/>
          <p:nvPr/>
        </p:nvSpPr>
        <p:spPr>
          <a:xfrm>
            <a:off x="768186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90" name="Google Shape;4690;p16"/>
          <p:cNvSpPr/>
          <p:nvPr/>
        </p:nvSpPr>
        <p:spPr>
          <a:xfrm>
            <a:off x="782492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91" name="Google Shape;4691;p16"/>
          <p:cNvSpPr/>
          <p:nvPr/>
        </p:nvSpPr>
        <p:spPr>
          <a:xfrm>
            <a:off x="796798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92" name="Google Shape;4692;p16"/>
          <p:cNvSpPr/>
          <p:nvPr/>
        </p:nvSpPr>
        <p:spPr>
          <a:xfrm>
            <a:off x="8111043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93" name="Google Shape;4693;p16"/>
          <p:cNvSpPr/>
          <p:nvPr/>
        </p:nvSpPr>
        <p:spPr>
          <a:xfrm>
            <a:off x="8254102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94" name="Google Shape;4694;p16"/>
          <p:cNvSpPr/>
          <p:nvPr/>
        </p:nvSpPr>
        <p:spPr>
          <a:xfrm>
            <a:off x="553599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95" name="Google Shape;4695;p16"/>
          <p:cNvSpPr/>
          <p:nvPr/>
        </p:nvSpPr>
        <p:spPr>
          <a:xfrm>
            <a:off x="5679054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96" name="Google Shape;4696;p16"/>
          <p:cNvSpPr/>
          <p:nvPr/>
        </p:nvSpPr>
        <p:spPr>
          <a:xfrm>
            <a:off x="582211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97" name="Google Shape;4697;p16"/>
          <p:cNvSpPr/>
          <p:nvPr/>
        </p:nvSpPr>
        <p:spPr>
          <a:xfrm>
            <a:off x="5965170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98" name="Google Shape;4698;p16"/>
          <p:cNvSpPr/>
          <p:nvPr/>
        </p:nvSpPr>
        <p:spPr>
          <a:xfrm>
            <a:off x="6108228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699" name="Google Shape;4699;p16"/>
          <p:cNvSpPr/>
          <p:nvPr/>
        </p:nvSpPr>
        <p:spPr>
          <a:xfrm>
            <a:off x="625128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00" name="Google Shape;4700;p16"/>
          <p:cNvSpPr/>
          <p:nvPr/>
        </p:nvSpPr>
        <p:spPr>
          <a:xfrm>
            <a:off x="6394344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01" name="Google Shape;4701;p16"/>
          <p:cNvSpPr/>
          <p:nvPr/>
        </p:nvSpPr>
        <p:spPr>
          <a:xfrm>
            <a:off x="653740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02" name="Google Shape;4702;p16"/>
          <p:cNvSpPr/>
          <p:nvPr/>
        </p:nvSpPr>
        <p:spPr>
          <a:xfrm>
            <a:off x="6680459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03" name="Google Shape;4703;p16"/>
          <p:cNvSpPr/>
          <p:nvPr/>
        </p:nvSpPr>
        <p:spPr>
          <a:xfrm>
            <a:off x="682351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04" name="Google Shape;4704;p16"/>
          <p:cNvSpPr/>
          <p:nvPr/>
        </p:nvSpPr>
        <p:spPr>
          <a:xfrm>
            <a:off x="6966575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05" name="Google Shape;4705;p16"/>
          <p:cNvSpPr/>
          <p:nvPr/>
        </p:nvSpPr>
        <p:spPr>
          <a:xfrm>
            <a:off x="7109633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06" name="Google Shape;4706;p16"/>
          <p:cNvSpPr/>
          <p:nvPr/>
        </p:nvSpPr>
        <p:spPr>
          <a:xfrm>
            <a:off x="7252691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07" name="Google Shape;4707;p16"/>
          <p:cNvSpPr/>
          <p:nvPr/>
        </p:nvSpPr>
        <p:spPr>
          <a:xfrm>
            <a:off x="7395749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08" name="Google Shape;4708;p16"/>
          <p:cNvSpPr/>
          <p:nvPr/>
        </p:nvSpPr>
        <p:spPr>
          <a:xfrm>
            <a:off x="753880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09" name="Google Shape;4709;p16"/>
          <p:cNvSpPr/>
          <p:nvPr/>
        </p:nvSpPr>
        <p:spPr>
          <a:xfrm>
            <a:off x="7681865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10" name="Google Shape;4710;p16"/>
          <p:cNvSpPr/>
          <p:nvPr/>
        </p:nvSpPr>
        <p:spPr>
          <a:xfrm>
            <a:off x="782492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11" name="Google Shape;4711;p16"/>
          <p:cNvSpPr/>
          <p:nvPr/>
        </p:nvSpPr>
        <p:spPr>
          <a:xfrm>
            <a:off x="796798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12" name="Google Shape;4712;p16"/>
          <p:cNvSpPr/>
          <p:nvPr/>
        </p:nvSpPr>
        <p:spPr>
          <a:xfrm>
            <a:off x="8111043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13" name="Google Shape;4713;p16"/>
          <p:cNvSpPr/>
          <p:nvPr/>
        </p:nvSpPr>
        <p:spPr>
          <a:xfrm>
            <a:off x="825410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14" name="Google Shape;4714;p16"/>
          <p:cNvSpPr/>
          <p:nvPr/>
        </p:nvSpPr>
        <p:spPr>
          <a:xfrm>
            <a:off x="4688272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15" name="Google Shape;4715;p16"/>
          <p:cNvSpPr/>
          <p:nvPr/>
        </p:nvSpPr>
        <p:spPr>
          <a:xfrm>
            <a:off x="4831330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16" name="Google Shape;4716;p16"/>
          <p:cNvSpPr/>
          <p:nvPr/>
        </p:nvSpPr>
        <p:spPr>
          <a:xfrm>
            <a:off x="4974388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17" name="Google Shape;4717;p16"/>
          <p:cNvSpPr/>
          <p:nvPr/>
        </p:nvSpPr>
        <p:spPr>
          <a:xfrm>
            <a:off x="5117446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18" name="Google Shape;4718;p16"/>
          <p:cNvSpPr/>
          <p:nvPr/>
        </p:nvSpPr>
        <p:spPr>
          <a:xfrm>
            <a:off x="5260504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19" name="Google Shape;4719;p16"/>
          <p:cNvSpPr/>
          <p:nvPr/>
        </p:nvSpPr>
        <p:spPr>
          <a:xfrm>
            <a:off x="5403562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20" name="Google Shape;4720;p16"/>
          <p:cNvSpPr/>
          <p:nvPr/>
        </p:nvSpPr>
        <p:spPr>
          <a:xfrm>
            <a:off x="554661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21" name="Google Shape;4721;p16"/>
          <p:cNvSpPr/>
          <p:nvPr/>
        </p:nvSpPr>
        <p:spPr>
          <a:xfrm>
            <a:off x="5689677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22" name="Google Shape;4722;p16"/>
          <p:cNvSpPr/>
          <p:nvPr/>
        </p:nvSpPr>
        <p:spPr>
          <a:xfrm>
            <a:off x="5832735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23" name="Google Shape;4723;p16"/>
          <p:cNvSpPr/>
          <p:nvPr/>
        </p:nvSpPr>
        <p:spPr>
          <a:xfrm>
            <a:off x="597579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24" name="Google Shape;4724;p16"/>
          <p:cNvSpPr/>
          <p:nvPr/>
        </p:nvSpPr>
        <p:spPr>
          <a:xfrm>
            <a:off x="6118851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25" name="Google Shape;4725;p16"/>
          <p:cNvSpPr/>
          <p:nvPr/>
        </p:nvSpPr>
        <p:spPr>
          <a:xfrm>
            <a:off x="626190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26" name="Google Shape;4726;p16"/>
          <p:cNvSpPr/>
          <p:nvPr/>
        </p:nvSpPr>
        <p:spPr>
          <a:xfrm>
            <a:off x="6404967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27" name="Google Shape;4727;p16"/>
          <p:cNvSpPr/>
          <p:nvPr/>
        </p:nvSpPr>
        <p:spPr>
          <a:xfrm>
            <a:off x="6548025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28" name="Google Shape;4728;p16"/>
          <p:cNvSpPr/>
          <p:nvPr/>
        </p:nvSpPr>
        <p:spPr>
          <a:xfrm>
            <a:off x="669108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29" name="Google Shape;4729;p16"/>
          <p:cNvSpPr/>
          <p:nvPr/>
        </p:nvSpPr>
        <p:spPr>
          <a:xfrm>
            <a:off x="6834140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30" name="Google Shape;4730;p16"/>
          <p:cNvSpPr/>
          <p:nvPr/>
        </p:nvSpPr>
        <p:spPr>
          <a:xfrm>
            <a:off x="697720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31" name="Google Shape;4731;p16"/>
          <p:cNvSpPr/>
          <p:nvPr/>
        </p:nvSpPr>
        <p:spPr>
          <a:xfrm>
            <a:off x="7120261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32" name="Google Shape;4732;p16"/>
          <p:cNvSpPr/>
          <p:nvPr/>
        </p:nvSpPr>
        <p:spPr>
          <a:xfrm>
            <a:off x="726331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33" name="Google Shape;4733;p16"/>
          <p:cNvSpPr/>
          <p:nvPr/>
        </p:nvSpPr>
        <p:spPr>
          <a:xfrm>
            <a:off x="7406378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34" name="Google Shape;4734;p16"/>
          <p:cNvSpPr/>
          <p:nvPr/>
        </p:nvSpPr>
        <p:spPr>
          <a:xfrm>
            <a:off x="4688272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35" name="Google Shape;4735;p16"/>
          <p:cNvSpPr/>
          <p:nvPr/>
        </p:nvSpPr>
        <p:spPr>
          <a:xfrm>
            <a:off x="4831330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36" name="Google Shape;4736;p16"/>
          <p:cNvSpPr/>
          <p:nvPr/>
        </p:nvSpPr>
        <p:spPr>
          <a:xfrm>
            <a:off x="4974388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37" name="Google Shape;4737;p16"/>
          <p:cNvSpPr/>
          <p:nvPr/>
        </p:nvSpPr>
        <p:spPr>
          <a:xfrm>
            <a:off x="5117446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38" name="Google Shape;4738;p16"/>
          <p:cNvSpPr/>
          <p:nvPr/>
        </p:nvSpPr>
        <p:spPr>
          <a:xfrm>
            <a:off x="5260504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39" name="Google Shape;4739;p16"/>
          <p:cNvSpPr/>
          <p:nvPr/>
        </p:nvSpPr>
        <p:spPr>
          <a:xfrm>
            <a:off x="5403562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40" name="Google Shape;4740;p16"/>
          <p:cNvSpPr/>
          <p:nvPr/>
        </p:nvSpPr>
        <p:spPr>
          <a:xfrm>
            <a:off x="554661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41" name="Google Shape;4741;p16"/>
          <p:cNvSpPr/>
          <p:nvPr/>
        </p:nvSpPr>
        <p:spPr>
          <a:xfrm>
            <a:off x="5689677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42" name="Google Shape;4742;p16"/>
          <p:cNvSpPr/>
          <p:nvPr/>
        </p:nvSpPr>
        <p:spPr>
          <a:xfrm>
            <a:off x="5832735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43" name="Google Shape;4743;p16"/>
          <p:cNvSpPr/>
          <p:nvPr/>
        </p:nvSpPr>
        <p:spPr>
          <a:xfrm>
            <a:off x="597579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44" name="Google Shape;4744;p16"/>
          <p:cNvSpPr/>
          <p:nvPr/>
        </p:nvSpPr>
        <p:spPr>
          <a:xfrm>
            <a:off x="6118851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45" name="Google Shape;4745;p16"/>
          <p:cNvSpPr/>
          <p:nvPr/>
        </p:nvSpPr>
        <p:spPr>
          <a:xfrm>
            <a:off x="626190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46" name="Google Shape;4746;p16"/>
          <p:cNvSpPr/>
          <p:nvPr/>
        </p:nvSpPr>
        <p:spPr>
          <a:xfrm>
            <a:off x="6404967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47" name="Google Shape;4747;p16"/>
          <p:cNvSpPr/>
          <p:nvPr/>
        </p:nvSpPr>
        <p:spPr>
          <a:xfrm>
            <a:off x="6548025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48" name="Google Shape;4748;p16"/>
          <p:cNvSpPr/>
          <p:nvPr/>
        </p:nvSpPr>
        <p:spPr>
          <a:xfrm>
            <a:off x="669108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49" name="Google Shape;4749;p16"/>
          <p:cNvSpPr/>
          <p:nvPr/>
        </p:nvSpPr>
        <p:spPr>
          <a:xfrm>
            <a:off x="6834140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50" name="Google Shape;4750;p16"/>
          <p:cNvSpPr/>
          <p:nvPr/>
        </p:nvSpPr>
        <p:spPr>
          <a:xfrm>
            <a:off x="697720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51" name="Google Shape;4751;p16"/>
          <p:cNvSpPr/>
          <p:nvPr/>
        </p:nvSpPr>
        <p:spPr>
          <a:xfrm>
            <a:off x="7120261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52" name="Google Shape;4752;p16"/>
          <p:cNvSpPr/>
          <p:nvPr/>
        </p:nvSpPr>
        <p:spPr>
          <a:xfrm>
            <a:off x="726331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753" name="Google Shape;4753;p16"/>
          <p:cNvSpPr/>
          <p:nvPr/>
        </p:nvSpPr>
        <p:spPr>
          <a:xfrm>
            <a:off x="7406378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754" name="Google Shape;4754;p16"/>
          <p:cNvPicPr preferRelativeResize="0"/>
          <p:nvPr/>
        </p:nvPicPr>
        <p:blipFill rotWithShape="1">
          <a:blip r:embed="rId1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91800" y="0"/>
            <a:ext cx="1571625" cy="733425"/>
          </a:xfrm>
          <a:prstGeom prst="rect">
            <a:avLst/>
          </a:prstGeom>
          <a:noFill/>
          <a:ln>
            <a:noFill/>
          </a:ln>
        </p:spPr>
      </p:pic>
      <p:sp>
        <p:nvSpPr>
          <p:cNvPr id="4755" name="Google Shape;4755;p16"/>
          <p:cNvSpPr/>
          <p:nvPr/>
        </p:nvSpPr>
        <p:spPr>
          <a:xfrm>
            <a:off x="685800" y="1362075"/>
            <a:ext cx="3819525" cy="723900"/>
          </a:xfrm>
          <a:custGeom>
            <a:avLst/>
            <a:gdLst/>
            <a:ahLst/>
            <a:cxnLst/>
            <a:rect l="l" t="t" r="r" b="b"/>
            <a:pathLst>
              <a:path w="3819525" h="723900" extrusionOk="0">
                <a:moveTo>
                  <a:pt x="79425" y="0"/>
                </a:moveTo>
                <a:lnTo>
                  <a:pt x="3740150" y="0"/>
                </a:lnTo>
                <a:lnTo>
                  <a:pt x="3771036" y="6262"/>
                </a:lnTo>
                <a:lnTo>
                  <a:pt x="3796268" y="23336"/>
                </a:lnTo>
                <a:lnTo>
                  <a:pt x="3813284" y="48648"/>
                </a:lnTo>
                <a:lnTo>
                  <a:pt x="3819525" y="79628"/>
                </a:lnTo>
                <a:lnTo>
                  <a:pt x="3819525" y="644271"/>
                </a:lnTo>
                <a:lnTo>
                  <a:pt x="3806184" y="688437"/>
                </a:lnTo>
                <a:lnTo>
                  <a:pt x="3770503" y="717835"/>
                </a:lnTo>
                <a:lnTo>
                  <a:pt x="3740150" y="723900"/>
                </a:lnTo>
                <a:lnTo>
                  <a:pt x="79425" y="723900"/>
                </a:lnTo>
                <a:lnTo>
                  <a:pt x="35363" y="710505"/>
                </a:lnTo>
                <a:lnTo>
                  <a:pt x="6046" y="674735"/>
                </a:lnTo>
                <a:lnTo>
                  <a:pt x="0" y="644271"/>
                </a:lnTo>
                <a:lnTo>
                  <a:pt x="0" y="79628"/>
                </a:lnTo>
                <a:lnTo>
                  <a:pt x="13346" y="35462"/>
                </a:lnTo>
                <a:lnTo>
                  <a:pt x="49031" y="6064"/>
                </a:lnTo>
                <a:lnTo>
                  <a:pt x="79425" y="0"/>
                </a:lnTo>
                <a:close/>
              </a:path>
            </a:pathLst>
          </a:custGeom>
          <a:noFill/>
          <a:ln w="57150" cap="flat" cmpd="sng">
            <a:solidFill>
              <a:srgbClr val="52BE9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756" name="Google Shape;4756;p16"/>
          <p:cNvGrpSpPr/>
          <p:nvPr/>
        </p:nvGrpSpPr>
        <p:grpSpPr>
          <a:xfrm>
            <a:off x="5781675" y="2714625"/>
            <a:ext cx="5457825" cy="723900"/>
            <a:chOff x="5781675" y="2714625"/>
            <a:chExt cx="5457825" cy="723900"/>
          </a:xfrm>
        </p:grpSpPr>
        <p:sp>
          <p:nvSpPr>
            <p:cNvPr id="4757" name="Google Shape;4757;p16"/>
            <p:cNvSpPr/>
            <p:nvPr/>
          </p:nvSpPr>
          <p:spPr>
            <a:xfrm>
              <a:off x="5781675" y="2714625"/>
              <a:ext cx="5457825" cy="723900"/>
            </a:xfrm>
            <a:custGeom>
              <a:avLst/>
              <a:gdLst/>
              <a:ahLst/>
              <a:cxnLst/>
              <a:rect l="l" t="t" r="r" b="b"/>
              <a:pathLst>
                <a:path w="5457825" h="723900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17"/>
                  </a:lnTo>
                  <a:lnTo>
                    <a:pt x="21018" y="20939"/>
                  </a:lnTo>
                  <a:lnTo>
                    <a:pt x="5639" y="43666"/>
                  </a:lnTo>
                  <a:lnTo>
                    <a:pt x="0" y="71500"/>
                  </a:lnTo>
                  <a:lnTo>
                    <a:pt x="0" y="652399"/>
                  </a:lnTo>
                  <a:lnTo>
                    <a:pt x="5639" y="680233"/>
                  </a:lnTo>
                  <a:lnTo>
                    <a:pt x="21018" y="702960"/>
                  </a:lnTo>
                  <a:lnTo>
                    <a:pt x="43826" y="718282"/>
                  </a:lnTo>
                  <a:lnTo>
                    <a:pt x="71754" y="723900"/>
                  </a:lnTo>
                  <a:lnTo>
                    <a:pt x="5386070" y="723900"/>
                  </a:lnTo>
                  <a:lnTo>
                    <a:pt x="5413998" y="718282"/>
                  </a:lnTo>
                  <a:lnTo>
                    <a:pt x="5436806" y="702960"/>
                  </a:lnTo>
                  <a:lnTo>
                    <a:pt x="5452185" y="680233"/>
                  </a:lnTo>
                  <a:lnTo>
                    <a:pt x="5457825" y="652399"/>
                  </a:lnTo>
                  <a:lnTo>
                    <a:pt x="5457825" y="71500"/>
                  </a:lnTo>
                  <a:lnTo>
                    <a:pt x="5452185" y="43666"/>
                  </a:lnTo>
                  <a:lnTo>
                    <a:pt x="5436806" y="20939"/>
                  </a:lnTo>
                  <a:lnTo>
                    <a:pt x="5413998" y="5617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4373A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758" name="Google Shape;4758;p16"/>
            <p:cNvSpPr/>
            <p:nvPr/>
          </p:nvSpPr>
          <p:spPr>
            <a:xfrm>
              <a:off x="6753225" y="2762250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4759" name="Google Shape;4759;p16"/>
          <p:cNvGrpSpPr/>
          <p:nvPr/>
        </p:nvGrpSpPr>
        <p:grpSpPr>
          <a:xfrm>
            <a:off x="9287844" y="163186"/>
            <a:ext cx="845819" cy="750570"/>
            <a:chOff x="9287844" y="163186"/>
            <a:chExt cx="845819" cy="750570"/>
          </a:xfrm>
        </p:grpSpPr>
        <p:sp>
          <p:nvSpPr>
            <p:cNvPr id="4760" name="Google Shape;4760;p16"/>
            <p:cNvSpPr/>
            <p:nvPr/>
          </p:nvSpPr>
          <p:spPr>
            <a:xfrm>
              <a:off x="9287844" y="163186"/>
              <a:ext cx="845819" cy="750570"/>
            </a:xfrm>
            <a:custGeom>
              <a:avLst/>
              <a:gdLst/>
              <a:ahLst/>
              <a:cxnLst/>
              <a:rect l="l" t="t" r="r" b="b"/>
              <a:pathLst>
                <a:path w="845820" h="750569" extrusionOk="0">
                  <a:moveTo>
                    <a:pt x="601337" y="0"/>
                  </a:moveTo>
                  <a:lnTo>
                    <a:pt x="549365" y="5583"/>
                  </a:lnTo>
                  <a:lnTo>
                    <a:pt x="501821" y="22056"/>
                  </a:lnTo>
                  <a:lnTo>
                    <a:pt x="459389" y="49008"/>
                  </a:lnTo>
                  <a:lnTo>
                    <a:pt x="422752" y="86024"/>
                  </a:lnTo>
                  <a:lnTo>
                    <a:pt x="386078" y="49008"/>
                  </a:lnTo>
                  <a:lnTo>
                    <a:pt x="343585" y="22056"/>
                  </a:lnTo>
                  <a:lnTo>
                    <a:pt x="295984" y="5583"/>
                  </a:lnTo>
                  <a:lnTo>
                    <a:pt x="243987" y="0"/>
                  </a:lnTo>
                  <a:lnTo>
                    <a:pt x="220105" y="1108"/>
                  </a:lnTo>
                  <a:lnTo>
                    <a:pt x="171711" y="9866"/>
                  </a:lnTo>
                  <a:lnTo>
                    <a:pt x="111520" y="33410"/>
                  </a:lnTo>
                  <a:lnTo>
                    <a:pt x="52039" y="76020"/>
                  </a:lnTo>
                  <a:lnTo>
                    <a:pt x="22950" y="115647"/>
                  </a:lnTo>
                  <a:lnTo>
                    <a:pt x="4620" y="169336"/>
                  </a:lnTo>
                  <a:lnTo>
                    <a:pt x="0" y="244059"/>
                  </a:lnTo>
                  <a:lnTo>
                    <a:pt x="7399" y="295705"/>
                  </a:lnTo>
                  <a:lnTo>
                    <a:pt x="25671" y="355386"/>
                  </a:lnTo>
                  <a:lnTo>
                    <a:pt x="58113" y="421985"/>
                  </a:lnTo>
                  <a:lnTo>
                    <a:pt x="81952" y="459420"/>
                  </a:lnTo>
                  <a:lnTo>
                    <a:pt x="109553" y="496403"/>
                  </a:lnTo>
                  <a:lnTo>
                    <a:pt x="140892" y="532909"/>
                  </a:lnTo>
                  <a:lnTo>
                    <a:pt x="175942" y="568912"/>
                  </a:lnTo>
                  <a:lnTo>
                    <a:pt x="214679" y="604388"/>
                  </a:lnTo>
                  <a:lnTo>
                    <a:pt x="257077" y="639312"/>
                  </a:lnTo>
                  <a:lnTo>
                    <a:pt x="303112" y="673658"/>
                  </a:lnTo>
                  <a:lnTo>
                    <a:pt x="352759" y="707403"/>
                  </a:lnTo>
                  <a:lnTo>
                    <a:pt x="406828" y="741028"/>
                  </a:lnTo>
                  <a:lnTo>
                    <a:pt x="407506" y="741536"/>
                  </a:lnTo>
                  <a:lnTo>
                    <a:pt x="408364" y="741875"/>
                  </a:lnTo>
                  <a:lnTo>
                    <a:pt x="421895" y="750003"/>
                  </a:lnTo>
                  <a:lnTo>
                    <a:pt x="430523" y="745430"/>
                  </a:lnTo>
                  <a:lnTo>
                    <a:pt x="432895" y="745430"/>
                  </a:lnTo>
                  <a:lnTo>
                    <a:pt x="437978" y="741536"/>
                  </a:lnTo>
                  <a:lnTo>
                    <a:pt x="454132" y="732442"/>
                  </a:lnTo>
                  <a:lnTo>
                    <a:pt x="530222" y="684245"/>
                  </a:lnTo>
                  <a:lnTo>
                    <a:pt x="582375" y="646474"/>
                  </a:lnTo>
                  <a:lnTo>
                    <a:pt x="638745" y="600478"/>
                  </a:lnTo>
                  <a:lnTo>
                    <a:pt x="680808" y="561509"/>
                  </a:lnTo>
                  <a:lnTo>
                    <a:pt x="718321" y="522159"/>
                  </a:lnTo>
                  <a:lnTo>
                    <a:pt x="751171" y="482554"/>
                  </a:lnTo>
                  <a:lnTo>
                    <a:pt x="779245" y="442819"/>
                  </a:lnTo>
                  <a:lnTo>
                    <a:pt x="808086" y="391579"/>
                  </a:lnTo>
                  <a:lnTo>
                    <a:pt x="828801" y="340356"/>
                  </a:lnTo>
                  <a:lnTo>
                    <a:pt x="841330" y="289353"/>
                  </a:lnTo>
                  <a:lnTo>
                    <a:pt x="845610" y="238774"/>
                  </a:lnTo>
                  <a:lnTo>
                    <a:pt x="843711" y="197327"/>
                  </a:lnTo>
                  <a:lnTo>
                    <a:pt x="827656" y="127447"/>
                  </a:lnTo>
                  <a:lnTo>
                    <a:pt x="801106" y="84057"/>
                  </a:lnTo>
                  <a:lnTo>
                    <a:pt x="766220" y="53134"/>
                  </a:lnTo>
                  <a:lnTo>
                    <a:pt x="710641" y="22440"/>
                  </a:lnTo>
                  <a:lnTo>
                    <a:pt x="638071" y="2568"/>
                  </a:lnTo>
                  <a:lnTo>
                    <a:pt x="601337" y="0"/>
                  </a:lnTo>
                  <a:close/>
                </a:path>
              </a:pathLst>
            </a:custGeom>
            <a:solidFill>
              <a:srgbClr val="FBF05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761" name="Google Shape;4761;p16"/>
            <p:cNvSpPr/>
            <p:nvPr/>
          </p:nvSpPr>
          <p:spPr>
            <a:xfrm>
              <a:off x="9317159" y="193444"/>
              <a:ext cx="786765" cy="685800"/>
            </a:xfrm>
            <a:custGeom>
              <a:avLst/>
              <a:gdLst/>
              <a:ahLst/>
              <a:cxnLst/>
              <a:rect l="l" t="t" r="r" b="b"/>
              <a:pathLst>
                <a:path w="786765" h="685800" extrusionOk="0">
                  <a:moveTo>
                    <a:pt x="207292" y="0"/>
                  </a:moveTo>
                  <a:lnTo>
                    <a:pt x="167029" y="4754"/>
                  </a:lnTo>
                  <a:lnTo>
                    <a:pt x="128842" y="15476"/>
                  </a:lnTo>
                  <a:lnTo>
                    <a:pt x="67775" y="47156"/>
                  </a:lnTo>
                  <a:lnTo>
                    <a:pt x="27275" y="87106"/>
                  </a:lnTo>
                  <a:lnTo>
                    <a:pt x="9040" y="127729"/>
                  </a:lnTo>
                  <a:lnTo>
                    <a:pt x="1196" y="168871"/>
                  </a:lnTo>
                  <a:lnTo>
                    <a:pt x="0" y="195196"/>
                  </a:lnTo>
                  <a:lnTo>
                    <a:pt x="1594" y="223826"/>
                  </a:lnTo>
                  <a:lnTo>
                    <a:pt x="14854" y="287317"/>
                  </a:lnTo>
                  <a:lnTo>
                    <a:pt x="44379" y="357979"/>
                  </a:lnTo>
                  <a:lnTo>
                    <a:pt x="66302" y="395572"/>
                  </a:lnTo>
                  <a:lnTo>
                    <a:pt x="93566" y="434446"/>
                  </a:lnTo>
                  <a:lnTo>
                    <a:pt x="126595" y="474430"/>
                  </a:lnTo>
                  <a:lnTo>
                    <a:pt x="165815" y="515354"/>
                  </a:lnTo>
                  <a:lnTo>
                    <a:pt x="211650" y="557046"/>
                  </a:lnTo>
                  <a:lnTo>
                    <a:pt x="264526" y="599336"/>
                  </a:lnTo>
                  <a:lnTo>
                    <a:pt x="324868" y="642054"/>
                  </a:lnTo>
                  <a:lnTo>
                    <a:pt x="393100" y="685029"/>
                  </a:lnTo>
                  <a:lnTo>
                    <a:pt x="393438" y="685368"/>
                  </a:lnTo>
                  <a:lnTo>
                    <a:pt x="454706" y="648626"/>
                  </a:lnTo>
                  <a:lnTo>
                    <a:pt x="589546" y="547651"/>
                  </a:lnTo>
                  <a:lnTo>
                    <a:pt x="724513" y="396322"/>
                  </a:lnTo>
                  <a:lnTo>
                    <a:pt x="786162" y="208516"/>
                  </a:lnTo>
                  <a:lnTo>
                    <a:pt x="784460" y="170109"/>
                  </a:lnTo>
                  <a:lnTo>
                    <a:pt x="779154" y="136753"/>
                  </a:lnTo>
                  <a:lnTo>
                    <a:pt x="770968" y="109793"/>
                  </a:lnTo>
                  <a:lnTo>
                    <a:pt x="393438" y="109793"/>
                  </a:lnTo>
                  <a:lnTo>
                    <a:pt x="362643" y="65830"/>
                  </a:lnTo>
                  <a:lnTo>
                    <a:pt x="327307" y="34128"/>
                  </a:lnTo>
                  <a:lnTo>
                    <a:pt x="288754" y="13428"/>
                  </a:lnTo>
                  <a:lnTo>
                    <a:pt x="248308" y="2471"/>
                  </a:lnTo>
                  <a:lnTo>
                    <a:pt x="207292" y="0"/>
                  </a:lnTo>
                  <a:close/>
                </a:path>
                <a:path w="786765" h="685800" extrusionOk="0">
                  <a:moveTo>
                    <a:pt x="585589" y="264"/>
                  </a:moveTo>
                  <a:lnTo>
                    <a:pt x="543383" y="1774"/>
                  </a:lnTo>
                  <a:lnTo>
                    <a:pt x="501615" y="12120"/>
                  </a:lnTo>
                  <a:lnTo>
                    <a:pt x="461735" y="32662"/>
                  </a:lnTo>
                  <a:lnTo>
                    <a:pt x="425192" y="64766"/>
                  </a:lnTo>
                  <a:lnTo>
                    <a:pt x="393438" y="109793"/>
                  </a:lnTo>
                  <a:lnTo>
                    <a:pt x="770968" y="109793"/>
                  </a:lnTo>
                  <a:lnTo>
                    <a:pt x="748872" y="73313"/>
                  </a:lnTo>
                  <a:lnTo>
                    <a:pt x="718945" y="46999"/>
                  </a:lnTo>
                  <a:lnTo>
                    <a:pt x="665510" y="18296"/>
                  </a:lnTo>
                  <a:lnTo>
                    <a:pt x="626781" y="6225"/>
                  </a:lnTo>
                  <a:lnTo>
                    <a:pt x="585589" y="264"/>
                  </a:lnTo>
                  <a:close/>
                </a:path>
              </a:pathLst>
            </a:custGeom>
            <a:solidFill>
              <a:srgbClr val="D7523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762" name="Google Shape;4762;p16"/>
            <p:cNvSpPr/>
            <p:nvPr/>
          </p:nvSpPr>
          <p:spPr>
            <a:xfrm>
              <a:off x="9309224" y="192493"/>
              <a:ext cx="575945" cy="550545"/>
            </a:xfrm>
            <a:custGeom>
              <a:avLst/>
              <a:gdLst/>
              <a:ahLst/>
              <a:cxnLst/>
              <a:rect l="l" t="t" r="r" b="b"/>
              <a:pathLst>
                <a:path w="575945" h="550545" extrusionOk="0">
                  <a:moveTo>
                    <a:pt x="568941" y="403705"/>
                  </a:moveTo>
                  <a:lnTo>
                    <a:pt x="242757" y="403705"/>
                  </a:lnTo>
                  <a:lnTo>
                    <a:pt x="295165" y="459560"/>
                  </a:lnTo>
                  <a:lnTo>
                    <a:pt x="335946" y="502068"/>
                  </a:lnTo>
                  <a:lnTo>
                    <a:pt x="364464" y="530020"/>
                  </a:lnTo>
                  <a:lnTo>
                    <a:pt x="386384" y="543546"/>
                  </a:lnTo>
                  <a:lnTo>
                    <a:pt x="412942" y="550298"/>
                  </a:lnTo>
                  <a:lnTo>
                    <a:pt x="436758" y="543546"/>
                  </a:lnTo>
                  <a:lnTo>
                    <a:pt x="450119" y="516474"/>
                  </a:lnTo>
                  <a:lnTo>
                    <a:pt x="524026" y="516474"/>
                  </a:lnTo>
                  <a:lnTo>
                    <a:pt x="532791" y="503158"/>
                  </a:lnTo>
                  <a:lnTo>
                    <a:pt x="526807" y="477346"/>
                  </a:lnTo>
                  <a:lnTo>
                    <a:pt x="545270" y="476769"/>
                  </a:lnTo>
                  <a:lnTo>
                    <a:pt x="561438" y="462664"/>
                  </a:lnTo>
                  <a:lnTo>
                    <a:pt x="564058" y="440111"/>
                  </a:lnTo>
                  <a:lnTo>
                    <a:pt x="541874" y="414189"/>
                  </a:lnTo>
                  <a:lnTo>
                    <a:pt x="563790" y="410844"/>
                  </a:lnTo>
                  <a:lnTo>
                    <a:pt x="568941" y="403705"/>
                  </a:lnTo>
                  <a:close/>
                </a:path>
                <a:path w="575945" h="550545" extrusionOk="0">
                  <a:moveTo>
                    <a:pt x="524026" y="516474"/>
                  </a:moveTo>
                  <a:lnTo>
                    <a:pt x="450119" y="516474"/>
                  </a:lnTo>
                  <a:lnTo>
                    <a:pt x="487260" y="535532"/>
                  </a:lnTo>
                  <a:lnTo>
                    <a:pt x="517213" y="526823"/>
                  </a:lnTo>
                  <a:lnTo>
                    <a:pt x="524026" y="516474"/>
                  </a:lnTo>
                  <a:close/>
                </a:path>
                <a:path w="575945" h="550545" extrusionOk="0">
                  <a:moveTo>
                    <a:pt x="132208" y="0"/>
                  </a:moveTo>
                  <a:lnTo>
                    <a:pt x="67901" y="31877"/>
                  </a:lnTo>
                  <a:lnTo>
                    <a:pt x="24036" y="72127"/>
                  </a:lnTo>
                  <a:lnTo>
                    <a:pt x="4517" y="118469"/>
                  </a:lnTo>
                  <a:lnTo>
                    <a:pt x="0" y="136820"/>
                  </a:lnTo>
                  <a:lnTo>
                    <a:pt x="33215" y="156951"/>
                  </a:lnTo>
                  <a:lnTo>
                    <a:pt x="72494" y="185625"/>
                  </a:lnTo>
                  <a:lnTo>
                    <a:pt x="109170" y="215634"/>
                  </a:lnTo>
                  <a:lnTo>
                    <a:pt x="134578" y="239769"/>
                  </a:lnTo>
                  <a:lnTo>
                    <a:pt x="145528" y="267799"/>
                  </a:lnTo>
                  <a:lnTo>
                    <a:pt x="144944" y="299316"/>
                  </a:lnTo>
                  <a:lnTo>
                    <a:pt x="144861" y="303826"/>
                  </a:lnTo>
                  <a:lnTo>
                    <a:pt x="139814" y="340171"/>
                  </a:lnTo>
                  <a:lnTo>
                    <a:pt x="137625" y="369155"/>
                  </a:lnTo>
                  <a:lnTo>
                    <a:pt x="148554" y="418888"/>
                  </a:lnTo>
                  <a:lnTo>
                    <a:pt x="171354" y="469355"/>
                  </a:lnTo>
                  <a:lnTo>
                    <a:pt x="200946" y="507694"/>
                  </a:lnTo>
                  <a:lnTo>
                    <a:pt x="232253" y="521045"/>
                  </a:lnTo>
                  <a:lnTo>
                    <a:pt x="256549" y="504852"/>
                  </a:lnTo>
                  <a:lnTo>
                    <a:pt x="254632" y="472910"/>
                  </a:lnTo>
                  <a:lnTo>
                    <a:pt x="244152" y="435701"/>
                  </a:lnTo>
                  <a:lnTo>
                    <a:pt x="242757" y="403705"/>
                  </a:lnTo>
                  <a:lnTo>
                    <a:pt x="568941" y="403705"/>
                  </a:lnTo>
                  <a:lnTo>
                    <a:pt x="575573" y="394511"/>
                  </a:lnTo>
                  <a:lnTo>
                    <a:pt x="573172" y="372522"/>
                  </a:lnTo>
                  <a:lnTo>
                    <a:pt x="552536" y="352208"/>
                  </a:lnTo>
                  <a:lnTo>
                    <a:pt x="552016" y="351869"/>
                  </a:lnTo>
                  <a:lnTo>
                    <a:pt x="551338" y="351711"/>
                  </a:lnTo>
                  <a:lnTo>
                    <a:pt x="550842" y="351372"/>
                  </a:lnTo>
                  <a:lnTo>
                    <a:pt x="495884" y="315980"/>
                  </a:lnTo>
                  <a:lnTo>
                    <a:pt x="459087" y="285165"/>
                  </a:lnTo>
                  <a:lnTo>
                    <a:pt x="430755" y="249575"/>
                  </a:lnTo>
                  <a:lnTo>
                    <a:pt x="412517" y="221280"/>
                  </a:lnTo>
                  <a:lnTo>
                    <a:pt x="403841" y="208487"/>
                  </a:lnTo>
                  <a:lnTo>
                    <a:pt x="367958" y="171909"/>
                  </a:lnTo>
                  <a:lnTo>
                    <a:pt x="311821" y="140464"/>
                  </a:lnTo>
                  <a:lnTo>
                    <a:pt x="271195" y="136142"/>
                  </a:lnTo>
                  <a:lnTo>
                    <a:pt x="224334" y="116157"/>
                  </a:lnTo>
                  <a:lnTo>
                    <a:pt x="180239" y="69469"/>
                  </a:lnTo>
                  <a:lnTo>
                    <a:pt x="146876" y="22082"/>
                  </a:lnTo>
                  <a:lnTo>
                    <a:pt x="132208" y="0"/>
                  </a:lnTo>
                  <a:close/>
                </a:path>
              </a:pathLst>
            </a:custGeom>
            <a:solidFill>
              <a:srgbClr val="F4AF3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763" name="Google Shape;4763;p16"/>
            <p:cNvPicPr preferRelativeResize="0"/>
            <p:nvPr/>
          </p:nvPicPr>
          <p:blipFill rotWithShape="1">
            <a:blip r:embed="rId1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50670" y="517270"/>
              <a:ext cx="204132" cy="19508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764" name="Google Shape;4764;p16"/>
            <p:cNvSpPr/>
            <p:nvPr/>
          </p:nvSpPr>
          <p:spPr>
            <a:xfrm>
              <a:off x="9610771" y="228376"/>
              <a:ext cx="492759" cy="439420"/>
            </a:xfrm>
            <a:custGeom>
              <a:avLst/>
              <a:gdLst/>
              <a:ahLst/>
              <a:cxnLst/>
              <a:rect l="l" t="t" r="r" b="b"/>
              <a:pathLst>
                <a:path w="492759" h="439420" extrusionOk="0">
                  <a:moveTo>
                    <a:pt x="155028" y="413014"/>
                  </a:moveTo>
                  <a:lnTo>
                    <a:pt x="99487" y="413014"/>
                  </a:lnTo>
                  <a:lnTo>
                    <a:pt x="95022" y="432050"/>
                  </a:lnTo>
                  <a:lnTo>
                    <a:pt x="107715" y="439127"/>
                  </a:lnTo>
                  <a:lnTo>
                    <a:pt x="129835" y="433532"/>
                  </a:lnTo>
                  <a:lnTo>
                    <a:pt x="153654" y="414551"/>
                  </a:lnTo>
                  <a:lnTo>
                    <a:pt x="155028" y="413014"/>
                  </a:lnTo>
                  <a:close/>
                </a:path>
                <a:path w="492759" h="439420" extrusionOk="0">
                  <a:moveTo>
                    <a:pt x="177333" y="388475"/>
                  </a:moveTo>
                  <a:lnTo>
                    <a:pt x="61900" y="388475"/>
                  </a:lnTo>
                  <a:lnTo>
                    <a:pt x="53037" y="412048"/>
                  </a:lnTo>
                  <a:lnTo>
                    <a:pt x="60694" y="426081"/>
                  </a:lnTo>
                  <a:lnTo>
                    <a:pt x="78351" y="427445"/>
                  </a:lnTo>
                  <a:lnTo>
                    <a:pt x="99487" y="413014"/>
                  </a:lnTo>
                  <a:lnTo>
                    <a:pt x="155028" y="413014"/>
                  </a:lnTo>
                  <a:lnTo>
                    <a:pt x="171359" y="394743"/>
                  </a:lnTo>
                  <a:lnTo>
                    <a:pt x="177333" y="388475"/>
                  </a:lnTo>
                  <a:close/>
                </a:path>
                <a:path w="492759" h="439420" extrusionOk="0">
                  <a:moveTo>
                    <a:pt x="211087" y="353925"/>
                  </a:moveTo>
                  <a:lnTo>
                    <a:pt x="34296" y="353925"/>
                  </a:lnTo>
                  <a:lnTo>
                    <a:pt x="18693" y="373426"/>
                  </a:lnTo>
                  <a:lnTo>
                    <a:pt x="20751" y="388475"/>
                  </a:lnTo>
                  <a:lnTo>
                    <a:pt x="20873" y="389367"/>
                  </a:lnTo>
                  <a:lnTo>
                    <a:pt x="36666" y="396225"/>
                  </a:lnTo>
                  <a:lnTo>
                    <a:pt x="61900" y="388475"/>
                  </a:lnTo>
                  <a:lnTo>
                    <a:pt x="177333" y="388475"/>
                  </a:lnTo>
                  <a:lnTo>
                    <a:pt x="195274" y="369649"/>
                  </a:lnTo>
                  <a:lnTo>
                    <a:pt x="211087" y="353925"/>
                  </a:lnTo>
                  <a:close/>
                </a:path>
                <a:path w="492759" h="439420" extrusionOk="0">
                  <a:moveTo>
                    <a:pt x="67436" y="194494"/>
                  </a:moveTo>
                  <a:lnTo>
                    <a:pt x="49850" y="196434"/>
                  </a:lnTo>
                  <a:lnTo>
                    <a:pt x="41253" y="203389"/>
                  </a:lnTo>
                  <a:lnTo>
                    <a:pt x="44940" y="220762"/>
                  </a:lnTo>
                  <a:lnTo>
                    <a:pt x="61916" y="235490"/>
                  </a:lnTo>
                  <a:lnTo>
                    <a:pt x="83120" y="245934"/>
                  </a:lnTo>
                  <a:lnTo>
                    <a:pt x="99487" y="250457"/>
                  </a:lnTo>
                  <a:lnTo>
                    <a:pt x="72130" y="266495"/>
                  </a:lnTo>
                  <a:lnTo>
                    <a:pt x="46875" y="283738"/>
                  </a:lnTo>
                  <a:lnTo>
                    <a:pt x="24734" y="301994"/>
                  </a:lnTo>
                  <a:lnTo>
                    <a:pt x="6716" y="321070"/>
                  </a:lnTo>
                  <a:lnTo>
                    <a:pt x="0" y="336274"/>
                  </a:lnTo>
                  <a:lnTo>
                    <a:pt x="3810" y="348607"/>
                  </a:lnTo>
                  <a:lnTo>
                    <a:pt x="15969" y="355385"/>
                  </a:lnTo>
                  <a:lnTo>
                    <a:pt x="34296" y="353925"/>
                  </a:lnTo>
                  <a:lnTo>
                    <a:pt x="211087" y="353925"/>
                  </a:lnTo>
                  <a:lnTo>
                    <a:pt x="250988" y="315986"/>
                  </a:lnTo>
                  <a:lnTo>
                    <a:pt x="280791" y="291150"/>
                  </a:lnTo>
                  <a:lnTo>
                    <a:pt x="345912" y="254832"/>
                  </a:lnTo>
                  <a:lnTo>
                    <a:pt x="406360" y="221847"/>
                  </a:lnTo>
                  <a:lnTo>
                    <a:pt x="440863" y="202626"/>
                  </a:lnTo>
                  <a:lnTo>
                    <a:pt x="175486" y="202626"/>
                  </a:lnTo>
                  <a:lnTo>
                    <a:pt x="147896" y="201462"/>
                  </a:lnTo>
                  <a:lnTo>
                    <a:pt x="91566" y="195855"/>
                  </a:lnTo>
                  <a:lnTo>
                    <a:pt x="67436" y="194494"/>
                  </a:lnTo>
                  <a:close/>
                </a:path>
                <a:path w="492759" h="439420" extrusionOk="0">
                  <a:moveTo>
                    <a:pt x="406555" y="0"/>
                  </a:moveTo>
                  <a:lnTo>
                    <a:pt x="337266" y="77232"/>
                  </a:lnTo>
                  <a:lnTo>
                    <a:pt x="289684" y="128978"/>
                  </a:lnTo>
                  <a:lnTo>
                    <a:pt x="247442" y="172417"/>
                  </a:lnTo>
                  <a:lnTo>
                    <a:pt x="200534" y="200867"/>
                  </a:lnTo>
                  <a:lnTo>
                    <a:pt x="175486" y="202626"/>
                  </a:lnTo>
                  <a:lnTo>
                    <a:pt x="440863" y="202626"/>
                  </a:lnTo>
                  <a:lnTo>
                    <a:pt x="492708" y="173584"/>
                  </a:lnTo>
                  <a:lnTo>
                    <a:pt x="492056" y="135174"/>
                  </a:lnTo>
                  <a:lnTo>
                    <a:pt x="486558" y="101799"/>
                  </a:lnTo>
                  <a:lnTo>
                    <a:pt x="465805" y="51994"/>
                  </a:lnTo>
                  <a:lnTo>
                    <a:pt x="425095" y="11886"/>
                  </a:lnTo>
                  <a:lnTo>
                    <a:pt x="406555" y="0"/>
                  </a:lnTo>
                  <a:close/>
                </a:path>
              </a:pathLst>
            </a:custGeom>
            <a:solidFill>
              <a:srgbClr val="F5BDD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765" name="Google Shape;4765;p16"/>
            <p:cNvPicPr preferRelativeResize="0"/>
            <p:nvPr/>
          </p:nvPicPr>
          <p:blipFill rotWithShape="1">
            <a:blip r:embed="rId17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41522" y="517270"/>
              <a:ext cx="138806" cy="12211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766" name="Google Shape;4766;p16"/>
            <p:cNvSpPr/>
            <p:nvPr/>
          </p:nvSpPr>
          <p:spPr>
            <a:xfrm>
              <a:off x="9287844" y="163186"/>
              <a:ext cx="845819" cy="750570"/>
            </a:xfrm>
            <a:custGeom>
              <a:avLst/>
              <a:gdLst/>
              <a:ahLst/>
              <a:cxnLst/>
              <a:rect l="l" t="t" r="r" b="b"/>
              <a:pathLst>
                <a:path w="845820" h="750569" extrusionOk="0">
                  <a:moveTo>
                    <a:pt x="243987" y="0"/>
                  </a:moveTo>
                  <a:lnTo>
                    <a:pt x="195908" y="4409"/>
                  </a:lnTo>
                  <a:lnTo>
                    <a:pt x="147832" y="17444"/>
                  </a:lnTo>
                  <a:lnTo>
                    <a:pt x="111520" y="33410"/>
                  </a:lnTo>
                  <a:lnTo>
                    <a:pt x="52039" y="76020"/>
                  </a:lnTo>
                  <a:lnTo>
                    <a:pt x="22950" y="115647"/>
                  </a:lnTo>
                  <a:lnTo>
                    <a:pt x="4620" y="169336"/>
                  </a:lnTo>
                  <a:lnTo>
                    <a:pt x="75" y="225454"/>
                  </a:lnTo>
                  <a:lnTo>
                    <a:pt x="0" y="244059"/>
                  </a:lnTo>
                  <a:lnTo>
                    <a:pt x="7399" y="295705"/>
                  </a:lnTo>
                  <a:lnTo>
                    <a:pt x="25671" y="355386"/>
                  </a:lnTo>
                  <a:lnTo>
                    <a:pt x="58113" y="421985"/>
                  </a:lnTo>
                  <a:lnTo>
                    <a:pt x="81952" y="459420"/>
                  </a:lnTo>
                  <a:lnTo>
                    <a:pt x="109553" y="496403"/>
                  </a:lnTo>
                  <a:lnTo>
                    <a:pt x="140892" y="532909"/>
                  </a:lnTo>
                  <a:lnTo>
                    <a:pt x="175942" y="568912"/>
                  </a:lnTo>
                  <a:lnTo>
                    <a:pt x="214679" y="604388"/>
                  </a:lnTo>
                  <a:lnTo>
                    <a:pt x="257077" y="639312"/>
                  </a:lnTo>
                  <a:lnTo>
                    <a:pt x="303112" y="673658"/>
                  </a:lnTo>
                  <a:lnTo>
                    <a:pt x="352759" y="707402"/>
                  </a:lnTo>
                  <a:lnTo>
                    <a:pt x="406828" y="741028"/>
                  </a:lnTo>
                  <a:lnTo>
                    <a:pt x="407506" y="741536"/>
                  </a:lnTo>
                  <a:lnTo>
                    <a:pt x="408364" y="741874"/>
                  </a:lnTo>
                  <a:lnTo>
                    <a:pt x="421895" y="750003"/>
                  </a:lnTo>
                  <a:lnTo>
                    <a:pt x="430523" y="745430"/>
                  </a:lnTo>
                  <a:lnTo>
                    <a:pt x="432895" y="745430"/>
                  </a:lnTo>
                  <a:lnTo>
                    <a:pt x="437978" y="741536"/>
                  </a:lnTo>
                  <a:lnTo>
                    <a:pt x="454132" y="732442"/>
                  </a:lnTo>
                  <a:lnTo>
                    <a:pt x="482025" y="715626"/>
                  </a:lnTo>
                  <a:lnTo>
                    <a:pt x="422911" y="715626"/>
                  </a:lnTo>
                  <a:lnTo>
                    <a:pt x="422572" y="715287"/>
                  </a:lnTo>
                  <a:lnTo>
                    <a:pt x="354311" y="672312"/>
                  </a:lnTo>
                  <a:lnTo>
                    <a:pt x="293944" y="629594"/>
                  </a:lnTo>
                  <a:lnTo>
                    <a:pt x="241046" y="587304"/>
                  </a:lnTo>
                  <a:lnTo>
                    <a:pt x="195192" y="545612"/>
                  </a:lnTo>
                  <a:lnTo>
                    <a:pt x="155956" y="504688"/>
                  </a:lnTo>
                  <a:lnTo>
                    <a:pt x="122914" y="464704"/>
                  </a:lnTo>
                  <a:lnTo>
                    <a:pt x="95640" y="425830"/>
                  </a:lnTo>
                  <a:lnTo>
                    <a:pt x="73709" y="388237"/>
                  </a:lnTo>
                  <a:lnTo>
                    <a:pt x="56696" y="352095"/>
                  </a:lnTo>
                  <a:lnTo>
                    <a:pt x="35721" y="284848"/>
                  </a:lnTo>
                  <a:lnTo>
                    <a:pt x="29314" y="225454"/>
                  </a:lnTo>
                  <a:lnTo>
                    <a:pt x="30400" y="201564"/>
                  </a:lnTo>
                  <a:lnTo>
                    <a:pt x="30511" y="199129"/>
                  </a:lnTo>
                  <a:lnTo>
                    <a:pt x="38354" y="157987"/>
                  </a:lnTo>
                  <a:lnTo>
                    <a:pt x="56590" y="117365"/>
                  </a:lnTo>
                  <a:lnTo>
                    <a:pt x="97153" y="77355"/>
                  </a:lnTo>
                  <a:lnTo>
                    <a:pt x="158157" y="45734"/>
                  </a:lnTo>
                  <a:lnTo>
                    <a:pt x="196343" y="35020"/>
                  </a:lnTo>
                  <a:lnTo>
                    <a:pt x="236602" y="30285"/>
                  </a:lnTo>
                  <a:lnTo>
                    <a:pt x="356560" y="30285"/>
                  </a:lnTo>
                  <a:lnTo>
                    <a:pt x="343585" y="22056"/>
                  </a:lnTo>
                  <a:lnTo>
                    <a:pt x="295984" y="5583"/>
                  </a:lnTo>
                  <a:lnTo>
                    <a:pt x="243987" y="0"/>
                  </a:lnTo>
                  <a:close/>
                </a:path>
                <a:path w="845820" h="750569" extrusionOk="0">
                  <a:moveTo>
                    <a:pt x="726881" y="30475"/>
                  </a:moveTo>
                  <a:lnTo>
                    <a:pt x="614894" y="30475"/>
                  </a:lnTo>
                  <a:lnTo>
                    <a:pt x="656093" y="36458"/>
                  </a:lnTo>
                  <a:lnTo>
                    <a:pt x="694825" y="48547"/>
                  </a:lnTo>
                  <a:lnTo>
                    <a:pt x="729640" y="65371"/>
                  </a:lnTo>
                  <a:lnTo>
                    <a:pt x="764475" y="90097"/>
                  </a:lnTo>
                  <a:lnTo>
                    <a:pt x="800047" y="139185"/>
                  </a:lnTo>
                  <a:lnTo>
                    <a:pt x="813985" y="200367"/>
                  </a:lnTo>
                  <a:lnTo>
                    <a:pt x="815816" y="238774"/>
                  </a:lnTo>
                  <a:lnTo>
                    <a:pt x="754062" y="426580"/>
                  </a:lnTo>
                  <a:lnTo>
                    <a:pt x="619042" y="577909"/>
                  </a:lnTo>
                  <a:lnTo>
                    <a:pt x="484182" y="678884"/>
                  </a:lnTo>
                  <a:lnTo>
                    <a:pt x="422911" y="715626"/>
                  </a:lnTo>
                  <a:lnTo>
                    <a:pt x="482025" y="715626"/>
                  </a:lnTo>
                  <a:lnTo>
                    <a:pt x="530222" y="684244"/>
                  </a:lnTo>
                  <a:lnTo>
                    <a:pt x="582375" y="646474"/>
                  </a:lnTo>
                  <a:lnTo>
                    <a:pt x="638744" y="600478"/>
                  </a:lnTo>
                  <a:lnTo>
                    <a:pt x="680808" y="561509"/>
                  </a:lnTo>
                  <a:lnTo>
                    <a:pt x="718321" y="522159"/>
                  </a:lnTo>
                  <a:lnTo>
                    <a:pt x="751171" y="482554"/>
                  </a:lnTo>
                  <a:lnTo>
                    <a:pt x="779245" y="442819"/>
                  </a:lnTo>
                  <a:lnTo>
                    <a:pt x="808086" y="391579"/>
                  </a:lnTo>
                  <a:lnTo>
                    <a:pt x="828801" y="340356"/>
                  </a:lnTo>
                  <a:lnTo>
                    <a:pt x="841330" y="289353"/>
                  </a:lnTo>
                  <a:lnTo>
                    <a:pt x="845610" y="238774"/>
                  </a:lnTo>
                  <a:lnTo>
                    <a:pt x="843905" y="201564"/>
                  </a:lnTo>
                  <a:lnTo>
                    <a:pt x="837653" y="159928"/>
                  </a:lnTo>
                  <a:lnTo>
                    <a:pt x="813941" y="100756"/>
                  </a:lnTo>
                  <a:lnTo>
                    <a:pt x="785109" y="68119"/>
                  </a:lnTo>
                  <a:lnTo>
                    <a:pt x="744707" y="39294"/>
                  </a:lnTo>
                  <a:lnTo>
                    <a:pt x="726881" y="30475"/>
                  </a:lnTo>
                  <a:close/>
                </a:path>
                <a:path w="845820" h="750569" extrusionOk="0">
                  <a:moveTo>
                    <a:pt x="356560" y="30285"/>
                  </a:moveTo>
                  <a:lnTo>
                    <a:pt x="236602" y="30285"/>
                  </a:lnTo>
                  <a:lnTo>
                    <a:pt x="277608" y="32779"/>
                  </a:lnTo>
                  <a:lnTo>
                    <a:pt x="318035" y="43753"/>
                  </a:lnTo>
                  <a:lnTo>
                    <a:pt x="356555" y="64456"/>
                  </a:lnTo>
                  <a:lnTo>
                    <a:pt x="391843" y="96138"/>
                  </a:lnTo>
                  <a:lnTo>
                    <a:pt x="422572" y="140051"/>
                  </a:lnTo>
                  <a:lnTo>
                    <a:pt x="454386" y="94972"/>
                  </a:lnTo>
                  <a:lnTo>
                    <a:pt x="464576" y="86024"/>
                  </a:lnTo>
                  <a:lnTo>
                    <a:pt x="422752" y="86024"/>
                  </a:lnTo>
                  <a:lnTo>
                    <a:pt x="386078" y="49008"/>
                  </a:lnTo>
                  <a:lnTo>
                    <a:pt x="356560" y="30285"/>
                  </a:lnTo>
                  <a:close/>
                </a:path>
                <a:path w="845820" h="750569" extrusionOk="0">
                  <a:moveTo>
                    <a:pt x="601337" y="0"/>
                  </a:moveTo>
                  <a:lnTo>
                    <a:pt x="549365" y="5583"/>
                  </a:lnTo>
                  <a:lnTo>
                    <a:pt x="501821" y="22056"/>
                  </a:lnTo>
                  <a:lnTo>
                    <a:pt x="459389" y="49008"/>
                  </a:lnTo>
                  <a:lnTo>
                    <a:pt x="422752" y="86024"/>
                  </a:lnTo>
                  <a:lnTo>
                    <a:pt x="464576" y="86024"/>
                  </a:lnTo>
                  <a:lnTo>
                    <a:pt x="490973" y="62844"/>
                  </a:lnTo>
                  <a:lnTo>
                    <a:pt x="530886" y="42298"/>
                  </a:lnTo>
                  <a:lnTo>
                    <a:pt x="572675" y="31965"/>
                  </a:lnTo>
                  <a:lnTo>
                    <a:pt x="614894" y="30475"/>
                  </a:lnTo>
                  <a:lnTo>
                    <a:pt x="726881" y="30475"/>
                  </a:lnTo>
                  <a:lnTo>
                    <a:pt x="710641" y="22440"/>
                  </a:lnTo>
                  <a:lnTo>
                    <a:pt x="674801" y="10123"/>
                  </a:lnTo>
                  <a:lnTo>
                    <a:pt x="638071" y="2568"/>
                  </a:lnTo>
                  <a:lnTo>
                    <a:pt x="601337" y="0"/>
                  </a:lnTo>
                  <a:close/>
                </a:path>
              </a:pathLst>
            </a:custGeom>
            <a:solidFill>
              <a:srgbClr val="FBF05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767" name="Google Shape;4767;p16"/>
          <p:cNvSpPr/>
          <p:nvPr/>
        </p:nvSpPr>
        <p:spPr>
          <a:xfrm>
            <a:off x="6743700" y="1885950"/>
            <a:ext cx="0" cy="571500"/>
          </a:xfrm>
          <a:custGeom>
            <a:avLst/>
            <a:gdLst/>
            <a:ahLst/>
            <a:cxnLst/>
            <a:rect l="l" t="t" r="r" b="b"/>
            <a:pathLst>
              <a:path w="120000" h="571500" extrusionOk="0">
                <a:moveTo>
                  <a:pt x="0" y="571500"/>
                </a:move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768" name="Google Shape;4768;p16"/>
          <p:cNvGrpSpPr/>
          <p:nvPr/>
        </p:nvGrpSpPr>
        <p:grpSpPr>
          <a:xfrm>
            <a:off x="5781675" y="4600696"/>
            <a:ext cx="5457825" cy="864895"/>
            <a:chOff x="5781675" y="4600575"/>
            <a:chExt cx="5457825" cy="752475"/>
          </a:xfrm>
        </p:grpSpPr>
        <p:sp>
          <p:nvSpPr>
            <p:cNvPr id="4769" name="Google Shape;4769;p16"/>
            <p:cNvSpPr/>
            <p:nvPr/>
          </p:nvSpPr>
          <p:spPr>
            <a:xfrm>
              <a:off x="5781675" y="4600575"/>
              <a:ext cx="5457825" cy="752475"/>
            </a:xfrm>
            <a:custGeom>
              <a:avLst/>
              <a:gdLst/>
              <a:ahLst/>
              <a:cxnLst/>
              <a:rect l="l" t="t" r="r" b="b"/>
              <a:pathLst>
                <a:path w="5457825" h="752475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593"/>
                  </a:lnTo>
                  <a:lnTo>
                    <a:pt x="21018" y="20843"/>
                  </a:lnTo>
                  <a:lnTo>
                    <a:pt x="5639" y="43451"/>
                  </a:lnTo>
                  <a:lnTo>
                    <a:pt x="0" y="71119"/>
                  </a:lnTo>
                  <a:lnTo>
                    <a:pt x="0" y="681355"/>
                  </a:lnTo>
                  <a:lnTo>
                    <a:pt x="5639" y="709023"/>
                  </a:lnTo>
                  <a:lnTo>
                    <a:pt x="21018" y="731631"/>
                  </a:lnTo>
                  <a:lnTo>
                    <a:pt x="43826" y="746881"/>
                  </a:lnTo>
                  <a:lnTo>
                    <a:pt x="71754" y="752475"/>
                  </a:lnTo>
                  <a:lnTo>
                    <a:pt x="5386070" y="752475"/>
                  </a:lnTo>
                  <a:lnTo>
                    <a:pt x="5413998" y="746881"/>
                  </a:lnTo>
                  <a:lnTo>
                    <a:pt x="5436806" y="731631"/>
                  </a:lnTo>
                  <a:lnTo>
                    <a:pt x="5452185" y="709023"/>
                  </a:lnTo>
                  <a:lnTo>
                    <a:pt x="5457825" y="681355"/>
                  </a:lnTo>
                  <a:lnTo>
                    <a:pt x="5457825" y="71119"/>
                  </a:lnTo>
                  <a:lnTo>
                    <a:pt x="5452185" y="43451"/>
                  </a:lnTo>
                  <a:lnTo>
                    <a:pt x="5436806" y="20843"/>
                  </a:lnTo>
                  <a:lnTo>
                    <a:pt x="5413998" y="5593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52BE9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770" name="Google Shape;4770;p16"/>
            <p:cNvSpPr/>
            <p:nvPr/>
          </p:nvSpPr>
          <p:spPr>
            <a:xfrm>
              <a:off x="6743700" y="4686300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4771" name="Google Shape;4771;p16"/>
          <p:cNvGrpSpPr/>
          <p:nvPr/>
        </p:nvGrpSpPr>
        <p:grpSpPr>
          <a:xfrm>
            <a:off x="5781675" y="3543300"/>
            <a:ext cx="5457825" cy="942975"/>
            <a:chOff x="5781675" y="3543300"/>
            <a:chExt cx="5457825" cy="942975"/>
          </a:xfrm>
        </p:grpSpPr>
        <p:sp>
          <p:nvSpPr>
            <p:cNvPr id="4772" name="Google Shape;4772;p16"/>
            <p:cNvSpPr/>
            <p:nvPr/>
          </p:nvSpPr>
          <p:spPr>
            <a:xfrm>
              <a:off x="5781675" y="3543300"/>
              <a:ext cx="5457825" cy="942975"/>
            </a:xfrm>
            <a:custGeom>
              <a:avLst/>
              <a:gdLst/>
              <a:ahLst/>
              <a:cxnLst/>
              <a:rect l="l" t="t" r="r" b="b"/>
              <a:pathLst>
                <a:path w="5457825" h="942975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39"/>
                  </a:lnTo>
                  <a:lnTo>
                    <a:pt x="21018" y="21018"/>
                  </a:lnTo>
                  <a:lnTo>
                    <a:pt x="5639" y="43826"/>
                  </a:lnTo>
                  <a:lnTo>
                    <a:pt x="0" y="71755"/>
                  </a:lnTo>
                  <a:lnTo>
                    <a:pt x="0" y="871219"/>
                  </a:lnTo>
                  <a:lnTo>
                    <a:pt x="5639" y="899148"/>
                  </a:lnTo>
                  <a:lnTo>
                    <a:pt x="21018" y="921956"/>
                  </a:lnTo>
                  <a:lnTo>
                    <a:pt x="43826" y="937335"/>
                  </a:lnTo>
                  <a:lnTo>
                    <a:pt x="71754" y="942975"/>
                  </a:lnTo>
                  <a:lnTo>
                    <a:pt x="5386070" y="942975"/>
                  </a:lnTo>
                  <a:lnTo>
                    <a:pt x="5413998" y="937335"/>
                  </a:lnTo>
                  <a:lnTo>
                    <a:pt x="5436806" y="921956"/>
                  </a:lnTo>
                  <a:lnTo>
                    <a:pt x="5452185" y="899148"/>
                  </a:lnTo>
                  <a:lnTo>
                    <a:pt x="5457825" y="871219"/>
                  </a:lnTo>
                  <a:lnTo>
                    <a:pt x="5457825" y="71755"/>
                  </a:lnTo>
                  <a:lnTo>
                    <a:pt x="5452185" y="43826"/>
                  </a:lnTo>
                  <a:lnTo>
                    <a:pt x="5436806" y="21018"/>
                  </a:lnTo>
                  <a:lnTo>
                    <a:pt x="5413998" y="5639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BC4291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773" name="Google Shape;4773;p16"/>
            <p:cNvSpPr/>
            <p:nvPr/>
          </p:nvSpPr>
          <p:spPr>
            <a:xfrm>
              <a:off x="6743700" y="3743325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774" name="Google Shape;4774;p16"/>
          <p:cNvSpPr/>
          <p:nvPr/>
        </p:nvSpPr>
        <p:spPr>
          <a:xfrm>
            <a:off x="685800" y="3228975"/>
            <a:ext cx="3819525" cy="714375"/>
          </a:xfrm>
          <a:custGeom>
            <a:avLst/>
            <a:gdLst/>
            <a:ahLst/>
            <a:cxnLst/>
            <a:rect l="l" t="t" r="r" b="b"/>
            <a:pathLst>
              <a:path w="3819525" h="714375" extrusionOk="0">
                <a:moveTo>
                  <a:pt x="79425" y="0"/>
                </a:moveTo>
                <a:lnTo>
                  <a:pt x="3740150" y="0"/>
                </a:lnTo>
                <a:lnTo>
                  <a:pt x="3771036" y="6175"/>
                </a:lnTo>
                <a:lnTo>
                  <a:pt x="3796268" y="23018"/>
                </a:lnTo>
                <a:lnTo>
                  <a:pt x="3813284" y="48005"/>
                </a:lnTo>
                <a:lnTo>
                  <a:pt x="3819525" y="78612"/>
                </a:lnTo>
                <a:lnTo>
                  <a:pt x="3819525" y="635762"/>
                </a:lnTo>
                <a:lnTo>
                  <a:pt x="3806184" y="679410"/>
                </a:lnTo>
                <a:lnTo>
                  <a:pt x="3770503" y="708406"/>
                </a:lnTo>
                <a:lnTo>
                  <a:pt x="3740150" y="714375"/>
                </a:lnTo>
                <a:lnTo>
                  <a:pt x="79425" y="714375"/>
                </a:lnTo>
                <a:lnTo>
                  <a:pt x="35363" y="701194"/>
                </a:lnTo>
                <a:lnTo>
                  <a:pt x="6046" y="665860"/>
                </a:lnTo>
                <a:lnTo>
                  <a:pt x="0" y="635762"/>
                </a:lnTo>
                <a:lnTo>
                  <a:pt x="0" y="78612"/>
                </a:lnTo>
                <a:lnTo>
                  <a:pt x="13346" y="34964"/>
                </a:lnTo>
                <a:lnTo>
                  <a:pt x="49031" y="5968"/>
                </a:lnTo>
                <a:lnTo>
                  <a:pt x="79425" y="0"/>
                </a:lnTo>
                <a:close/>
              </a:path>
            </a:pathLst>
          </a:custGeom>
          <a:noFill/>
          <a:ln w="57150" cap="flat" cmpd="sng">
            <a:solidFill>
              <a:srgbClr val="BC429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775" name="Google Shape;4775;p16"/>
          <p:cNvGrpSpPr/>
          <p:nvPr/>
        </p:nvGrpSpPr>
        <p:grpSpPr>
          <a:xfrm>
            <a:off x="666750" y="4972050"/>
            <a:ext cx="3810000" cy="981075"/>
            <a:chOff x="666750" y="4972050"/>
            <a:chExt cx="3810000" cy="981075"/>
          </a:xfrm>
        </p:grpSpPr>
        <p:sp>
          <p:nvSpPr>
            <p:cNvPr id="4776" name="Google Shape;4776;p16"/>
            <p:cNvSpPr/>
            <p:nvPr/>
          </p:nvSpPr>
          <p:spPr>
            <a:xfrm>
              <a:off x="666750" y="4972050"/>
              <a:ext cx="3810000" cy="981075"/>
            </a:xfrm>
            <a:custGeom>
              <a:avLst/>
              <a:gdLst/>
              <a:ahLst/>
              <a:cxnLst/>
              <a:rect l="l" t="t" r="r" b="b"/>
              <a:pathLst>
                <a:path w="3810000" h="981075" extrusionOk="0">
                  <a:moveTo>
                    <a:pt x="3730498" y="0"/>
                  </a:moveTo>
                  <a:lnTo>
                    <a:pt x="79489" y="0"/>
                  </a:lnTo>
                  <a:lnTo>
                    <a:pt x="48547" y="6284"/>
                  </a:lnTo>
                  <a:lnTo>
                    <a:pt x="23280" y="23415"/>
                  </a:lnTo>
                  <a:lnTo>
                    <a:pt x="6246" y="48809"/>
                  </a:lnTo>
                  <a:lnTo>
                    <a:pt x="0" y="79882"/>
                  </a:lnTo>
                  <a:lnTo>
                    <a:pt x="0" y="901179"/>
                  </a:lnTo>
                  <a:lnTo>
                    <a:pt x="13351" y="945504"/>
                  </a:lnTo>
                  <a:lnTo>
                    <a:pt x="49069" y="974991"/>
                  </a:lnTo>
                  <a:lnTo>
                    <a:pt x="79489" y="981075"/>
                  </a:lnTo>
                  <a:lnTo>
                    <a:pt x="3730498" y="981075"/>
                  </a:lnTo>
                  <a:lnTo>
                    <a:pt x="3761458" y="974795"/>
                  </a:lnTo>
                  <a:lnTo>
                    <a:pt x="3786727" y="957672"/>
                  </a:lnTo>
                  <a:lnTo>
                    <a:pt x="3803757" y="932276"/>
                  </a:lnTo>
                  <a:lnTo>
                    <a:pt x="3810000" y="901179"/>
                  </a:lnTo>
                  <a:lnTo>
                    <a:pt x="3810000" y="79882"/>
                  </a:lnTo>
                  <a:lnTo>
                    <a:pt x="3803757" y="48809"/>
                  </a:lnTo>
                  <a:lnTo>
                    <a:pt x="3786727" y="23415"/>
                  </a:lnTo>
                  <a:lnTo>
                    <a:pt x="3761458" y="6284"/>
                  </a:lnTo>
                  <a:lnTo>
                    <a:pt x="373049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777" name="Google Shape;4777;p16"/>
            <p:cNvSpPr/>
            <p:nvPr/>
          </p:nvSpPr>
          <p:spPr>
            <a:xfrm>
              <a:off x="666750" y="4972050"/>
              <a:ext cx="3810000" cy="981075"/>
            </a:xfrm>
            <a:custGeom>
              <a:avLst/>
              <a:gdLst/>
              <a:ahLst/>
              <a:cxnLst/>
              <a:rect l="l" t="t" r="r" b="b"/>
              <a:pathLst>
                <a:path w="3810000" h="981075" extrusionOk="0">
                  <a:moveTo>
                    <a:pt x="79489" y="0"/>
                  </a:moveTo>
                  <a:lnTo>
                    <a:pt x="3730498" y="0"/>
                  </a:lnTo>
                  <a:lnTo>
                    <a:pt x="3761458" y="6284"/>
                  </a:lnTo>
                  <a:lnTo>
                    <a:pt x="3786727" y="23415"/>
                  </a:lnTo>
                  <a:lnTo>
                    <a:pt x="3803757" y="48809"/>
                  </a:lnTo>
                  <a:lnTo>
                    <a:pt x="3810000" y="79882"/>
                  </a:lnTo>
                  <a:lnTo>
                    <a:pt x="3810000" y="901179"/>
                  </a:lnTo>
                  <a:lnTo>
                    <a:pt x="3803757" y="932276"/>
                  </a:lnTo>
                  <a:lnTo>
                    <a:pt x="3786727" y="957672"/>
                  </a:lnTo>
                  <a:lnTo>
                    <a:pt x="3761458" y="974795"/>
                  </a:lnTo>
                  <a:lnTo>
                    <a:pt x="3730498" y="981075"/>
                  </a:lnTo>
                  <a:lnTo>
                    <a:pt x="79489" y="981075"/>
                  </a:lnTo>
                  <a:lnTo>
                    <a:pt x="35387" y="967648"/>
                  </a:lnTo>
                  <a:lnTo>
                    <a:pt x="6048" y="931752"/>
                  </a:lnTo>
                  <a:lnTo>
                    <a:pt x="0" y="901179"/>
                  </a:lnTo>
                  <a:lnTo>
                    <a:pt x="0" y="79882"/>
                  </a:lnTo>
                  <a:lnTo>
                    <a:pt x="6246" y="48809"/>
                  </a:lnTo>
                  <a:lnTo>
                    <a:pt x="23280" y="23415"/>
                  </a:lnTo>
                  <a:lnTo>
                    <a:pt x="48547" y="6284"/>
                  </a:lnTo>
                  <a:lnTo>
                    <a:pt x="79489" y="0"/>
                  </a:lnTo>
                  <a:close/>
                </a:path>
              </a:pathLst>
            </a:custGeom>
            <a:noFill/>
            <a:ln w="57150" cap="flat" cmpd="sng">
              <a:solidFill>
                <a:srgbClr val="F4AF3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778" name="Google Shape;4778;p16"/>
          <p:cNvSpPr/>
          <p:nvPr/>
        </p:nvSpPr>
        <p:spPr>
          <a:xfrm>
            <a:off x="5781675" y="5505450"/>
            <a:ext cx="1485900" cy="0"/>
          </a:xfrm>
          <a:custGeom>
            <a:avLst/>
            <a:gdLst/>
            <a:ahLst/>
            <a:cxnLst/>
            <a:rect l="l" t="t" r="r" b="b"/>
            <a:pathLst>
              <a:path w="1485900" h="120000" extrusionOk="0">
                <a:moveTo>
                  <a:pt x="0" y="0"/>
                </a:moveTo>
                <a:lnTo>
                  <a:pt x="1485900" y="0"/>
                </a:lnTo>
              </a:path>
            </a:pathLst>
          </a:custGeom>
          <a:noFill/>
          <a:ln w="381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779" name="Google Shape;4779;p16"/>
          <p:cNvGrpSpPr/>
          <p:nvPr/>
        </p:nvGrpSpPr>
        <p:grpSpPr>
          <a:xfrm>
            <a:off x="5781675" y="5581650"/>
            <a:ext cx="5457825" cy="742950"/>
            <a:chOff x="5781675" y="5581650"/>
            <a:chExt cx="5457825" cy="742950"/>
          </a:xfrm>
        </p:grpSpPr>
        <p:sp>
          <p:nvSpPr>
            <p:cNvPr id="4780" name="Google Shape;4780;p16"/>
            <p:cNvSpPr/>
            <p:nvPr/>
          </p:nvSpPr>
          <p:spPr>
            <a:xfrm>
              <a:off x="5781675" y="5581650"/>
              <a:ext cx="5457825" cy="742950"/>
            </a:xfrm>
            <a:custGeom>
              <a:avLst/>
              <a:gdLst/>
              <a:ahLst/>
              <a:cxnLst/>
              <a:rect l="l" t="t" r="r" b="b"/>
              <a:pathLst>
                <a:path w="5457825" h="742950" extrusionOk="0">
                  <a:moveTo>
                    <a:pt x="5457825" y="0"/>
                  </a:moveTo>
                  <a:lnTo>
                    <a:pt x="0" y="0"/>
                  </a:lnTo>
                  <a:lnTo>
                    <a:pt x="0" y="742950"/>
                  </a:lnTo>
                  <a:lnTo>
                    <a:pt x="5457825" y="742950"/>
                  </a:lnTo>
                  <a:lnTo>
                    <a:pt x="5457825" y="0"/>
                  </a:lnTo>
                  <a:close/>
                </a:path>
              </a:pathLst>
            </a:custGeom>
            <a:solidFill>
              <a:srgbClr val="F4AF3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781" name="Google Shape;4781;p16"/>
            <p:cNvSpPr/>
            <p:nvPr/>
          </p:nvSpPr>
          <p:spPr>
            <a:xfrm>
              <a:off x="6753225" y="5705475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4782" name="Google Shape;4782;p16"/>
          <p:cNvGrpSpPr/>
          <p:nvPr/>
        </p:nvGrpSpPr>
        <p:grpSpPr>
          <a:xfrm>
            <a:off x="5953870" y="1258201"/>
            <a:ext cx="665403" cy="417962"/>
            <a:chOff x="5953870" y="1258201"/>
            <a:chExt cx="665403" cy="417962"/>
          </a:xfrm>
        </p:grpSpPr>
        <p:pic>
          <p:nvPicPr>
            <p:cNvPr id="4783" name="Google Shape;4783;p16"/>
            <p:cNvPicPr preferRelativeResize="0"/>
            <p:nvPr/>
          </p:nvPicPr>
          <p:blipFill rotWithShape="1">
            <a:blip r:embed="rId18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92074" y="1296309"/>
              <a:ext cx="136309" cy="13584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784" name="Google Shape;4784;p16"/>
            <p:cNvSpPr/>
            <p:nvPr/>
          </p:nvSpPr>
          <p:spPr>
            <a:xfrm>
              <a:off x="6286533" y="1345328"/>
              <a:ext cx="332740" cy="330835"/>
            </a:xfrm>
            <a:custGeom>
              <a:avLst/>
              <a:gdLst/>
              <a:ahLst/>
              <a:cxnLst/>
              <a:rect l="l" t="t" r="r" b="b"/>
              <a:pathLst>
                <a:path w="332740" h="330835" extrusionOk="0">
                  <a:moveTo>
                    <a:pt x="28940" y="0"/>
                  </a:moveTo>
                  <a:lnTo>
                    <a:pt x="29987" y="4686"/>
                  </a:lnTo>
                  <a:lnTo>
                    <a:pt x="29880" y="9690"/>
                  </a:lnTo>
                  <a:lnTo>
                    <a:pt x="28390" y="14677"/>
                  </a:lnTo>
                  <a:lnTo>
                    <a:pt x="11160" y="57648"/>
                  </a:lnTo>
                  <a:lnTo>
                    <a:pt x="0" y="76923"/>
                  </a:lnTo>
                  <a:lnTo>
                    <a:pt x="16989" y="99638"/>
                  </a:lnTo>
                  <a:lnTo>
                    <a:pt x="36463" y="119202"/>
                  </a:lnTo>
                  <a:lnTo>
                    <a:pt x="58294" y="135513"/>
                  </a:lnTo>
                  <a:lnTo>
                    <a:pt x="82349" y="148471"/>
                  </a:lnTo>
                  <a:lnTo>
                    <a:pt x="84372" y="149373"/>
                  </a:lnTo>
                  <a:lnTo>
                    <a:pt x="85667" y="151371"/>
                  </a:lnTo>
                  <a:lnTo>
                    <a:pt x="85668" y="324552"/>
                  </a:lnTo>
                  <a:lnTo>
                    <a:pt x="91364" y="330220"/>
                  </a:lnTo>
                  <a:lnTo>
                    <a:pt x="249267" y="330220"/>
                  </a:lnTo>
                  <a:lnTo>
                    <a:pt x="254945" y="324552"/>
                  </a:lnTo>
                  <a:lnTo>
                    <a:pt x="254945" y="209152"/>
                  </a:lnTo>
                  <a:lnTo>
                    <a:pt x="257429" y="208685"/>
                  </a:lnTo>
                  <a:lnTo>
                    <a:pt x="269096" y="252149"/>
                  </a:lnTo>
                  <a:lnTo>
                    <a:pt x="273576" y="294691"/>
                  </a:lnTo>
                  <a:lnTo>
                    <a:pt x="276315" y="305672"/>
                  </a:lnTo>
                  <a:lnTo>
                    <a:pt x="282726" y="314556"/>
                  </a:lnTo>
                  <a:lnTo>
                    <a:pt x="291934" y="320502"/>
                  </a:lnTo>
                  <a:lnTo>
                    <a:pt x="303067" y="322671"/>
                  </a:lnTo>
                  <a:lnTo>
                    <a:pt x="315037" y="320196"/>
                  </a:lnTo>
                  <a:lnTo>
                    <a:pt x="324584" y="313489"/>
                  </a:lnTo>
                  <a:lnTo>
                    <a:pt x="330793" y="303623"/>
                  </a:lnTo>
                  <a:lnTo>
                    <a:pt x="332646" y="291674"/>
                  </a:lnTo>
                  <a:lnTo>
                    <a:pt x="330560" y="265398"/>
                  </a:lnTo>
                  <a:lnTo>
                    <a:pt x="322510" y="218581"/>
                  </a:lnTo>
                  <a:lnTo>
                    <a:pt x="307908" y="176641"/>
                  </a:lnTo>
                  <a:lnTo>
                    <a:pt x="285272" y="141363"/>
                  </a:lnTo>
                  <a:lnTo>
                    <a:pt x="250758" y="114432"/>
                  </a:lnTo>
                  <a:lnTo>
                    <a:pt x="203096" y="103452"/>
                  </a:lnTo>
                  <a:lnTo>
                    <a:pt x="175558" y="103890"/>
                  </a:lnTo>
                  <a:lnTo>
                    <a:pt x="164110" y="104657"/>
                  </a:lnTo>
                  <a:lnTo>
                    <a:pt x="152904" y="105073"/>
                  </a:lnTo>
                  <a:lnTo>
                    <a:pt x="103587" y="93315"/>
                  </a:lnTo>
                  <a:lnTo>
                    <a:pt x="59085" y="57923"/>
                  </a:lnTo>
                  <a:lnTo>
                    <a:pt x="38030" y="23698"/>
                  </a:lnTo>
                  <a:lnTo>
                    <a:pt x="31406" y="7417"/>
                  </a:lnTo>
                  <a:lnTo>
                    <a:pt x="28940" y="0"/>
                  </a:lnTo>
                  <a:close/>
                </a:path>
              </a:pathLst>
            </a:custGeom>
            <a:solidFill>
              <a:srgbClr val="29ABE1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785" name="Google Shape;4785;p16"/>
            <p:cNvSpPr/>
            <p:nvPr/>
          </p:nvSpPr>
          <p:spPr>
            <a:xfrm>
              <a:off x="5953870" y="1345328"/>
              <a:ext cx="332740" cy="330835"/>
            </a:xfrm>
            <a:custGeom>
              <a:avLst/>
              <a:gdLst/>
              <a:ahLst/>
              <a:cxnLst/>
              <a:rect l="l" t="t" r="r" b="b"/>
              <a:pathLst>
                <a:path w="332739" h="330835" extrusionOk="0">
                  <a:moveTo>
                    <a:pt x="303704" y="0"/>
                  </a:moveTo>
                  <a:lnTo>
                    <a:pt x="273562" y="57923"/>
                  </a:lnTo>
                  <a:lnTo>
                    <a:pt x="229065" y="93315"/>
                  </a:lnTo>
                  <a:lnTo>
                    <a:pt x="190739" y="104592"/>
                  </a:lnTo>
                  <a:lnTo>
                    <a:pt x="179761" y="104881"/>
                  </a:lnTo>
                  <a:lnTo>
                    <a:pt x="168557" y="104440"/>
                  </a:lnTo>
                  <a:lnTo>
                    <a:pt x="157100" y="103890"/>
                  </a:lnTo>
                  <a:lnTo>
                    <a:pt x="129689" y="103982"/>
                  </a:lnTo>
                  <a:lnTo>
                    <a:pt x="81933" y="114608"/>
                  </a:lnTo>
                  <a:lnTo>
                    <a:pt x="47373" y="141363"/>
                  </a:lnTo>
                  <a:lnTo>
                    <a:pt x="24736" y="176641"/>
                  </a:lnTo>
                  <a:lnTo>
                    <a:pt x="10139" y="218581"/>
                  </a:lnTo>
                  <a:lnTo>
                    <a:pt x="2085" y="265398"/>
                  </a:lnTo>
                  <a:lnTo>
                    <a:pt x="0" y="291674"/>
                  </a:lnTo>
                  <a:lnTo>
                    <a:pt x="1851" y="303623"/>
                  </a:lnTo>
                  <a:lnTo>
                    <a:pt x="8061" y="313489"/>
                  </a:lnTo>
                  <a:lnTo>
                    <a:pt x="17610" y="320196"/>
                  </a:lnTo>
                  <a:lnTo>
                    <a:pt x="29479" y="322671"/>
                  </a:lnTo>
                  <a:lnTo>
                    <a:pt x="59074" y="294691"/>
                  </a:lnTo>
                  <a:lnTo>
                    <a:pt x="60799" y="272512"/>
                  </a:lnTo>
                  <a:lnTo>
                    <a:pt x="63555" y="252149"/>
                  </a:lnTo>
                  <a:lnTo>
                    <a:pt x="72996" y="214524"/>
                  </a:lnTo>
                  <a:lnTo>
                    <a:pt x="75423" y="208193"/>
                  </a:lnTo>
                  <a:lnTo>
                    <a:pt x="77700" y="208634"/>
                  </a:lnTo>
                  <a:lnTo>
                    <a:pt x="77700" y="324552"/>
                  </a:lnTo>
                  <a:lnTo>
                    <a:pt x="83387" y="330220"/>
                  </a:lnTo>
                  <a:lnTo>
                    <a:pt x="241299" y="330220"/>
                  </a:lnTo>
                  <a:lnTo>
                    <a:pt x="246977" y="324552"/>
                  </a:lnTo>
                  <a:lnTo>
                    <a:pt x="246977" y="151300"/>
                  </a:lnTo>
                  <a:lnTo>
                    <a:pt x="248237" y="149408"/>
                  </a:lnTo>
                  <a:lnTo>
                    <a:pt x="296132" y="119251"/>
                  </a:lnTo>
                  <a:lnTo>
                    <a:pt x="332663" y="76923"/>
                  </a:lnTo>
                  <a:lnTo>
                    <a:pt x="328688" y="70787"/>
                  </a:lnTo>
                  <a:lnTo>
                    <a:pt x="324962" y="64368"/>
                  </a:lnTo>
                  <a:lnTo>
                    <a:pt x="307403" y="24502"/>
                  </a:lnTo>
                  <a:lnTo>
                    <a:pt x="302675" y="4686"/>
                  </a:lnTo>
                  <a:lnTo>
                    <a:pt x="303704" y="0"/>
                  </a:lnTo>
                  <a:close/>
                </a:path>
              </a:pathLst>
            </a:custGeom>
            <a:solidFill>
              <a:srgbClr val="FFC54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786" name="Google Shape;4786;p16"/>
            <p:cNvSpPr/>
            <p:nvPr/>
          </p:nvSpPr>
          <p:spPr>
            <a:xfrm>
              <a:off x="6256546" y="1322198"/>
              <a:ext cx="60325" cy="100330"/>
            </a:xfrm>
            <a:custGeom>
              <a:avLst/>
              <a:gdLst/>
              <a:ahLst/>
              <a:cxnLst/>
              <a:rect l="l" t="t" r="r" b="b"/>
              <a:pathLst>
                <a:path w="60325" h="100330" extrusionOk="0">
                  <a:moveTo>
                    <a:pt x="30697" y="0"/>
                  </a:moveTo>
                  <a:lnTo>
                    <a:pt x="29312" y="0"/>
                  </a:lnTo>
                  <a:lnTo>
                    <a:pt x="20130" y="1689"/>
                  </a:lnTo>
                  <a:lnTo>
                    <a:pt x="0" y="27816"/>
                  </a:lnTo>
                  <a:lnTo>
                    <a:pt x="88" y="32820"/>
                  </a:lnTo>
                  <a:lnTo>
                    <a:pt x="13281" y="69292"/>
                  </a:lnTo>
                  <a:lnTo>
                    <a:pt x="29987" y="100053"/>
                  </a:lnTo>
                  <a:lnTo>
                    <a:pt x="33944" y="93917"/>
                  </a:lnTo>
                  <a:lnTo>
                    <a:pt x="51353" y="58185"/>
                  </a:lnTo>
                  <a:lnTo>
                    <a:pt x="59974" y="27816"/>
                  </a:lnTo>
                  <a:lnTo>
                    <a:pt x="58927" y="23130"/>
                  </a:lnTo>
                  <a:lnTo>
                    <a:pt x="30697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787" name="Google Shape;4787;p16"/>
            <p:cNvPicPr preferRelativeResize="0"/>
            <p:nvPr/>
          </p:nvPicPr>
          <p:blipFill rotWithShape="1">
            <a:blip r:embed="rId19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44665" y="1296309"/>
              <a:ext cx="136309" cy="13584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788" name="Google Shape;4788;p16"/>
            <p:cNvSpPr/>
            <p:nvPr/>
          </p:nvSpPr>
          <p:spPr>
            <a:xfrm>
              <a:off x="6223978" y="1258201"/>
              <a:ext cx="127000" cy="58419"/>
            </a:xfrm>
            <a:custGeom>
              <a:avLst/>
              <a:gdLst/>
              <a:ahLst/>
              <a:cxnLst/>
              <a:rect l="l" t="t" r="r" b="b"/>
              <a:pathLst>
                <a:path w="127000" h="58419" extrusionOk="0">
                  <a:moveTo>
                    <a:pt x="36525" y="50761"/>
                  </a:moveTo>
                  <a:lnTo>
                    <a:pt x="35471" y="46723"/>
                  </a:lnTo>
                  <a:lnTo>
                    <a:pt x="7708" y="30505"/>
                  </a:lnTo>
                  <a:lnTo>
                    <a:pt x="3670" y="31572"/>
                  </a:lnTo>
                  <a:lnTo>
                    <a:pt x="0" y="37807"/>
                  </a:lnTo>
                  <a:lnTo>
                    <a:pt x="1054" y="41833"/>
                  </a:lnTo>
                  <a:lnTo>
                    <a:pt x="25692" y="56210"/>
                  </a:lnTo>
                  <a:lnTo>
                    <a:pt x="28816" y="58039"/>
                  </a:lnTo>
                  <a:lnTo>
                    <a:pt x="32842" y="56997"/>
                  </a:lnTo>
                  <a:lnTo>
                    <a:pt x="36525" y="50761"/>
                  </a:lnTo>
                  <a:close/>
                </a:path>
                <a:path w="127000" h="58419" extrusionOk="0">
                  <a:moveTo>
                    <a:pt x="69113" y="2946"/>
                  </a:moveTo>
                  <a:lnTo>
                    <a:pt x="66167" y="0"/>
                  </a:lnTo>
                  <a:lnTo>
                    <a:pt x="58915" y="0"/>
                  </a:lnTo>
                  <a:lnTo>
                    <a:pt x="55968" y="2946"/>
                  </a:lnTo>
                  <a:lnTo>
                    <a:pt x="55968" y="35013"/>
                  </a:lnTo>
                  <a:lnTo>
                    <a:pt x="58915" y="37960"/>
                  </a:lnTo>
                  <a:lnTo>
                    <a:pt x="62547" y="37960"/>
                  </a:lnTo>
                  <a:lnTo>
                    <a:pt x="66167" y="37960"/>
                  </a:lnTo>
                  <a:lnTo>
                    <a:pt x="69113" y="35013"/>
                  </a:lnTo>
                  <a:lnTo>
                    <a:pt x="69113" y="2946"/>
                  </a:lnTo>
                  <a:close/>
                </a:path>
                <a:path w="127000" h="58419" extrusionOk="0">
                  <a:moveTo>
                    <a:pt x="126530" y="37807"/>
                  </a:moveTo>
                  <a:lnTo>
                    <a:pt x="122859" y="31572"/>
                  </a:lnTo>
                  <a:lnTo>
                    <a:pt x="118833" y="30505"/>
                  </a:lnTo>
                  <a:lnTo>
                    <a:pt x="91059" y="46723"/>
                  </a:lnTo>
                  <a:lnTo>
                    <a:pt x="90017" y="50761"/>
                  </a:lnTo>
                  <a:lnTo>
                    <a:pt x="91846" y="53873"/>
                  </a:lnTo>
                  <a:lnTo>
                    <a:pt x="93687" y="56997"/>
                  </a:lnTo>
                  <a:lnTo>
                    <a:pt x="97713" y="58039"/>
                  </a:lnTo>
                  <a:lnTo>
                    <a:pt x="125488" y="41833"/>
                  </a:lnTo>
                  <a:lnTo>
                    <a:pt x="126530" y="37807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4789" name="Google Shape;4789;p16"/>
          <p:cNvGrpSpPr/>
          <p:nvPr/>
        </p:nvGrpSpPr>
        <p:grpSpPr>
          <a:xfrm>
            <a:off x="6041452" y="1897738"/>
            <a:ext cx="490921" cy="548120"/>
            <a:chOff x="6041452" y="1897738"/>
            <a:chExt cx="490921" cy="548120"/>
          </a:xfrm>
        </p:grpSpPr>
        <p:pic>
          <p:nvPicPr>
            <p:cNvPr id="4790" name="Google Shape;4790;p16"/>
            <p:cNvPicPr preferRelativeResize="0"/>
            <p:nvPr/>
          </p:nvPicPr>
          <p:blipFill rotWithShape="1">
            <a:blip r:embed="rId20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168149" y="1897738"/>
              <a:ext cx="101360" cy="10252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791" name="Google Shape;4791;p16"/>
            <p:cNvSpPr/>
            <p:nvPr/>
          </p:nvSpPr>
          <p:spPr>
            <a:xfrm>
              <a:off x="6041452" y="1980610"/>
              <a:ext cx="160655" cy="464820"/>
            </a:xfrm>
            <a:custGeom>
              <a:avLst/>
              <a:gdLst/>
              <a:ahLst/>
              <a:cxnLst/>
              <a:rect l="l" t="t" r="r" b="b"/>
              <a:pathLst>
                <a:path w="160654" h="464819" extrusionOk="0">
                  <a:moveTo>
                    <a:pt x="63222" y="461962"/>
                  </a:moveTo>
                  <a:lnTo>
                    <a:pt x="29150" y="461962"/>
                  </a:lnTo>
                  <a:lnTo>
                    <a:pt x="34631" y="464338"/>
                  </a:lnTo>
                  <a:lnTo>
                    <a:pt x="54479" y="464338"/>
                  </a:lnTo>
                  <a:lnTo>
                    <a:pt x="63222" y="461962"/>
                  </a:lnTo>
                  <a:close/>
                </a:path>
                <a:path w="160654" h="464819" extrusionOk="0">
                  <a:moveTo>
                    <a:pt x="138099" y="270828"/>
                  </a:moveTo>
                  <a:lnTo>
                    <a:pt x="87424" y="270828"/>
                  </a:lnTo>
                  <a:lnTo>
                    <a:pt x="108540" y="278946"/>
                  </a:lnTo>
                  <a:lnTo>
                    <a:pt x="111497" y="280225"/>
                  </a:lnTo>
                  <a:lnTo>
                    <a:pt x="114873" y="280653"/>
                  </a:lnTo>
                  <a:lnTo>
                    <a:pt x="119100" y="280653"/>
                  </a:lnTo>
                  <a:lnTo>
                    <a:pt x="107755" y="437427"/>
                  </a:lnTo>
                  <a:lnTo>
                    <a:pt x="99673" y="447251"/>
                  </a:lnTo>
                  <a:lnTo>
                    <a:pt x="94181" y="447251"/>
                  </a:lnTo>
                  <a:lnTo>
                    <a:pt x="92911" y="453659"/>
                  </a:lnTo>
                  <a:lnTo>
                    <a:pt x="89959" y="459212"/>
                  </a:lnTo>
                  <a:lnTo>
                    <a:pt x="86154" y="464338"/>
                  </a:lnTo>
                  <a:lnTo>
                    <a:pt x="100514" y="464338"/>
                  </a:lnTo>
                  <a:lnTo>
                    <a:pt x="136411" y="272535"/>
                  </a:lnTo>
                  <a:lnTo>
                    <a:pt x="138099" y="270828"/>
                  </a:lnTo>
                  <a:close/>
                </a:path>
                <a:path w="160654" h="464819" extrusionOk="0">
                  <a:moveTo>
                    <a:pt x="117830" y="0"/>
                  </a:moveTo>
                  <a:lnTo>
                    <a:pt x="74179" y="30157"/>
                  </a:lnTo>
                  <a:lnTo>
                    <a:pt x="1689" y="208891"/>
                  </a:lnTo>
                  <a:lnTo>
                    <a:pt x="0" y="214012"/>
                  </a:lnTo>
                  <a:lnTo>
                    <a:pt x="0" y="223415"/>
                  </a:lnTo>
                  <a:lnTo>
                    <a:pt x="15503" y="437427"/>
                  </a:lnTo>
                  <a:lnTo>
                    <a:pt x="15626" y="439135"/>
                  </a:lnTo>
                  <a:lnTo>
                    <a:pt x="15726" y="440844"/>
                  </a:lnTo>
                  <a:lnTo>
                    <a:pt x="15850" y="442980"/>
                  </a:lnTo>
                  <a:lnTo>
                    <a:pt x="15949" y="444689"/>
                  </a:lnTo>
                  <a:lnTo>
                    <a:pt x="16049" y="446397"/>
                  </a:lnTo>
                  <a:lnTo>
                    <a:pt x="19005" y="452804"/>
                  </a:lnTo>
                  <a:lnTo>
                    <a:pt x="28922" y="461962"/>
                  </a:lnTo>
                  <a:lnTo>
                    <a:pt x="63378" y="461962"/>
                  </a:lnTo>
                  <a:lnTo>
                    <a:pt x="70951" y="456329"/>
                  </a:lnTo>
                  <a:lnTo>
                    <a:pt x="76217" y="448359"/>
                  </a:lnTo>
                  <a:lnTo>
                    <a:pt x="76485" y="447251"/>
                  </a:lnTo>
                  <a:lnTo>
                    <a:pt x="76589" y="446824"/>
                  </a:lnTo>
                  <a:lnTo>
                    <a:pt x="37587" y="445970"/>
                  </a:lnTo>
                  <a:lnTo>
                    <a:pt x="32910" y="437427"/>
                  </a:lnTo>
                  <a:lnTo>
                    <a:pt x="18582" y="244344"/>
                  </a:lnTo>
                  <a:lnTo>
                    <a:pt x="67714" y="244344"/>
                  </a:lnTo>
                  <a:lnTo>
                    <a:pt x="22806" y="227257"/>
                  </a:lnTo>
                  <a:lnTo>
                    <a:pt x="18160" y="225550"/>
                  </a:lnTo>
                  <a:lnTo>
                    <a:pt x="15626" y="219995"/>
                  </a:lnTo>
                  <a:lnTo>
                    <a:pt x="80668" y="53396"/>
                  </a:lnTo>
                  <a:lnTo>
                    <a:pt x="113094" y="19276"/>
                  </a:lnTo>
                  <a:lnTo>
                    <a:pt x="128814" y="15380"/>
                  </a:lnTo>
                  <a:lnTo>
                    <a:pt x="124586" y="10681"/>
                  </a:lnTo>
                  <a:lnTo>
                    <a:pt x="120787" y="5554"/>
                  </a:lnTo>
                  <a:lnTo>
                    <a:pt x="117830" y="0"/>
                  </a:lnTo>
                  <a:close/>
                </a:path>
                <a:path w="160654" h="464819" extrusionOk="0">
                  <a:moveTo>
                    <a:pt x="67714" y="244344"/>
                  </a:moveTo>
                  <a:lnTo>
                    <a:pt x="18582" y="244344"/>
                  </a:lnTo>
                  <a:lnTo>
                    <a:pt x="71372" y="264423"/>
                  </a:lnTo>
                  <a:lnTo>
                    <a:pt x="62081" y="437427"/>
                  </a:lnTo>
                  <a:lnTo>
                    <a:pt x="61774" y="440844"/>
                  </a:lnTo>
                  <a:lnTo>
                    <a:pt x="61658" y="442125"/>
                  </a:lnTo>
                  <a:lnTo>
                    <a:pt x="58283" y="446397"/>
                  </a:lnTo>
                  <a:lnTo>
                    <a:pt x="54061" y="446824"/>
                  </a:lnTo>
                  <a:lnTo>
                    <a:pt x="76589" y="446824"/>
                  </a:lnTo>
                  <a:lnTo>
                    <a:pt x="78448" y="439135"/>
                  </a:lnTo>
                  <a:lnTo>
                    <a:pt x="78574" y="438281"/>
                  </a:lnTo>
                  <a:lnTo>
                    <a:pt x="87334" y="272535"/>
                  </a:lnTo>
                  <a:lnTo>
                    <a:pt x="87424" y="270828"/>
                  </a:lnTo>
                  <a:lnTo>
                    <a:pt x="138099" y="270828"/>
                  </a:lnTo>
                  <a:lnTo>
                    <a:pt x="138946" y="269972"/>
                  </a:lnTo>
                  <a:lnTo>
                    <a:pt x="141057" y="266986"/>
                  </a:lnTo>
                  <a:lnTo>
                    <a:pt x="142008" y="264423"/>
                  </a:lnTo>
                  <a:lnTo>
                    <a:pt x="119518" y="264423"/>
                  </a:lnTo>
                  <a:lnTo>
                    <a:pt x="114873" y="262288"/>
                  </a:lnTo>
                  <a:lnTo>
                    <a:pt x="67714" y="244344"/>
                  </a:lnTo>
                  <a:close/>
                </a:path>
                <a:path w="160654" h="464819" extrusionOk="0">
                  <a:moveTo>
                    <a:pt x="144437" y="211027"/>
                  </a:moveTo>
                  <a:lnTo>
                    <a:pt x="127121" y="257161"/>
                  </a:lnTo>
                  <a:lnTo>
                    <a:pt x="125433" y="261859"/>
                  </a:lnTo>
                  <a:lnTo>
                    <a:pt x="119518" y="264423"/>
                  </a:lnTo>
                  <a:lnTo>
                    <a:pt x="142008" y="264423"/>
                  </a:lnTo>
                  <a:lnTo>
                    <a:pt x="142327" y="263566"/>
                  </a:lnTo>
                  <a:lnTo>
                    <a:pt x="160067" y="217860"/>
                  </a:lnTo>
                  <a:lnTo>
                    <a:pt x="144437" y="211027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792" name="Google Shape;4792;p16"/>
            <p:cNvPicPr preferRelativeResize="0"/>
            <p:nvPr/>
          </p:nvPicPr>
          <p:blipFill rotWithShape="1">
            <a:blip r:embed="rId21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124654" y="2013505"/>
              <a:ext cx="323080" cy="19581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793" name="Google Shape;4793;p16"/>
            <p:cNvSpPr/>
            <p:nvPr/>
          </p:nvSpPr>
          <p:spPr>
            <a:xfrm>
              <a:off x="6370448" y="1981038"/>
              <a:ext cx="161925" cy="464820"/>
            </a:xfrm>
            <a:custGeom>
              <a:avLst/>
              <a:gdLst/>
              <a:ahLst/>
              <a:cxnLst/>
              <a:rect l="l" t="t" r="r" b="b"/>
              <a:pathLst>
                <a:path w="161925" h="464819" extrusionOk="0">
                  <a:moveTo>
                    <a:pt x="15629" y="211449"/>
                  </a:moveTo>
                  <a:lnTo>
                    <a:pt x="0" y="218288"/>
                  </a:lnTo>
                  <a:lnTo>
                    <a:pt x="17740" y="263995"/>
                  </a:lnTo>
                  <a:lnTo>
                    <a:pt x="19010" y="267409"/>
                  </a:lnTo>
                  <a:lnTo>
                    <a:pt x="21121" y="270400"/>
                  </a:lnTo>
                  <a:lnTo>
                    <a:pt x="23655" y="272963"/>
                  </a:lnTo>
                  <a:lnTo>
                    <a:pt x="35298" y="436999"/>
                  </a:lnTo>
                  <a:lnTo>
                    <a:pt x="35359" y="437853"/>
                  </a:lnTo>
                  <a:lnTo>
                    <a:pt x="35480" y="439561"/>
                  </a:lnTo>
                  <a:lnTo>
                    <a:pt x="37814" y="448966"/>
                  </a:lnTo>
                  <a:lnTo>
                    <a:pt x="42973" y="456648"/>
                  </a:lnTo>
                  <a:lnTo>
                    <a:pt x="43080" y="456809"/>
                  </a:lnTo>
                  <a:lnTo>
                    <a:pt x="50564" y="462328"/>
                  </a:lnTo>
                  <a:lnTo>
                    <a:pt x="59553" y="464765"/>
                  </a:lnTo>
                  <a:lnTo>
                    <a:pt x="74753" y="464765"/>
                  </a:lnTo>
                  <a:lnTo>
                    <a:pt x="75600" y="464337"/>
                  </a:lnTo>
                  <a:lnTo>
                    <a:pt x="71801" y="459211"/>
                  </a:lnTo>
                  <a:lnTo>
                    <a:pt x="69267" y="453658"/>
                  </a:lnTo>
                  <a:lnTo>
                    <a:pt x="67997" y="447678"/>
                  </a:lnTo>
                  <a:lnTo>
                    <a:pt x="59976" y="447678"/>
                  </a:lnTo>
                  <a:lnTo>
                    <a:pt x="55749" y="447250"/>
                  </a:lnTo>
                  <a:lnTo>
                    <a:pt x="52373" y="443406"/>
                  </a:lnTo>
                  <a:lnTo>
                    <a:pt x="52027" y="439561"/>
                  </a:lnTo>
                  <a:lnTo>
                    <a:pt x="51922" y="438280"/>
                  </a:lnTo>
                  <a:lnTo>
                    <a:pt x="41446" y="280653"/>
                  </a:lnTo>
                  <a:lnTo>
                    <a:pt x="41389" y="279797"/>
                  </a:lnTo>
                  <a:lnTo>
                    <a:pt x="48011" y="279797"/>
                  </a:lnTo>
                  <a:lnTo>
                    <a:pt x="51950" y="278090"/>
                  </a:lnTo>
                  <a:lnTo>
                    <a:pt x="73065" y="269972"/>
                  </a:lnTo>
                  <a:lnTo>
                    <a:pt x="89879" y="269972"/>
                  </a:lnTo>
                  <a:lnTo>
                    <a:pt x="89581" y="264423"/>
                  </a:lnTo>
                  <a:lnTo>
                    <a:pt x="40966" y="264423"/>
                  </a:lnTo>
                  <a:lnTo>
                    <a:pt x="35480" y="262282"/>
                  </a:lnTo>
                  <a:lnTo>
                    <a:pt x="33786" y="257583"/>
                  </a:lnTo>
                  <a:lnTo>
                    <a:pt x="15629" y="211449"/>
                  </a:lnTo>
                  <a:close/>
                </a:path>
                <a:path w="161925" h="464819" extrusionOk="0">
                  <a:moveTo>
                    <a:pt x="89879" y="269972"/>
                  </a:moveTo>
                  <a:lnTo>
                    <a:pt x="73065" y="269972"/>
                  </a:lnTo>
                  <a:lnTo>
                    <a:pt x="81888" y="436999"/>
                  </a:lnTo>
                  <a:lnTo>
                    <a:pt x="81910" y="437426"/>
                  </a:lnTo>
                  <a:lnTo>
                    <a:pt x="125857" y="463483"/>
                  </a:lnTo>
                  <a:lnTo>
                    <a:pt x="131772" y="461347"/>
                  </a:lnTo>
                  <a:lnTo>
                    <a:pt x="136417" y="456648"/>
                  </a:lnTo>
                  <a:lnTo>
                    <a:pt x="141486" y="451949"/>
                  </a:lnTo>
                  <a:lnTo>
                    <a:pt x="144044" y="446396"/>
                  </a:lnTo>
                  <a:lnTo>
                    <a:pt x="106852" y="446396"/>
                  </a:lnTo>
                  <a:lnTo>
                    <a:pt x="102630" y="445969"/>
                  </a:lnTo>
                  <a:lnTo>
                    <a:pt x="99250" y="441697"/>
                  </a:lnTo>
                  <a:lnTo>
                    <a:pt x="99057" y="439561"/>
                  </a:lnTo>
                  <a:lnTo>
                    <a:pt x="98942" y="438280"/>
                  </a:lnTo>
                  <a:lnTo>
                    <a:pt x="98826" y="436999"/>
                  </a:lnTo>
                  <a:lnTo>
                    <a:pt x="89902" y="270400"/>
                  </a:lnTo>
                  <a:lnTo>
                    <a:pt x="89879" y="269972"/>
                  </a:lnTo>
                  <a:close/>
                </a:path>
                <a:path w="161925" h="464819" extrusionOk="0">
                  <a:moveTo>
                    <a:pt x="158974" y="243488"/>
                  </a:moveTo>
                  <a:lnTo>
                    <a:pt x="142327" y="243488"/>
                  </a:lnTo>
                  <a:lnTo>
                    <a:pt x="127999" y="436999"/>
                  </a:lnTo>
                  <a:lnTo>
                    <a:pt x="127583" y="441697"/>
                  </a:lnTo>
                  <a:lnTo>
                    <a:pt x="127545" y="442124"/>
                  </a:lnTo>
                  <a:lnTo>
                    <a:pt x="124169" y="446396"/>
                  </a:lnTo>
                  <a:lnTo>
                    <a:pt x="144044" y="446396"/>
                  </a:lnTo>
                  <a:lnTo>
                    <a:pt x="144438" y="445542"/>
                  </a:lnTo>
                  <a:lnTo>
                    <a:pt x="144562" y="443406"/>
                  </a:lnTo>
                  <a:lnTo>
                    <a:pt x="144662" y="441697"/>
                  </a:lnTo>
                  <a:lnTo>
                    <a:pt x="144787" y="439561"/>
                  </a:lnTo>
                  <a:lnTo>
                    <a:pt x="144892" y="437853"/>
                  </a:lnTo>
                  <a:lnTo>
                    <a:pt x="158974" y="243488"/>
                  </a:lnTo>
                  <a:close/>
                </a:path>
                <a:path w="161925" h="464819" extrusionOk="0">
                  <a:moveTo>
                    <a:pt x="48011" y="279797"/>
                  </a:moveTo>
                  <a:lnTo>
                    <a:pt x="41813" y="279797"/>
                  </a:lnTo>
                  <a:lnTo>
                    <a:pt x="46035" y="280653"/>
                  </a:lnTo>
                  <a:lnTo>
                    <a:pt x="48011" y="279797"/>
                  </a:lnTo>
                  <a:close/>
                </a:path>
                <a:path w="161925" h="464819" extrusionOk="0">
                  <a:moveTo>
                    <a:pt x="43082" y="0"/>
                  </a:moveTo>
                  <a:lnTo>
                    <a:pt x="40125" y="5554"/>
                  </a:lnTo>
                  <a:lnTo>
                    <a:pt x="36320" y="10681"/>
                  </a:lnTo>
                  <a:lnTo>
                    <a:pt x="32099" y="15380"/>
                  </a:lnTo>
                  <a:lnTo>
                    <a:pt x="47579" y="19524"/>
                  </a:lnTo>
                  <a:lnTo>
                    <a:pt x="80245" y="53824"/>
                  </a:lnTo>
                  <a:lnTo>
                    <a:pt x="143597" y="215725"/>
                  </a:lnTo>
                  <a:lnTo>
                    <a:pt x="145284" y="220424"/>
                  </a:lnTo>
                  <a:lnTo>
                    <a:pt x="142750" y="225550"/>
                  </a:lnTo>
                  <a:lnTo>
                    <a:pt x="138105" y="227685"/>
                  </a:lnTo>
                  <a:lnTo>
                    <a:pt x="46035" y="262710"/>
                  </a:lnTo>
                  <a:lnTo>
                    <a:pt x="40966" y="264423"/>
                  </a:lnTo>
                  <a:lnTo>
                    <a:pt x="89581" y="264423"/>
                  </a:lnTo>
                  <a:lnTo>
                    <a:pt x="89535" y="263566"/>
                  </a:lnTo>
                  <a:lnTo>
                    <a:pt x="142327" y="243488"/>
                  </a:lnTo>
                  <a:lnTo>
                    <a:pt x="158974" y="243488"/>
                  </a:lnTo>
                  <a:lnTo>
                    <a:pt x="160490" y="222559"/>
                  </a:lnTo>
                  <a:lnTo>
                    <a:pt x="160913" y="221274"/>
                  </a:lnTo>
                  <a:lnTo>
                    <a:pt x="161301" y="215725"/>
                  </a:lnTo>
                  <a:lnTo>
                    <a:pt x="161331" y="215297"/>
                  </a:lnTo>
                  <a:lnTo>
                    <a:pt x="95874" y="46990"/>
                  </a:lnTo>
                  <a:lnTo>
                    <a:pt x="59585" y="6020"/>
                  </a:lnTo>
                  <a:lnTo>
                    <a:pt x="43082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794" name="Google Shape;4794;p16"/>
            <p:cNvPicPr preferRelativeResize="0"/>
            <p:nvPr/>
          </p:nvPicPr>
          <p:blipFill rotWithShape="1">
            <a:blip r:embed="rId20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03297" y="1897738"/>
              <a:ext cx="101360" cy="10252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4795" name="Google Shape;4795;p16"/>
          <p:cNvPicPr preferRelativeResize="0"/>
          <p:nvPr/>
        </p:nvPicPr>
        <p:blipFill rotWithShape="1">
          <a:blip r:embed="rId2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81700" y="4695825"/>
            <a:ext cx="609600" cy="581025"/>
          </a:xfrm>
          <a:prstGeom prst="rect">
            <a:avLst/>
          </a:prstGeom>
          <a:noFill/>
          <a:ln>
            <a:noFill/>
          </a:ln>
        </p:spPr>
      </p:pic>
      <p:sp>
        <p:nvSpPr>
          <p:cNvPr id="4796" name="Google Shape;4796;p16"/>
          <p:cNvSpPr/>
          <p:nvPr/>
        </p:nvSpPr>
        <p:spPr>
          <a:xfrm>
            <a:off x="6039385" y="5894982"/>
            <a:ext cx="259715" cy="372110"/>
          </a:xfrm>
          <a:custGeom>
            <a:avLst/>
            <a:gdLst/>
            <a:ahLst/>
            <a:cxnLst/>
            <a:rect l="l" t="t" r="r" b="b"/>
            <a:pathLst>
              <a:path w="259714" h="372110" extrusionOk="0">
                <a:moveTo>
                  <a:pt x="3190" y="0"/>
                </a:moveTo>
                <a:lnTo>
                  <a:pt x="0" y="3517"/>
                </a:lnTo>
                <a:lnTo>
                  <a:pt x="515" y="7529"/>
                </a:lnTo>
                <a:lnTo>
                  <a:pt x="9644" y="101003"/>
                </a:lnTo>
                <a:lnTo>
                  <a:pt x="10851" y="105338"/>
                </a:lnTo>
                <a:lnTo>
                  <a:pt x="12779" y="109350"/>
                </a:lnTo>
                <a:lnTo>
                  <a:pt x="19103" y="122729"/>
                </a:lnTo>
                <a:lnTo>
                  <a:pt x="26990" y="140022"/>
                </a:lnTo>
                <a:lnTo>
                  <a:pt x="34558" y="157717"/>
                </a:lnTo>
                <a:lnTo>
                  <a:pt x="39922" y="172305"/>
                </a:lnTo>
                <a:lnTo>
                  <a:pt x="44341" y="185127"/>
                </a:lnTo>
                <a:lnTo>
                  <a:pt x="52669" y="198020"/>
                </a:lnTo>
                <a:lnTo>
                  <a:pt x="71428" y="218042"/>
                </a:lnTo>
                <a:lnTo>
                  <a:pt x="107137" y="252250"/>
                </a:lnTo>
                <a:lnTo>
                  <a:pt x="136365" y="288318"/>
                </a:lnTo>
                <a:lnTo>
                  <a:pt x="150463" y="321733"/>
                </a:lnTo>
                <a:lnTo>
                  <a:pt x="154500" y="349039"/>
                </a:lnTo>
                <a:lnTo>
                  <a:pt x="153544" y="366780"/>
                </a:lnTo>
                <a:lnTo>
                  <a:pt x="153151" y="369412"/>
                </a:lnTo>
                <a:lnTo>
                  <a:pt x="155178" y="371771"/>
                </a:lnTo>
                <a:lnTo>
                  <a:pt x="257432" y="371771"/>
                </a:lnTo>
                <a:lnTo>
                  <a:pt x="259457" y="369334"/>
                </a:lnTo>
                <a:lnTo>
                  <a:pt x="250258" y="316142"/>
                </a:lnTo>
                <a:lnTo>
                  <a:pt x="248573" y="310745"/>
                </a:lnTo>
                <a:lnTo>
                  <a:pt x="248233" y="305003"/>
                </a:lnTo>
                <a:lnTo>
                  <a:pt x="249350" y="299453"/>
                </a:lnTo>
                <a:lnTo>
                  <a:pt x="250488" y="291632"/>
                </a:lnTo>
                <a:lnTo>
                  <a:pt x="251148" y="280137"/>
                </a:lnTo>
                <a:lnTo>
                  <a:pt x="250899" y="264428"/>
                </a:lnTo>
                <a:lnTo>
                  <a:pt x="240474" y="217591"/>
                </a:lnTo>
                <a:lnTo>
                  <a:pt x="203376" y="179065"/>
                </a:lnTo>
                <a:lnTo>
                  <a:pt x="185589" y="167552"/>
                </a:lnTo>
                <a:lnTo>
                  <a:pt x="177873" y="161691"/>
                </a:lnTo>
                <a:lnTo>
                  <a:pt x="150663" y="130588"/>
                </a:lnTo>
                <a:lnTo>
                  <a:pt x="140992" y="116735"/>
                </a:lnTo>
                <a:lnTo>
                  <a:pt x="126430" y="100130"/>
                </a:lnTo>
                <a:lnTo>
                  <a:pt x="109884" y="89120"/>
                </a:lnTo>
                <a:lnTo>
                  <a:pt x="94262" y="92047"/>
                </a:lnTo>
                <a:lnTo>
                  <a:pt x="90774" y="110208"/>
                </a:lnTo>
                <a:lnTo>
                  <a:pt x="102801" y="133864"/>
                </a:lnTo>
                <a:lnTo>
                  <a:pt x="119685" y="156428"/>
                </a:lnTo>
                <a:lnTo>
                  <a:pt x="130766" y="171317"/>
                </a:lnTo>
                <a:lnTo>
                  <a:pt x="132512" y="174682"/>
                </a:lnTo>
                <a:lnTo>
                  <a:pt x="133846" y="176907"/>
                </a:lnTo>
                <a:lnTo>
                  <a:pt x="134435" y="181755"/>
                </a:lnTo>
                <a:lnTo>
                  <a:pt x="130545" y="184111"/>
                </a:lnTo>
                <a:lnTo>
                  <a:pt x="128190" y="181832"/>
                </a:lnTo>
                <a:lnTo>
                  <a:pt x="112150" y="164656"/>
                </a:lnTo>
                <a:lnTo>
                  <a:pt x="91551" y="140858"/>
                </a:lnTo>
                <a:lnTo>
                  <a:pt x="71426" y="117036"/>
                </a:lnTo>
                <a:lnTo>
                  <a:pt x="56806" y="99786"/>
                </a:lnTo>
                <a:lnTo>
                  <a:pt x="54258" y="96838"/>
                </a:lnTo>
                <a:lnTo>
                  <a:pt x="52668" y="93188"/>
                </a:lnTo>
                <a:lnTo>
                  <a:pt x="52257" y="89328"/>
                </a:lnTo>
                <a:lnTo>
                  <a:pt x="51550" y="83731"/>
                </a:lnTo>
                <a:lnTo>
                  <a:pt x="35432" y="25476"/>
                </a:lnTo>
                <a:lnTo>
                  <a:pt x="7217" y="152"/>
                </a:lnTo>
                <a:lnTo>
                  <a:pt x="3190" y="0"/>
                </a:lnTo>
                <a:close/>
              </a:path>
            </a:pathLst>
          </a:custGeom>
          <a:solidFill>
            <a:srgbClr val="095DC5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797" name="Google Shape;4797;p16"/>
          <p:cNvGrpSpPr/>
          <p:nvPr/>
        </p:nvGrpSpPr>
        <p:grpSpPr>
          <a:xfrm>
            <a:off x="6157607" y="5736539"/>
            <a:ext cx="471805" cy="530225"/>
            <a:chOff x="6157607" y="5736539"/>
            <a:chExt cx="471805" cy="530225"/>
          </a:xfrm>
        </p:grpSpPr>
        <p:sp>
          <p:nvSpPr>
            <p:cNvPr id="4798" name="Google Shape;4798;p16"/>
            <p:cNvSpPr/>
            <p:nvPr/>
          </p:nvSpPr>
          <p:spPr>
            <a:xfrm>
              <a:off x="6157607" y="5736539"/>
              <a:ext cx="471805" cy="530225"/>
            </a:xfrm>
            <a:custGeom>
              <a:avLst/>
              <a:gdLst/>
              <a:ahLst/>
              <a:cxnLst/>
              <a:rect l="l" t="t" r="r" b="b"/>
              <a:pathLst>
                <a:path w="471804" h="530225" extrusionOk="0">
                  <a:moveTo>
                    <a:pt x="365531" y="186855"/>
                  </a:moveTo>
                  <a:lnTo>
                    <a:pt x="363753" y="177711"/>
                  </a:lnTo>
                  <a:lnTo>
                    <a:pt x="358444" y="169672"/>
                  </a:lnTo>
                  <a:lnTo>
                    <a:pt x="217322" y="27901"/>
                  </a:lnTo>
                  <a:lnTo>
                    <a:pt x="217563" y="27673"/>
                  </a:lnTo>
                  <a:lnTo>
                    <a:pt x="195033" y="5029"/>
                  </a:lnTo>
                  <a:lnTo>
                    <a:pt x="189395" y="1270"/>
                  </a:lnTo>
                  <a:lnTo>
                    <a:pt x="182981" y="0"/>
                  </a:lnTo>
                  <a:lnTo>
                    <a:pt x="176555" y="1219"/>
                  </a:lnTo>
                  <a:lnTo>
                    <a:pt x="170891" y="4953"/>
                  </a:lnTo>
                  <a:lnTo>
                    <a:pt x="147967" y="27673"/>
                  </a:lnTo>
                  <a:lnTo>
                    <a:pt x="148209" y="27901"/>
                  </a:lnTo>
                  <a:lnTo>
                    <a:pt x="7086" y="169672"/>
                  </a:lnTo>
                  <a:lnTo>
                    <a:pt x="1778" y="177711"/>
                  </a:lnTo>
                  <a:lnTo>
                    <a:pt x="0" y="186855"/>
                  </a:lnTo>
                  <a:lnTo>
                    <a:pt x="1778" y="195999"/>
                  </a:lnTo>
                  <a:lnTo>
                    <a:pt x="7086" y="204050"/>
                  </a:lnTo>
                  <a:lnTo>
                    <a:pt x="7442" y="204393"/>
                  </a:lnTo>
                  <a:lnTo>
                    <a:pt x="15443" y="209727"/>
                  </a:lnTo>
                  <a:lnTo>
                    <a:pt x="24549" y="211505"/>
                  </a:lnTo>
                  <a:lnTo>
                    <a:pt x="33655" y="209727"/>
                  </a:lnTo>
                  <a:lnTo>
                    <a:pt x="41656" y="204393"/>
                  </a:lnTo>
                  <a:lnTo>
                    <a:pt x="182778" y="62623"/>
                  </a:lnTo>
                  <a:lnTo>
                    <a:pt x="323888" y="204393"/>
                  </a:lnTo>
                  <a:lnTo>
                    <a:pt x="331889" y="209727"/>
                  </a:lnTo>
                  <a:lnTo>
                    <a:pt x="340995" y="211505"/>
                  </a:lnTo>
                  <a:lnTo>
                    <a:pt x="350100" y="209727"/>
                  </a:lnTo>
                  <a:lnTo>
                    <a:pt x="358101" y="204393"/>
                  </a:lnTo>
                  <a:lnTo>
                    <a:pt x="358444" y="204050"/>
                  </a:lnTo>
                  <a:lnTo>
                    <a:pt x="363753" y="195999"/>
                  </a:lnTo>
                  <a:lnTo>
                    <a:pt x="365531" y="186855"/>
                  </a:lnTo>
                  <a:close/>
                </a:path>
                <a:path w="471804" h="530225" extrusionOk="0">
                  <a:moveTo>
                    <a:pt x="471385" y="161963"/>
                  </a:moveTo>
                  <a:lnTo>
                    <a:pt x="468185" y="158445"/>
                  </a:lnTo>
                  <a:lnTo>
                    <a:pt x="464159" y="158597"/>
                  </a:lnTo>
                  <a:lnTo>
                    <a:pt x="456006" y="160693"/>
                  </a:lnTo>
                  <a:lnTo>
                    <a:pt x="426059" y="210477"/>
                  </a:lnTo>
                  <a:lnTo>
                    <a:pt x="418706" y="251637"/>
                  </a:lnTo>
                  <a:lnTo>
                    <a:pt x="417118" y="255282"/>
                  </a:lnTo>
                  <a:lnTo>
                    <a:pt x="414578" y="258241"/>
                  </a:lnTo>
                  <a:lnTo>
                    <a:pt x="399961" y="275488"/>
                  </a:lnTo>
                  <a:lnTo>
                    <a:pt x="379831" y="299313"/>
                  </a:lnTo>
                  <a:lnTo>
                    <a:pt x="359232" y="323100"/>
                  </a:lnTo>
                  <a:lnTo>
                    <a:pt x="343192" y="340283"/>
                  </a:lnTo>
                  <a:lnTo>
                    <a:pt x="340842" y="342557"/>
                  </a:lnTo>
                  <a:lnTo>
                    <a:pt x="336943" y="340207"/>
                  </a:lnTo>
                  <a:lnTo>
                    <a:pt x="337527" y="335356"/>
                  </a:lnTo>
                  <a:lnTo>
                    <a:pt x="338874" y="333133"/>
                  </a:lnTo>
                  <a:lnTo>
                    <a:pt x="340614" y="329768"/>
                  </a:lnTo>
                  <a:lnTo>
                    <a:pt x="351701" y="314883"/>
                  </a:lnTo>
                  <a:lnTo>
                    <a:pt x="368579" y="292315"/>
                  </a:lnTo>
                  <a:lnTo>
                    <a:pt x="380606" y="268655"/>
                  </a:lnTo>
                  <a:lnTo>
                    <a:pt x="377126" y="250494"/>
                  </a:lnTo>
                  <a:lnTo>
                    <a:pt x="361505" y="247573"/>
                  </a:lnTo>
                  <a:lnTo>
                    <a:pt x="344957" y="258584"/>
                  </a:lnTo>
                  <a:lnTo>
                    <a:pt x="330390" y="275183"/>
                  </a:lnTo>
                  <a:lnTo>
                    <a:pt x="320725" y="289039"/>
                  </a:lnTo>
                  <a:lnTo>
                    <a:pt x="317487" y="294055"/>
                  </a:lnTo>
                  <a:lnTo>
                    <a:pt x="313588" y="299339"/>
                  </a:lnTo>
                  <a:lnTo>
                    <a:pt x="285800" y="325996"/>
                  </a:lnTo>
                  <a:lnTo>
                    <a:pt x="268008" y="337515"/>
                  </a:lnTo>
                  <a:lnTo>
                    <a:pt x="247967" y="354304"/>
                  </a:lnTo>
                  <a:lnTo>
                    <a:pt x="230911" y="376034"/>
                  </a:lnTo>
                  <a:lnTo>
                    <a:pt x="222072" y="402412"/>
                  </a:lnTo>
                  <a:lnTo>
                    <a:pt x="220484" y="422871"/>
                  </a:lnTo>
                  <a:lnTo>
                    <a:pt x="220230" y="438581"/>
                  </a:lnTo>
                  <a:lnTo>
                    <a:pt x="220891" y="450088"/>
                  </a:lnTo>
                  <a:lnTo>
                    <a:pt x="222034" y="457898"/>
                  </a:lnTo>
                  <a:lnTo>
                    <a:pt x="223151" y="463448"/>
                  </a:lnTo>
                  <a:lnTo>
                    <a:pt x="222821" y="469201"/>
                  </a:lnTo>
                  <a:lnTo>
                    <a:pt x="221119" y="474586"/>
                  </a:lnTo>
                  <a:lnTo>
                    <a:pt x="211924" y="527786"/>
                  </a:lnTo>
                  <a:lnTo>
                    <a:pt x="213969" y="530225"/>
                  </a:lnTo>
                  <a:lnTo>
                    <a:pt x="316191" y="530225"/>
                  </a:lnTo>
                  <a:lnTo>
                    <a:pt x="318223" y="527862"/>
                  </a:lnTo>
                  <a:lnTo>
                    <a:pt x="317842" y="525233"/>
                  </a:lnTo>
                  <a:lnTo>
                    <a:pt x="316890" y="507492"/>
                  </a:lnTo>
                  <a:lnTo>
                    <a:pt x="320929" y="480187"/>
                  </a:lnTo>
                  <a:lnTo>
                    <a:pt x="335026" y="446773"/>
                  </a:lnTo>
                  <a:lnTo>
                    <a:pt x="364261" y="410705"/>
                  </a:lnTo>
                  <a:lnTo>
                    <a:pt x="399961" y="376491"/>
                  </a:lnTo>
                  <a:lnTo>
                    <a:pt x="418719" y="356476"/>
                  </a:lnTo>
                  <a:lnTo>
                    <a:pt x="427050" y="343573"/>
                  </a:lnTo>
                  <a:lnTo>
                    <a:pt x="431469" y="330758"/>
                  </a:lnTo>
                  <a:lnTo>
                    <a:pt x="436829" y="316166"/>
                  </a:lnTo>
                  <a:lnTo>
                    <a:pt x="444398" y="298475"/>
                  </a:lnTo>
                  <a:lnTo>
                    <a:pt x="452285" y="281178"/>
                  </a:lnTo>
                  <a:lnTo>
                    <a:pt x="458609" y="267804"/>
                  </a:lnTo>
                  <a:lnTo>
                    <a:pt x="460540" y="263791"/>
                  </a:lnTo>
                  <a:lnTo>
                    <a:pt x="461733" y="259448"/>
                  </a:lnTo>
                  <a:lnTo>
                    <a:pt x="470877" y="165976"/>
                  </a:lnTo>
                  <a:lnTo>
                    <a:pt x="471385" y="161963"/>
                  </a:lnTo>
                  <a:close/>
                </a:path>
              </a:pathLst>
            </a:custGeom>
            <a:solidFill>
              <a:srgbClr val="095DC5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799" name="Google Shape;4799;p16"/>
            <p:cNvPicPr preferRelativeResize="0"/>
            <p:nvPr/>
          </p:nvPicPr>
          <p:blipFill rotWithShape="1">
            <a:blip r:embed="rId2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88640" y="5930253"/>
              <a:ext cx="103478" cy="10393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800" name="Google Shape;4800;p16"/>
            <p:cNvSpPr/>
            <p:nvPr/>
          </p:nvSpPr>
          <p:spPr>
            <a:xfrm>
              <a:off x="6215292" y="5757415"/>
              <a:ext cx="60325" cy="104139"/>
            </a:xfrm>
            <a:custGeom>
              <a:avLst/>
              <a:gdLst/>
              <a:ahLst/>
              <a:cxnLst/>
              <a:rect l="l" t="t" r="r" b="b"/>
              <a:pathLst>
                <a:path w="60325" h="104139" extrusionOk="0">
                  <a:moveTo>
                    <a:pt x="55952" y="0"/>
                  </a:moveTo>
                  <a:lnTo>
                    <a:pt x="3827" y="0"/>
                  </a:lnTo>
                  <a:lnTo>
                    <a:pt x="0" y="3821"/>
                  </a:lnTo>
                  <a:lnTo>
                    <a:pt x="0" y="103988"/>
                  </a:lnTo>
                  <a:lnTo>
                    <a:pt x="59776" y="103988"/>
                  </a:lnTo>
                  <a:lnTo>
                    <a:pt x="59776" y="3821"/>
                  </a:lnTo>
                  <a:lnTo>
                    <a:pt x="55952" y="0"/>
                  </a:lnTo>
                  <a:close/>
                </a:path>
              </a:pathLst>
            </a:custGeom>
            <a:solidFill>
              <a:srgbClr val="095DC5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4801" name="Google Shape;4801;p16"/>
          <p:cNvPicPr preferRelativeResize="0"/>
          <p:nvPr/>
        </p:nvPicPr>
        <p:blipFill rotWithShape="1">
          <a:blip r:embed="rId2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34126" y="2771848"/>
            <a:ext cx="759162" cy="647572"/>
          </a:xfrm>
          <a:prstGeom prst="rect">
            <a:avLst/>
          </a:prstGeom>
          <a:noFill/>
          <a:ln>
            <a:noFill/>
          </a:ln>
        </p:spPr>
      </p:pic>
      <p:pic>
        <p:nvPicPr>
          <p:cNvPr id="4802" name="Google Shape;4802;p16"/>
          <p:cNvPicPr preferRelativeResize="0"/>
          <p:nvPr/>
        </p:nvPicPr>
        <p:blipFill rotWithShape="1">
          <a:blip r:embed="rId2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81700" y="3657600"/>
            <a:ext cx="666750" cy="676275"/>
          </a:xfrm>
          <a:prstGeom prst="rect">
            <a:avLst/>
          </a:prstGeom>
          <a:noFill/>
          <a:ln>
            <a:noFill/>
          </a:ln>
        </p:spPr>
      </p:pic>
      <p:sp>
        <p:nvSpPr>
          <p:cNvPr id="4803" name="Google Shape;4803;p16"/>
          <p:cNvSpPr txBox="1">
            <a:spLocks noGrp="1"/>
          </p:cNvSpPr>
          <p:nvPr>
            <p:ph type="title"/>
          </p:nvPr>
        </p:nvSpPr>
        <p:spPr>
          <a:xfrm>
            <a:off x="667384" y="267588"/>
            <a:ext cx="8408670" cy="426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65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>
                <a:solidFill>
                  <a:srgbClr val="000000"/>
                </a:solidFill>
                <a:latin typeface="Tahoma"/>
                <a:ea typeface="Tahoma"/>
                <a:cs typeface="Tahoma"/>
                <a:sym typeface="Tahoma"/>
              </a:rPr>
              <a:t>DRIVER 3: PARENT AND CAREGIVER EMPOWERMENT</a:t>
            </a:r>
            <a:endParaRPr sz="260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4804" name="Google Shape;4804;p16"/>
          <p:cNvSpPr txBox="1"/>
          <p:nvPr/>
        </p:nvSpPr>
        <p:spPr>
          <a:xfrm>
            <a:off x="899160" y="1391094"/>
            <a:ext cx="3363595" cy="578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500380" marR="5080" lvl="0" indent="-487680" algn="l" rtl="0">
              <a:lnSpc>
                <a:spcPct val="11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1: Respectful Parent and Caregiver Partnerships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5" name="Google Shape;4805;p16"/>
          <p:cNvSpPr txBox="1"/>
          <p:nvPr/>
        </p:nvSpPr>
        <p:spPr>
          <a:xfrm>
            <a:off x="1619503" y="3232270"/>
            <a:ext cx="1929130" cy="578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2050" rIns="0" bIns="0" anchor="t" anchorCtr="0">
            <a:spAutoFit/>
          </a:bodyPr>
          <a:lstStyle/>
          <a:p>
            <a:pPr marL="99695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2: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  <a:p>
            <a:pPr marL="12700" lvl="0" indent="0" algn="l" rtl="0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afe Sleep Awareness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6" name="Google Shape;4806;p16"/>
          <p:cNvSpPr txBox="1"/>
          <p:nvPr/>
        </p:nvSpPr>
        <p:spPr>
          <a:xfrm>
            <a:off x="1003300" y="5009832"/>
            <a:ext cx="3152140" cy="8648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2050" rIns="0" bIns="0" anchor="t" anchorCtr="0">
            <a:spAutoFit/>
          </a:bodyPr>
          <a:lstStyle/>
          <a:p>
            <a:pPr marL="0" marR="4572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3: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  <a:p>
            <a:pPr marL="12700" marR="5080" lvl="0" indent="0" algn="ctr" rtl="0">
              <a:lnSpc>
                <a:spcPct val="145161"/>
              </a:lnSpc>
              <a:spcBef>
                <a:spcPts val="35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Transition to Home, including SDoH Screening &amp; Resource Linkage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7" name="Google Shape;4807;p16"/>
          <p:cNvSpPr txBox="1">
            <a:spLocks noGrp="1"/>
          </p:cNvSpPr>
          <p:nvPr>
            <p:ph type="body" idx="2"/>
          </p:nvPr>
        </p:nvSpPr>
        <p:spPr>
          <a:xfrm>
            <a:off x="6868159" y="1152207"/>
            <a:ext cx="4359909" cy="4176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12700" marR="982980" lvl="0" indent="0" algn="l" rtl="0">
              <a:lnSpc>
                <a:spcPct val="1252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artner with parents and caregivers in quality improvement work and unit culture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None/>
            </a:pPr>
            <a:endParaRPr dirty="0"/>
          </a:p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velop and promote respectful relationships</a:t>
            </a:r>
            <a:endParaRPr dirty="0"/>
          </a:p>
          <a:p>
            <a:pPr marL="12700" lvl="0" indent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-US" dirty="0"/>
              <a:t>between parents and caregivers and healthcare team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None/>
            </a:pPr>
            <a:endParaRPr dirty="0"/>
          </a:p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/>
              <a:t>Prepa</a:t>
            </a:r>
            <a:r>
              <a:rPr lang="en-US" dirty="0"/>
              <a:t> re and empower parents and caregivers to</a:t>
            </a:r>
            <a:endParaRPr dirty="0"/>
          </a:p>
          <a:p>
            <a:pPr marL="12700" marR="5080" lvl="0" indent="0" algn="l" rtl="0">
              <a:lnSpc>
                <a:spcPct val="162500"/>
              </a:lnSpc>
              <a:spcBef>
                <a:spcPts val="65"/>
              </a:spcBef>
              <a:spcAft>
                <a:spcPts val="0"/>
              </a:spcAft>
              <a:buNone/>
            </a:pPr>
            <a:r>
              <a:rPr lang="en-US" dirty="0"/>
              <a:t>implement a safe sleep environment for every sleep during hospitalization</a:t>
            </a:r>
            <a:endParaRPr dirty="0"/>
          </a:p>
          <a:p>
            <a:pPr marL="12700" lvl="0" indent="0" algn="l" rtl="0">
              <a:lnSpc>
                <a:spcPct val="100000"/>
              </a:lnSpc>
              <a:spcBef>
                <a:spcPts val="975"/>
              </a:spcBef>
              <a:spcAft>
                <a:spcPts val="0"/>
              </a:spcAft>
              <a:buNone/>
            </a:pPr>
            <a:r>
              <a:rPr lang="en-US" dirty="0"/>
              <a:t>Engage with parents and caregivers to </a:t>
            </a:r>
            <a:r>
              <a:rPr lang="en-US" dirty="0">
                <a:latin typeface="Tahoma"/>
                <a:ea typeface="Tahoma"/>
                <a:cs typeface="Tahoma"/>
                <a:sym typeface="Tahoma"/>
              </a:rPr>
              <a:t>understand</a:t>
            </a:r>
            <a:endParaRPr dirty="0"/>
          </a:p>
          <a:p>
            <a:pPr marL="12700" lvl="0" indent="0" algn="l" rtl="0">
              <a:lnSpc>
                <a:spcPct val="100000"/>
              </a:lnSpc>
              <a:spcBef>
                <a:spcPts val="380"/>
              </a:spcBef>
              <a:spcAft>
                <a:spcPts val="0"/>
              </a:spcAft>
              <a:buNone/>
            </a:pPr>
            <a:r>
              <a:rPr lang="en-US" dirty="0">
                <a:latin typeface="Tahoma"/>
                <a:ea typeface="Tahoma"/>
                <a:cs typeface="Tahoma"/>
                <a:sym typeface="Tahoma"/>
              </a:rPr>
              <a:t>barriers to a safe sleep environment to implement a</a:t>
            </a:r>
            <a:endParaRPr dirty="0"/>
          </a:p>
          <a:p>
            <a:pPr marL="12700" marR="154940" lvl="0" indent="0" algn="l" rtl="0">
              <a:lnSpc>
                <a:spcPct val="125200"/>
              </a:lnSpc>
              <a:spcBef>
                <a:spcPts val="75"/>
              </a:spcBef>
              <a:spcAft>
                <a:spcPts val="0"/>
              </a:spcAft>
              <a:buNone/>
            </a:pPr>
            <a:r>
              <a:rPr lang="en-US" dirty="0">
                <a:latin typeface="Tahoma"/>
                <a:ea typeface="Tahoma"/>
                <a:cs typeface="Tahoma"/>
                <a:sym typeface="Tahoma"/>
              </a:rPr>
              <a:t>safe sleep environment for every sleep outside of the hospital</a:t>
            </a:r>
            <a:endParaRPr dirty="0"/>
          </a:p>
          <a:p>
            <a:pPr marL="12700" lvl="0" indent="0" algn="l" rtl="0">
              <a:lnSpc>
                <a:spcPct val="100000"/>
              </a:lnSpc>
              <a:spcBef>
                <a:spcPts val="1385"/>
              </a:spcBef>
              <a:spcAft>
                <a:spcPts val="0"/>
              </a:spcAft>
              <a:buNone/>
            </a:pPr>
            <a:r>
              <a:rPr lang="en-US" dirty="0">
                <a:latin typeface="Tahoma"/>
                <a:ea typeface="Tahoma"/>
                <a:cs typeface="Tahoma"/>
                <a:sym typeface="Tahoma"/>
              </a:rPr>
              <a:t>Empower parents and caregivers to have</a:t>
            </a:r>
            <a:endParaRPr dirty="0"/>
          </a:p>
          <a:p>
            <a:pPr marL="12700" marR="856614" lvl="0" indent="0" algn="l" rtl="0">
              <a:lnSpc>
                <a:spcPct val="162500"/>
              </a:lnSpc>
              <a:spcBef>
                <a:spcPts val="35"/>
              </a:spcBef>
              <a:spcAft>
                <a:spcPts val="0"/>
              </a:spcAft>
              <a:buNone/>
            </a:pPr>
            <a:r>
              <a:rPr lang="en-US" dirty="0">
                <a:latin typeface="Tahoma"/>
                <a:ea typeface="Tahoma"/>
                <a:cs typeface="Tahoma"/>
                <a:sym typeface="Tahoma"/>
              </a:rPr>
              <a:t>conversations about safe sleep environment with </a:t>
            </a:r>
            <a:r>
              <a:rPr lang="en-US" dirty="0" err="1">
                <a:latin typeface="Tahoma"/>
                <a:ea typeface="Tahoma"/>
                <a:cs typeface="Tahoma"/>
                <a:sym typeface="Tahoma"/>
              </a:rPr>
              <a:t>additio</a:t>
            </a:r>
            <a:r>
              <a:rPr lang="en-US" dirty="0"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lang="en-US" dirty="0" err="1">
                <a:latin typeface="Tahoma"/>
                <a:ea typeface="Tahoma"/>
                <a:cs typeface="Tahoma"/>
                <a:sym typeface="Tahoma"/>
              </a:rPr>
              <a:t>nal</a:t>
            </a:r>
            <a:r>
              <a:rPr lang="en-US" dirty="0">
                <a:latin typeface="Tahoma"/>
                <a:ea typeface="Tahoma"/>
                <a:cs typeface="Tahoma"/>
                <a:sym typeface="Tahoma"/>
              </a:rPr>
              <a:t> caregivers</a:t>
            </a:r>
            <a:endParaRPr dirty="0"/>
          </a:p>
        </p:txBody>
      </p:sp>
      <p:sp>
        <p:nvSpPr>
          <p:cNvPr id="4808" name="Google Shape;4808;p16"/>
          <p:cNvSpPr txBox="1"/>
          <p:nvPr/>
        </p:nvSpPr>
        <p:spPr>
          <a:xfrm>
            <a:off x="5781675" y="5581650"/>
            <a:ext cx="5457825" cy="742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70175" rIns="0" bIns="0" anchor="t" anchorCtr="0">
            <a:spAutoFit/>
          </a:bodyPr>
          <a:lstStyle/>
          <a:p>
            <a:pPr marL="1098550" marR="1090295" lvl="0" indent="0" algn="l" rtl="0">
              <a:lnSpc>
                <a:spcPct val="1252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Tahoma"/>
                <a:ea typeface="Tahoma"/>
                <a:cs typeface="Tahoma"/>
                <a:sym typeface="Tahoma"/>
              </a:rPr>
              <a:t>Screen for SDoH and connect parents and caregivers to needed resources</a:t>
            </a:r>
            <a:endParaRPr sz="125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4809" name="Google Shape;4809;p16"/>
          <p:cNvSpPr/>
          <p:nvPr/>
        </p:nvSpPr>
        <p:spPr>
          <a:xfrm>
            <a:off x="4538726" y="3024251"/>
            <a:ext cx="1283970" cy="1031240"/>
          </a:xfrm>
          <a:custGeom>
            <a:avLst/>
            <a:gdLst/>
            <a:ahLst/>
            <a:cxnLst/>
            <a:rect l="l" t="t" r="r" b="b"/>
            <a:pathLst>
              <a:path w="1283970" h="1031239" extrusionOk="0">
                <a:moveTo>
                  <a:pt x="0" y="526669"/>
                </a:moveTo>
                <a:lnTo>
                  <a:pt x="1283589" y="0"/>
                </a:lnTo>
              </a:path>
              <a:path w="1283970" h="1031239" extrusionOk="0">
                <a:moveTo>
                  <a:pt x="0" y="552450"/>
                </a:moveTo>
                <a:lnTo>
                  <a:pt x="1283589" y="1030732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10" name="Google Shape;4810;p16"/>
          <p:cNvSpPr/>
          <p:nvPr/>
        </p:nvSpPr>
        <p:spPr>
          <a:xfrm>
            <a:off x="4481576" y="5005451"/>
            <a:ext cx="1312545" cy="958215"/>
          </a:xfrm>
          <a:custGeom>
            <a:avLst/>
            <a:gdLst/>
            <a:ahLst/>
            <a:cxnLst/>
            <a:rect l="l" t="t" r="r" b="b"/>
            <a:pathLst>
              <a:path w="1312545" h="958214" extrusionOk="0">
                <a:moveTo>
                  <a:pt x="28575" y="493522"/>
                </a:moveTo>
                <a:lnTo>
                  <a:pt x="1312164" y="0"/>
                </a:lnTo>
              </a:path>
              <a:path w="1312545" h="958214" extrusionOk="0">
                <a:moveTo>
                  <a:pt x="0" y="523875"/>
                </a:moveTo>
                <a:lnTo>
                  <a:pt x="1283589" y="957922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11" name="Google Shape;4811;p16"/>
          <p:cNvSpPr txBox="1"/>
          <p:nvPr/>
        </p:nvSpPr>
        <p:spPr>
          <a:xfrm>
            <a:off x="7367016" y="744791"/>
            <a:ext cx="2005964" cy="3917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latin typeface="Arial"/>
                <a:ea typeface="Arial"/>
                <a:cs typeface="Arial"/>
                <a:sym typeface="Arial"/>
              </a:rPr>
              <a:t>Change Ideas</a:t>
            </a:r>
            <a:endParaRPr sz="24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6" name="Google Shape;4816;p17"/>
          <p:cNvGraphicFramePr/>
          <p:nvPr>
            <p:extLst>
              <p:ext uri="{D42A27DB-BD31-4B8C-83A1-F6EECF244321}">
                <p14:modId xmlns:p14="http://schemas.microsoft.com/office/powerpoint/2010/main" val="1522962371"/>
              </p:ext>
            </p:extLst>
          </p:nvPr>
        </p:nvGraphicFramePr>
        <p:xfrm>
          <a:off x="441045" y="337693"/>
          <a:ext cx="11074400" cy="3807450"/>
        </p:xfrm>
        <a:graphic>
          <a:graphicData uri="http://schemas.openxmlformats.org/drawingml/2006/table">
            <a:tbl>
              <a:tblPr firstRow="1" bandRow="1">
                <a:noFill/>
                <a:tableStyleId>{410EBB18-085E-4E12-99BB-723E436381A6}</a:tableStyleId>
              </a:tblPr>
              <a:tblGrid>
                <a:gridCol w="1507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4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21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04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Baseline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(%)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Current (%)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tc>
                  <a:txBody>
                    <a:bodyPr/>
                    <a:lstStyle/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tructure Measure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04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10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64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parent(s) and/or caregiver(s) on the newborn quality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improvement team.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4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33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8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90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8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108204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standardized process to identify barriers to providing a safe sleep environment outside of the hospital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8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04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41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41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94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41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815975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standardized process to provide resources to enable a safe sleep environment outside of the hospital.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41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585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26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477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86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477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768985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standardized process to screen for newborn inclusive Social Determinants of Health and to link to needed resources.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477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817" name="Google Shape;4817;p17"/>
          <p:cNvSpPr txBox="1"/>
          <p:nvPr/>
        </p:nvSpPr>
        <p:spPr>
          <a:xfrm>
            <a:off x="78739" y="6613525"/>
            <a:ext cx="2218055" cy="208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latin typeface="Arial"/>
                <a:ea typeface="Arial"/>
                <a:cs typeface="Arial"/>
                <a:sym typeface="Arial"/>
              </a:rPr>
              <a:t>Baseline (Oct-Dec 2023), N=75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5F84D19-5833-4636-903A-C7808DA92408}"/>
              </a:ext>
            </a:extLst>
          </p:cNvPr>
          <p:cNvSpPr/>
          <p:nvPr/>
        </p:nvSpPr>
        <p:spPr>
          <a:xfrm>
            <a:off x="356170" y="955496"/>
            <a:ext cx="11243354" cy="760288"/>
          </a:xfrm>
          <a:prstGeom prst="roundRect">
            <a:avLst/>
          </a:prstGeom>
          <a:noFill/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4DB4611-7E6E-4FFE-B2BC-90E7530937EA}"/>
              </a:ext>
            </a:extLst>
          </p:cNvPr>
          <p:cNvSpPr/>
          <p:nvPr/>
        </p:nvSpPr>
        <p:spPr>
          <a:xfrm>
            <a:off x="356170" y="3139757"/>
            <a:ext cx="11243354" cy="1044409"/>
          </a:xfrm>
          <a:prstGeom prst="roundRect">
            <a:avLst/>
          </a:prstGeom>
          <a:noFill/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Google Shape;4470;p13">
            <a:extLst>
              <a:ext uri="{FF2B5EF4-FFF2-40B4-BE49-F238E27FC236}">
                <a16:creationId xmlns:a16="http://schemas.microsoft.com/office/drawing/2014/main" id="{CA29C18C-6F4A-543A-24F3-6C01B965F3A7}"/>
              </a:ext>
            </a:extLst>
          </p:cNvPr>
          <p:cNvSpPr txBox="1"/>
          <p:nvPr/>
        </p:nvSpPr>
        <p:spPr>
          <a:xfrm>
            <a:off x="2480945" y="6613525"/>
            <a:ext cx="190817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/>
                <a:ea typeface="Arial"/>
                <a:cs typeface="Arial"/>
                <a:sym typeface="Arial"/>
              </a:rPr>
              <a:t>Current (June 2025), N=</a:t>
            </a:r>
            <a:r>
              <a:rPr lang="en-US" sz="1200" dirty="0"/>
              <a:t>51</a:t>
            </a:r>
            <a:endParaRPr sz="12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4469;p13">
            <a:extLst>
              <a:ext uri="{FF2B5EF4-FFF2-40B4-BE49-F238E27FC236}">
                <a16:creationId xmlns:a16="http://schemas.microsoft.com/office/drawing/2014/main" id="{DBB95C71-DC2E-A826-8CE7-943C233A96D8}"/>
              </a:ext>
            </a:extLst>
          </p:cNvPr>
          <p:cNvSpPr txBox="1"/>
          <p:nvPr/>
        </p:nvSpPr>
        <p:spPr>
          <a:xfrm>
            <a:off x="9895206" y="6613525"/>
            <a:ext cx="221805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/>
                <a:ea typeface="Arial"/>
                <a:cs typeface="Arial"/>
                <a:sym typeface="Arial"/>
              </a:rPr>
              <a:t>8.15.2025</a:t>
            </a:r>
            <a:endParaRPr sz="1200" dirty="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24" name="Google Shape;4824;p18"/>
          <p:cNvGrpSpPr/>
          <p:nvPr/>
        </p:nvGrpSpPr>
        <p:grpSpPr>
          <a:xfrm>
            <a:off x="142875" y="276225"/>
            <a:ext cx="12049124" cy="6134100"/>
            <a:chOff x="142875" y="276225"/>
            <a:chExt cx="12049124" cy="6134100"/>
          </a:xfrm>
        </p:grpSpPr>
        <p:pic>
          <p:nvPicPr>
            <p:cNvPr id="4825" name="Google Shape;4825;p18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42875" y="276225"/>
              <a:ext cx="3400424" cy="33147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826" name="Google Shape;4826;p1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228724" y="1333500"/>
              <a:ext cx="10963275" cy="507682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827" name="Google Shape;4827;p18"/>
          <p:cNvSpPr txBox="1"/>
          <p:nvPr/>
        </p:nvSpPr>
        <p:spPr>
          <a:xfrm>
            <a:off x="161925" y="1080706"/>
            <a:ext cx="1181735" cy="2774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>
                <a:latin typeface="Arial"/>
                <a:ea typeface="Arial"/>
                <a:cs typeface="Arial"/>
                <a:sym typeface="Arial"/>
              </a:rPr>
              <a:t>Goal = 80%</a:t>
            </a:r>
            <a:endParaRPr sz="165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28" name="Google Shape;4828;p18"/>
          <p:cNvSpPr/>
          <p:nvPr/>
        </p:nvSpPr>
        <p:spPr>
          <a:xfrm>
            <a:off x="1552575" y="3028950"/>
            <a:ext cx="10411460" cy="96520"/>
          </a:xfrm>
          <a:custGeom>
            <a:avLst/>
            <a:gdLst/>
            <a:ahLst/>
            <a:cxnLst/>
            <a:rect l="l" t="t" r="r" b="b"/>
            <a:pathLst>
              <a:path w="10411460" h="96519" extrusionOk="0">
                <a:moveTo>
                  <a:pt x="0" y="96520"/>
                </a:moveTo>
                <a:lnTo>
                  <a:pt x="10411206" y="0"/>
                </a:lnTo>
              </a:path>
            </a:pathLst>
          </a:custGeom>
          <a:noFill/>
          <a:ln w="152375" cap="flat" cmpd="sng">
            <a:solidFill>
              <a:srgbClr val="528BD4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29" name="Google Shape;4829;p18"/>
          <p:cNvSpPr txBox="1"/>
          <p:nvPr/>
        </p:nvSpPr>
        <p:spPr>
          <a:xfrm>
            <a:off x="2446908" y="847089"/>
            <a:ext cx="8606700" cy="34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65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50" b="1">
                <a:latin typeface="DM Sans"/>
                <a:ea typeface="DM Sans"/>
                <a:cs typeface="DM Sans"/>
                <a:sym typeface="DM Sans"/>
              </a:rPr>
              <a:t>Parents or Caregivers Reporting an Understanding of Safe Sleep</a:t>
            </a:r>
            <a:endParaRPr sz="215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4830" name="Google Shape;4830;p18"/>
          <p:cNvSpPr txBox="1"/>
          <p:nvPr/>
        </p:nvSpPr>
        <p:spPr>
          <a:xfrm>
            <a:off x="1655826" y="3708082"/>
            <a:ext cx="798830" cy="2774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>
                <a:latin typeface="Arial"/>
                <a:ea typeface="Arial"/>
                <a:cs typeface="Arial"/>
                <a:sym typeface="Arial"/>
              </a:rPr>
              <a:t>65.44%</a:t>
            </a:r>
            <a:endParaRPr sz="165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31" name="Google Shape;4831;p18"/>
          <p:cNvSpPr txBox="1"/>
          <p:nvPr/>
        </p:nvSpPr>
        <p:spPr>
          <a:xfrm>
            <a:off x="11042904" y="2077656"/>
            <a:ext cx="760730" cy="2667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 dirty="0">
                <a:latin typeface="Arial"/>
                <a:ea typeface="Arial"/>
                <a:cs typeface="Arial"/>
                <a:sym typeface="Arial"/>
              </a:rPr>
              <a:t>95.67%</a:t>
            </a:r>
            <a:endParaRPr sz="1650" dirty="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832" name="Google Shape;4832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09550" y="114300"/>
            <a:ext cx="4362450" cy="723900"/>
          </a:xfrm>
          <a:prstGeom prst="rect">
            <a:avLst/>
          </a:prstGeom>
          <a:noFill/>
          <a:ln>
            <a:noFill/>
          </a:ln>
        </p:spPr>
      </p:pic>
      <p:sp>
        <p:nvSpPr>
          <p:cNvPr id="4833" name="Google Shape;4833;p18"/>
          <p:cNvSpPr txBox="1">
            <a:spLocks noGrp="1"/>
          </p:cNvSpPr>
          <p:nvPr>
            <p:ph type="title"/>
          </p:nvPr>
        </p:nvSpPr>
        <p:spPr>
          <a:xfrm>
            <a:off x="373697" y="301053"/>
            <a:ext cx="4013200" cy="2774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>
                <a:solidFill>
                  <a:srgbClr val="FFFFFF"/>
                </a:solidFill>
              </a:rPr>
              <a:t>ESSI Bundle: Component 1 - Awareness</a:t>
            </a:r>
            <a:endParaRPr sz="1650"/>
          </a:p>
        </p:txBody>
      </p:sp>
      <p:sp>
        <p:nvSpPr>
          <p:cNvPr id="4834" name="Google Shape;4834;p18"/>
          <p:cNvSpPr txBox="1"/>
          <p:nvPr/>
        </p:nvSpPr>
        <p:spPr>
          <a:xfrm rot="-5400000">
            <a:off x="-887525" y="3608251"/>
            <a:ext cx="2953800" cy="2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7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latin typeface="DM Sans"/>
                <a:ea typeface="DM Sans"/>
                <a:cs typeface="DM Sans"/>
                <a:sym typeface="DM Sans"/>
              </a:rPr>
              <a:t>% of Audited Charts</a:t>
            </a:r>
            <a:endParaRPr sz="18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4835" name="Google Shape;4835;p18"/>
          <p:cNvSpPr txBox="1"/>
          <p:nvPr/>
        </p:nvSpPr>
        <p:spPr>
          <a:xfrm>
            <a:off x="168592" y="6566534"/>
            <a:ext cx="1988012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i="1" dirty="0">
                <a:latin typeface="DM Sans"/>
                <a:ea typeface="DM Sans"/>
                <a:cs typeface="DM Sans"/>
                <a:sym typeface="DM Sans"/>
              </a:rPr>
              <a:t>Updated 8.15.2025</a:t>
            </a:r>
            <a:endParaRPr sz="1200" dirty="0">
              <a:latin typeface="DM Sans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41" name="Google Shape;4841;p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0815" y="803568"/>
            <a:ext cx="3400424" cy="3305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5" name="Picture 1">
            <a:extLst>
              <a:ext uri="{FF2B5EF4-FFF2-40B4-BE49-F238E27FC236}">
                <a16:creationId xmlns:a16="http://schemas.microsoft.com/office/drawing/2014/main" id="{AE00F839-BA5C-10CF-B9F7-8422D52461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552" y="1127049"/>
            <a:ext cx="10394633" cy="5439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43" name="Google Shape;4843;p19"/>
          <p:cNvSpPr txBox="1">
            <a:spLocks noGrp="1"/>
          </p:cNvSpPr>
          <p:nvPr>
            <p:ph type="title"/>
          </p:nvPr>
        </p:nvSpPr>
        <p:spPr>
          <a:xfrm>
            <a:off x="843914" y="894397"/>
            <a:ext cx="11097900" cy="73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1425" rIns="0" bIns="0" anchor="t" anchorCtr="0">
            <a:spAutoFit/>
          </a:bodyPr>
          <a:lstStyle/>
          <a:p>
            <a:pPr marL="12700" marR="5080" lvl="0" indent="0" algn="l" rtl="0">
              <a:lnSpc>
                <a:spcPct val="12523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dirty="0">
                <a:solidFill>
                  <a:srgbClr val="000000"/>
                </a:solidFill>
                <a:latin typeface="DM Sans"/>
                <a:ea typeface="DM Sans"/>
                <a:cs typeface="DM Sans"/>
                <a:sym typeface="DM Sans"/>
              </a:rPr>
              <a:t>Documentation of a Conversation with Parents/Caregivers on adjustment to life with a newborn and safe sleep, and resources shared</a:t>
            </a:r>
            <a:endParaRPr sz="2100" dirty="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4844" name="Google Shape;4844;p19"/>
          <p:cNvSpPr txBox="1"/>
          <p:nvPr/>
        </p:nvSpPr>
        <p:spPr>
          <a:xfrm>
            <a:off x="2331085" y="4744402"/>
            <a:ext cx="789305" cy="2774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>
                <a:latin typeface="Arial"/>
                <a:ea typeface="Arial"/>
                <a:cs typeface="Arial"/>
                <a:sym typeface="Arial"/>
              </a:rPr>
              <a:t>40.57%</a:t>
            </a:r>
            <a:endParaRPr sz="165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845" name="Google Shape;4845;p19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09550" y="114300"/>
            <a:ext cx="4362450" cy="723900"/>
          </a:xfrm>
          <a:prstGeom prst="rect">
            <a:avLst/>
          </a:prstGeom>
          <a:noFill/>
          <a:ln>
            <a:noFill/>
          </a:ln>
        </p:spPr>
      </p:pic>
      <p:sp>
        <p:nvSpPr>
          <p:cNvPr id="4846" name="Google Shape;4846;p19"/>
          <p:cNvSpPr txBox="1"/>
          <p:nvPr/>
        </p:nvSpPr>
        <p:spPr>
          <a:xfrm>
            <a:off x="373697" y="301053"/>
            <a:ext cx="4013200" cy="2774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ESSI Bundle: Component 1 - Awareness</a:t>
            </a:r>
            <a:endParaRPr sz="165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47" name="Google Shape;4847;p19"/>
          <p:cNvSpPr txBox="1"/>
          <p:nvPr/>
        </p:nvSpPr>
        <p:spPr>
          <a:xfrm rot="-5400000">
            <a:off x="-188050" y="3976374"/>
            <a:ext cx="3057900" cy="2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7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latin typeface="DM Sans"/>
                <a:ea typeface="DM Sans"/>
                <a:cs typeface="DM Sans"/>
                <a:sym typeface="DM Sans"/>
              </a:rPr>
              <a:t>% of Audited Charts</a:t>
            </a:r>
            <a:endParaRPr sz="18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4848" name="Google Shape;4848;p19"/>
          <p:cNvSpPr/>
          <p:nvPr/>
        </p:nvSpPr>
        <p:spPr>
          <a:xfrm>
            <a:off x="2297583" y="2232091"/>
            <a:ext cx="9132570" cy="37465"/>
          </a:xfrm>
          <a:custGeom>
            <a:avLst/>
            <a:gdLst/>
            <a:ahLst/>
            <a:cxnLst/>
            <a:rect l="l" t="t" r="r" b="b"/>
            <a:pathLst>
              <a:path w="9132570" h="37464" extrusionOk="0">
                <a:moveTo>
                  <a:pt x="0" y="37464"/>
                </a:moveTo>
                <a:lnTo>
                  <a:pt x="9132062" y="0"/>
                </a:lnTo>
              </a:path>
            </a:pathLst>
          </a:custGeom>
          <a:noFill/>
          <a:ln w="152400" cap="flat" cmpd="sng">
            <a:solidFill>
              <a:srgbClr val="528BD4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49" name="Google Shape;4849;p19"/>
          <p:cNvSpPr txBox="1"/>
          <p:nvPr/>
        </p:nvSpPr>
        <p:spPr>
          <a:xfrm>
            <a:off x="364800" y="1745252"/>
            <a:ext cx="11462400" cy="446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1355"/>
              </a:spcBef>
              <a:spcAft>
                <a:spcPts val="0"/>
              </a:spcAft>
              <a:buNone/>
            </a:pPr>
            <a:r>
              <a:rPr lang="en-US" sz="1650" b="1" dirty="0">
                <a:latin typeface="DM Sans"/>
                <a:ea typeface="DM Sans"/>
                <a:cs typeface="DM Sans"/>
                <a:sym typeface="DM Sans"/>
              </a:rPr>
              <a:t>Goal = 80%</a:t>
            </a:r>
            <a:endParaRPr sz="1650" dirty="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3" name="Google Shape;4831;p18">
            <a:extLst>
              <a:ext uri="{FF2B5EF4-FFF2-40B4-BE49-F238E27FC236}">
                <a16:creationId xmlns:a16="http://schemas.microsoft.com/office/drawing/2014/main" id="{E897CD0B-36CD-6C97-D128-D37B8E22BFF2}"/>
              </a:ext>
            </a:extLst>
          </p:cNvPr>
          <p:cNvSpPr txBox="1"/>
          <p:nvPr/>
        </p:nvSpPr>
        <p:spPr>
          <a:xfrm>
            <a:off x="11066470" y="2750025"/>
            <a:ext cx="760730" cy="2667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 dirty="0">
                <a:latin typeface="Arial"/>
                <a:ea typeface="Arial"/>
                <a:cs typeface="Arial"/>
                <a:sym typeface="Arial"/>
              </a:rPr>
              <a:t>88.01%</a:t>
            </a:r>
            <a:endParaRPr sz="165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4835;p18">
            <a:extLst>
              <a:ext uri="{FF2B5EF4-FFF2-40B4-BE49-F238E27FC236}">
                <a16:creationId xmlns:a16="http://schemas.microsoft.com/office/drawing/2014/main" id="{012F32A1-18BB-2AE3-55CE-AE6443A76ADA}"/>
              </a:ext>
            </a:extLst>
          </p:cNvPr>
          <p:cNvSpPr txBox="1"/>
          <p:nvPr/>
        </p:nvSpPr>
        <p:spPr>
          <a:xfrm>
            <a:off x="168592" y="6566534"/>
            <a:ext cx="1988012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i="1" dirty="0">
                <a:latin typeface="DM Sans"/>
                <a:ea typeface="DM Sans"/>
                <a:cs typeface="DM Sans"/>
                <a:sym typeface="DM Sans"/>
              </a:rPr>
              <a:t>Updated 8.15.2025</a:t>
            </a:r>
            <a:endParaRPr sz="1200" dirty="0">
              <a:latin typeface="DM Sans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5" name="Google Shape;4855;p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28138" y="908906"/>
            <a:ext cx="9616211" cy="5910992"/>
          </a:xfrm>
          <a:prstGeom prst="rect">
            <a:avLst/>
          </a:prstGeom>
          <a:noFill/>
          <a:ln>
            <a:noFill/>
          </a:ln>
        </p:spPr>
      </p:pic>
      <p:sp>
        <p:nvSpPr>
          <p:cNvPr id="4856" name="Google Shape;4856;p20"/>
          <p:cNvSpPr txBox="1"/>
          <p:nvPr/>
        </p:nvSpPr>
        <p:spPr>
          <a:xfrm>
            <a:off x="454977" y="1563052"/>
            <a:ext cx="1179300" cy="2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>
                <a:latin typeface="DM Sans"/>
                <a:ea typeface="DM Sans"/>
                <a:cs typeface="DM Sans"/>
                <a:sym typeface="DM Sans"/>
              </a:rPr>
              <a:t>Goal = 80%</a:t>
            </a:r>
            <a:endParaRPr sz="165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4857" name="Google Shape;4857;p20"/>
          <p:cNvSpPr txBox="1"/>
          <p:nvPr/>
        </p:nvSpPr>
        <p:spPr>
          <a:xfrm>
            <a:off x="2933026" y="3864402"/>
            <a:ext cx="741680" cy="2774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 dirty="0">
                <a:latin typeface="Arial"/>
                <a:ea typeface="Arial"/>
                <a:cs typeface="Arial"/>
                <a:sym typeface="Arial"/>
              </a:rPr>
              <a:t>29.77%</a:t>
            </a:r>
            <a:endParaRPr sz="165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58" name="Google Shape;4858;p20"/>
          <p:cNvSpPr txBox="1">
            <a:spLocks noGrp="1"/>
          </p:cNvSpPr>
          <p:nvPr>
            <p:ph type="title"/>
          </p:nvPr>
        </p:nvSpPr>
        <p:spPr>
          <a:xfrm>
            <a:off x="4743450" y="367728"/>
            <a:ext cx="6135300" cy="34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50">
                <a:solidFill>
                  <a:srgbClr val="000000"/>
                </a:solidFill>
                <a:latin typeface="DM Sans"/>
                <a:ea typeface="DM Sans"/>
                <a:cs typeface="DM Sans"/>
                <a:sym typeface="DM Sans"/>
              </a:rPr>
              <a:t>SDOH Screening and Linkage in Infant’s Chart</a:t>
            </a:r>
            <a:endParaRPr sz="215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4859" name="Google Shape;4859;p20"/>
          <p:cNvSpPr txBox="1"/>
          <p:nvPr/>
        </p:nvSpPr>
        <p:spPr>
          <a:xfrm>
            <a:off x="6281801" y="1004950"/>
            <a:ext cx="2647950" cy="247650"/>
          </a:xfrm>
          <a:prstGeom prst="rect">
            <a:avLst/>
          </a:prstGeom>
          <a:noFill/>
          <a:ln w="9525" cap="flat" cmpd="sng">
            <a:solidFill>
              <a:srgbClr val="6F2F9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21575" rIns="0" bIns="0" anchor="t" anchorCtr="0">
            <a:spAutoFit/>
          </a:bodyPr>
          <a:lstStyle/>
          <a:p>
            <a:pPr marL="62864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latin typeface="Arial"/>
                <a:ea typeface="Arial"/>
                <a:cs typeface="Arial"/>
                <a:sym typeface="Arial"/>
              </a:rPr>
              <a:t>SDOH Screening and Linkage Series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860" name="Google Shape;4860;p2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61925" y="133350"/>
            <a:ext cx="4371975" cy="495300"/>
          </a:xfrm>
          <a:prstGeom prst="rect">
            <a:avLst/>
          </a:prstGeom>
          <a:noFill/>
          <a:ln>
            <a:noFill/>
          </a:ln>
        </p:spPr>
      </p:pic>
      <p:sp>
        <p:nvSpPr>
          <p:cNvPr id="4861" name="Google Shape;4861;p20"/>
          <p:cNvSpPr txBox="1"/>
          <p:nvPr/>
        </p:nvSpPr>
        <p:spPr>
          <a:xfrm>
            <a:off x="454977" y="214629"/>
            <a:ext cx="3982085" cy="2768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ESSI Bundle: Component 2 - Readiness</a:t>
            </a:r>
            <a:endParaRPr sz="165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62" name="Google Shape;4862;p20"/>
          <p:cNvSpPr txBox="1"/>
          <p:nvPr/>
        </p:nvSpPr>
        <p:spPr>
          <a:xfrm rot="-5400000">
            <a:off x="242675" y="3652299"/>
            <a:ext cx="2710200" cy="2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7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latin typeface="DM Sans"/>
                <a:ea typeface="DM Sans"/>
                <a:cs typeface="DM Sans"/>
                <a:sym typeface="DM Sans"/>
              </a:rPr>
              <a:t>% of Audited Charts</a:t>
            </a:r>
            <a:endParaRPr sz="18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" name="Google Shape;4857;p20">
            <a:extLst>
              <a:ext uri="{FF2B5EF4-FFF2-40B4-BE49-F238E27FC236}">
                <a16:creationId xmlns:a16="http://schemas.microsoft.com/office/drawing/2014/main" id="{726714BC-4068-E72D-9A97-547DA1342CB6}"/>
              </a:ext>
            </a:extLst>
          </p:cNvPr>
          <p:cNvSpPr txBox="1"/>
          <p:nvPr/>
        </p:nvSpPr>
        <p:spPr>
          <a:xfrm>
            <a:off x="2950132" y="1691742"/>
            <a:ext cx="741680" cy="2667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 dirty="0">
                <a:latin typeface="Arial"/>
                <a:ea typeface="Arial"/>
                <a:cs typeface="Arial"/>
                <a:sym typeface="Arial"/>
              </a:rPr>
              <a:t>69.83%</a:t>
            </a:r>
            <a:endParaRPr sz="165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4857;p20">
            <a:extLst>
              <a:ext uri="{FF2B5EF4-FFF2-40B4-BE49-F238E27FC236}">
                <a16:creationId xmlns:a16="http://schemas.microsoft.com/office/drawing/2014/main" id="{96912441-2654-7105-4F3E-48C23F1BA1D8}"/>
              </a:ext>
            </a:extLst>
          </p:cNvPr>
          <p:cNvSpPr txBox="1"/>
          <p:nvPr/>
        </p:nvSpPr>
        <p:spPr>
          <a:xfrm>
            <a:off x="11202669" y="2689531"/>
            <a:ext cx="741680" cy="2667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 dirty="0">
                <a:latin typeface="Arial"/>
                <a:ea typeface="Arial"/>
                <a:cs typeface="Arial"/>
                <a:sym typeface="Arial"/>
              </a:rPr>
              <a:t>74.3%</a:t>
            </a:r>
            <a:endParaRPr sz="165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4857;p20">
            <a:extLst>
              <a:ext uri="{FF2B5EF4-FFF2-40B4-BE49-F238E27FC236}">
                <a16:creationId xmlns:a16="http://schemas.microsoft.com/office/drawing/2014/main" id="{82EC0720-9A8D-290E-2E9F-BB68D9E2E854}"/>
              </a:ext>
            </a:extLst>
          </p:cNvPr>
          <p:cNvSpPr txBox="1"/>
          <p:nvPr/>
        </p:nvSpPr>
        <p:spPr>
          <a:xfrm>
            <a:off x="11202669" y="1399109"/>
            <a:ext cx="741680" cy="2667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 dirty="0">
                <a:latin typeface="Arial"/>
                <a:ea typeface="Arial"/>
                <a:cs typeface="Arial"/>
                <a:sym typeface="Arial"/>
              </a:rPr>
              <a:t>71.85%</a:t>
            </a:r>
            <a:endParaRPr sz="165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4835;p18">
            <a:extLst>
              <a:ext uri="{FF2B5EF4-FFF2-40B4-BE49-F238E27FC236}">
                <a16:creationId xmlns:a16="http://schemas.microsoft.com/office/drawing/2014/main" id="{317C0185-22DD-044E-9990-F5E39232390D}"/>
              </a:ext>
            </a:extLst>
          </p:cNvPr>
          <p:cNvSpPr txBox="1"/>
          <p:nvPr/>
        </p:nvSpPr>
        <p:spPr>
          <a:xfrm>
            <a:off x="168592" y="6566534"/>
            <a:ext cx="1988012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i="1" dirty="0">
                <a:latin typeface="DM Sans"/>
                <a:ea typeface="DM Sans"/>
                <a:cs typeface="DM Sans"/>
                <a:sym typeface="DM Sans"/>
              </a:rPr>
              <a:t>Updated 8.15.2025</a:t>
            </a:r>
            <a:endParaRPr sz="1200" dirty="0">
              <a:latin typeface="DM Sans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8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68" name="Google Shape;4868;p21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4550" y="2352675"/>
            <a:ext cx="5162550" cy="1628775"/>
          </a:xfrm>
          <a:prstGeom prst="rect">
            <a:avLst/>
          </a:prstGeom>
          <a:noFill/>
          <a:ln>
            <a:noFill/>
          </a:ln>
        </p:spPr>
      </p:pic>
      <p:sp>
        <p:nvSpPr>
          <p:cNvPr id="4869" name="Google Shape;4869;p21"/>
          <p:cNvSpPr/>
          <p:nvPr/>
        </p:nvSpPr>
        <p:spPr>
          <a:xfrm>
            <a:off x="4519676" y="5691187"/>
            <a:ext cx="1405255" cy="3810"/>
          </a:xfrm>
          <a:custGeom>
            <a:avLst/>
            <a:gdLst/>
            <a:ahLst/>
            <a:cxnLst/>
            <a:rect l="l" t="t" r="r" b="b"/>
            <a:pathLst>
              <a:path w="1405254" h="3810" extrusionOk="0">
                <a:moveTo>
                  <a:pt x="0" y="0"/>
                </a:moveTo>
                <a:lnTo>
                  <a:pt x="1405001" y="3416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70" name="Google Shape;4870;p21"/>
          <p:cNvSpPr/>
          <p:nvPr/>
        </p:nvSpPr>
        <p:spPr>
          <a:xfrm>
            <a:off x="4519676" y="2424176"/>
            <a:ext cx="1405255" cy="3810"/>
          </a:xfrm>
          <a:custGeom>
            <a:avLst/>
            <a:gdLst/>
            <a:ahLst/>
            <a:cxnLst/>
            <a:rect l="l" t="t" r="r" b="b"/>
            <a:pathLst>
              <a:path w="1405254" h="3810" extrusionOk="0">
                <a:moveTo>
                  <a:pt x="0" y="0"/>
                </a:moveTo>
                <a:lnTo>
                  <a:pt x="1405001" y="3301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71" name="Google Shape;4871;p21"/>
          <p:cNvSpPr/>
          <p:nvPr/>
        </p:nvSpPr>
        <p:spPr>
          <a:xfrm>
            <a:off x="4510151" y="3500501"/>
            <a:ext cx="1426210" cy="414020"/>
          </a:xfrm>
          <a:custGeom>
            <a:avLst/>
            <a:gdLst/>
            <a:ahLst/>
            <a:cxnLst/>
            <a:rect l="l" t="t" r="r" b="b"/>
            <a:pathLst>
              <a:path w="1426210" h="414020" extrusionOk="0">
                <a:moveTo>
                  <a:pt x="0" y="414019"/>
                </a:moveTo>
                <a:lnTo>
                  <a:pt x="1425956" y="0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872" name="Google Shape;4872;p21"/>
          <p:cNvGrpSpPr/>
          <p:nvPr/>
        </p:nvGrpSpPr>
        <p:grpSpPr>
          <a:xfrm>
            <a:off x="5915025" y="3086100"/>
            <a:ext cx="5448300" cy="3629025"/>
            <a:chOff x="5915025" y="3086100"/>
            <a:chExt cx="5448300" cy="3629025"/>
          </a:xfrm>
        </p:grpSpPr>
        <p:pic>
          <p:nvPicPr>
            <p:cNvPr id="4873" name="Google Shape;4873;p21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34075" y="5124450"/>
              <a:ext cx="5153025" cy="15906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874" name="Google Shape;4874;p21"/>
            <p:cNvSpPr/>
            <p:nvPr/>
          </p:nvSpPr>
          <p:spPr>
            <a:xfrm>
              <a:off x="5924550" y="5410200"/>
              <a:ext cx="5438775" cy="923925"/>
            </a:xfrm>
            <a:custGeom>
              <a:avLst/>
              <a:gdLst/>
              <a:ahLst/>
              <a:cxnLst/>
              <a:rect l="l" t="t" r="r" b="b"/>
              <a:pathLst>
                <a:path w="5438775" h="923925" extrusionOk="0">
                  <a:moveTo>
                    <a:pt x="5438775" y="0"/>
                  </a:moveTo>
                  <a:lnTo>
                    <a:pt x="0" y="0"/>
                  </a:lnTo>
                  <a:lnTo>
                    <a:pt x="0" y="923925"/>
                  </a:lnTo>
                  <a:lnTo>
                    <a:pt x="5438775" y="923925"/>
                  </a:lnTo>
                  <a:lnTo>
                    <a:pt x="5438775" y="0"/>
                  </a:lnTo>
                  <a:close/>
                </a:path>
              </a:pathLst>
            </a:custGeom>
            <a:solidFill>
              <a:srgbClr val="F4AF3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4875" name="Google Shape;4875;p21"/>
            <p:cNvPicPr preferRelativeResize="0"/>
            <p:nvPr/>
          </p:nvPicPr>
          <p:blipFill rotWithShape="1">
            <a:blip r:embed="rId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34075" y="3743325"/>
              <a:ext cx="5153025" cy="159893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876" name="Google Shape;4876;p21"/>
            <p:cNvSpPr/>
            <p:nvPr/>
          </p:nvSpPr>
          <p:spPr>
            <a:xfrm>
              <a:off x="5915025" y="3086100"/>
              <a:ext cx="5448300" cy="895350"/>
            </a:xfrm>
            <a:custGeom>
              <a:avLst/>
              <a:gdLst/>
              <a:ahLst/>
              <a:cxnLst/>
              <a:rect l="l" t="t" r="r" b="b"/>
              <a:pathLst>
                <a:path w="5448300" h="895350" extrusionOk="0">
                  <a:moveTo>
                    <a:pt x="5376672" y="0"/>
                  </a:moveTo>
                  <a:lnTo>
                    <a:pt x="71627" y="0"/>
                  </a:lnTo>
                  <a:lnTo>
                    <a:pt x="43773" y="4056"/>
                  </a:lnTo>
                  <a:lnTo>
                    <a:pt x="21002" y="15112"/>
                  </a:lnTo>
                  <a:lnTo>
                    <a:pt x="5637" y="31503"/>
                  </a:lnTo>
                  <a:lnTo>
                    <a:pt x="0" y="51562"/>
                  </a:lnTo>
                  <a:lnTo>
                    <a:pt x="0" y="843788"/>
                  </a:lnTo>
                  <a:lnTo>
                    <a:pt x="5637" y="863846"/>
                  </a:lnTo>
                  <a:lnTo>
                    <a:pt x="21002" y="880237"/>
                  </a:lnTo>
                  <a:lnTo>
                    <a:pt x="43773" y="891293"/>
                  </a:lnTo>
                  <a:lnTo>
                    <a:pt x="71627" y="895350"/>
                  </a:lnTo>
                  <a:lnTo>
                    <a:pt x="5376672" y="895350"/>
                  </a:lnTo>
                  <a:lnTo>
                    <a:pt x="5404526" y="891293"/>
                  </a:lnTo>
                  <a:lnTo>
                    <a:pt x="5427297" y="880237"/>
                  </a:lnTo>
                  <a:lnTo>
                    <a:pt x="5442662" y="863846"/>
                  </a:lnTo>
                  <a:lnTo>
                    <a:pt x="5448300" y="843788"/>
                  </a:lnTo>
                  <a:lnTo>
                    <a:pt x="5448300" y="51562"/>
                  </a:lnTo>
                  <a:lnTo>
                    <a:pt x="5442662" y="31503"/>
                  </a:lnTo>
                  <a:lnTo>
                    <a:pt x="5427297" y="15112"/>
                  </a:lnTo>
                  <a:lnTo>
                    <a:pt x="5404526" y="4056"/>
                  </a:lnTo>
                  <a:lnTo>
                    <a:pt x="5376672" y="0"/>
                  </a:lnTo>
                  <a:close/>
                </a:path>
              </a:pathLst>
            </a:custGeom>
            <a:solidFill>
              <a:srgbClr val="0CC0D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877" name="Google Shape;4877;p21"/>
            <p:cNvSpPr/>
            <p:nvPr/>
          </p:nvSpPr>
          <p:spPr>
            <a:xfrm>
              <a:off x="7058025" y="3200400"/>
              <a:ext cx="38100" cy="2905125"/>
            </a:xfrm>
            <a:custGeom>
              <a:avLst/>
              <a:gdLst/>
              <a:ahLst/>
              <a:cxnLst/>
              <a:rect l="l" t="t" r="r" b="b"/>
              <a:pathLst>
                <a:path w="38100" h="2905125" extrusionOk="0">
                  <a:moveTo>
                    <a:pt x="38100" y="571500"/>
                  </a:moveTo>
                  <a:lnTo>
                    <a:pt x="38100" y="0"/>
                  </a:lnTo>
                </a:path>
                <a:path w="38100" h="2905125" extrusionOk="0">
                  <a:moveTo>
                    <a:pt x="0" y="2905125"/>
                  </a:moveTo>
                  <a:lnTo>
                    <a:pt x="0" y="2333625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878" name="Google Shape;4878;p21"/>
          <p:cNvSpPr/>
          <p:nvPr/>
        </p:nvSpPr>
        <p:spPr>
          <a:xfrm>
            <a:off x="5924550" y="2876550"/>
            <a:ext cx="1495425" cy="0"/>
          </a:xfrm>
          <a:custGeom>
            <a:avLst/>
            <a:gdLst/>
            <a:ahLst/>
            <a:cxnLst/>
            <a:rect l="l" t="t" r="r" b="b"/>
            <a:pathLst>
              <a:path w="1495425" h="120000" extrusionOk="0">
                <a:moveTo>
                  <a:pt x="0" y="0"/>
                </a:moveTo>
                <a:lnTo>
                  <a:pt x="1495425" y="0"/>
                </a:lnTo>
              </a:path>
            </a:pathLst>
          </a:custGeom>
          <a:noFill/>
          <a:ln w="381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879" name="Google Shape;4879;p21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01" y="4898623"/>
            <a:ext cx="237556" cy="1959374"/>
          </a:xfrm>
          <a:prstGeom prst="rect">
            <a:avLst/>
          </a:prstGeom>
          <a:noFill/>
          <a:ln>
            <a:noFill/>
          </a:ln>
        </p:spPr>
      </p:pic>
      <p:pic>
        <p:nvPicPr>
          <p:cNvPr id="4880" name="Google Shape;4880;p21"/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27800" y="18876"/>
            <a:ext cx="237625" cy="2083458"/>
          </a:xfrm>
          <a:prstGeom prst="rect">
            <a:avLst/>
          </a:prstGeom>
          <a:noFill/>
          <a:ln>
            <a:noFill/>
          </a:ln>
        </p:spPr>
      </p:pic>
      <p:sp>
        <p:nvSpPr>
          <p:cNvPr id="4881" name="Google Shape;4881;p21"/>
          <p:cNvSpPr/>
          <p:nvPr/>
        </p:nvSpPr>
        <p:spPr>
          <a:xfrm>
            <a:off x="11382375" y="6172200"/>
            <a:ext cx="809625" cy="685800"/>
          </a:xfrm>
          <a:custGeom>
            <a:avLst/>
            <a:gdLst/>
            <a:ahLst/>
            <a:cxnLst/>
            <a:rect l="l" t="t" r="r" b="b"/>
            <a:pathLst>
              <a:path w="809625" h="685800" extrusionOk="0">
                <a:moveTo>
                  <a:pt x="809625" y="12475"/>
                </a:moveTo>
                <a:lnTo>
                  <a:pt x="777433" y="6763"/>
                </a:lnTo>
                <a:lnTo>
                  <a:pt x="729728" y="1709"/>
                </a:lnTo>
                <a:lnTo>
                  <a:pt x="681101" y="0"/>
                </a:lnTo>
                <a:lnTo>
                  <a:pt x="632458" y="1709"/>
                </a:lnTo>
                <a:lnTo>
                  <a:pt x="584738" y="6763"/>
                </a:lnTo>
                <a:lnTo>
                  <a:pt x="538057" y="15044"/>
                </a:lnTo>
                <a:lnTo>
                  <a:pt x="492530" y="26437"/>
                </a:lnTo>
                <a:lnTo>
                  <a:pt x="448272" y="40828"/>
                </a:lnTo>
                <a:lnTo>
                  <a:pt x="405398" y="58101"/>
                </a:lnTo>
                <a:lnTo>
                  <a:pt x="364023" y="78142"/>
                </a:lnTo>
                <a:lnTo>
                  <a:pt x="324264" y="100833"/>
                </a:lnTo>
                <a:lnTo>
                  <a:pt x="286234" y="126061"/>
                </a:lnTo>
                <a:lnTo>
                  <a:pt x="250050" y="153711"/>
                </a:lnTo>
                <a:lnTo>
                  <a:pt x="215826" y="183666"/>
                </a:lnTo>
                <a:lnTo>
                  <a:pt x="183677" y="215812"/>
                </a:lnTo>
                <a:lnTo>
                  <a:pt x="153720" y="250033"/>
                </a:lnTo>
                <a:lnTo>
                  <a:pt x="126069" y="286214"/>
                </a:lnTo>
                <a:lnTo>
                  <a:pt x="100839" y="324240"/>
                </a:lnTo>
                <a:lnTo>
                  <a:pt x="78146" y="363996"/>
                </a:lnTo>
                <a:lnTo>
                  <a:pt x="58105" y="405367"/>
                </a:lnTo>
                <a:lnTo>
                  <a:pt x="40830" y="448236"/>
                </a:lnTo>
                <a:lnTo>
                  <a:pt x="26439" y="492489"/>
                </a:lnTo>
                <a:lnTo>
                  <a:pt x="15044" y="538011"/>
                </a:lnTo>
                <a:lnTo>
                  <a:pt x="6763" y="584687"/>
                </a:lnTo>
                <a:lnTo>
                  <a:pt x="1710" y="632400"/>
                </a:lnTo>
                <a:lnTo>
                  <a:pt x="0" y="681037"/>
                </a:lnTo>
                <a:lnTo>
                  <a:pt x="167" y="685800"/>
                </a:lnTo>
              </a:path>
            </a:pathLst>
          </a:custGeom>
          <a:noFill/>
          <a:ln w="38100" cap="flat" cmpd="sng">
            <a:solidFill>
              <a:srgbClr val="EBEF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82" name="Google Shape;4882;p21"/>
          <p:cNvSpPr/>
          <p:nvPr/>
        </p:nvSpPr>
        <p:spPr>
          <a:xfrm>
            <a:off x="0" y="0"/>
            <a:ext cx="952500" cy="714375"/>
          </a:xfrm>
          <a:custGeom>
            <a:avLst/>
            <a:gdLst/>
            <a:ahLst/>
            <a:cxnLst/>
            <a:rect l="l" t="t" r="r" b="b"/>
            <a:pathLst>
              <a:path w="952500" h="714375" extrusionOk="0">
                <a:moveTo>
                  <a:pt x="0" y="660252"/>
                </a:moveTo>
                <a:lnTo>
                  <a:pt x="76832" y="687749"/>
                </a:lnTo>
                <a:lnTo>
                  <a:pt x="122673" y="699223"/>
                </a:lnTo>
                <a:lnTo>
                  <a:pt x="169675" y="707563"/>
                </a:lnTo>
                <a:lnTo>
                  <a:pt x="217722" y="712652"/>
                </a:lnTo>
                <a:lnTo>
                  <a:pt x="266700" y="714375"/>
                </a:lnTo>
                <a:lnTo>
                  <a:pt x="315676" y="712652"/>
                </a:lnTo>
                <a:lnTo>
                  <a:pt x="363723" y="707563"/>
                </a:lnTo>
                <a:lnTo>
                  <a:pt x="410725" y="699223"/>
                </a:lnTo>
                <a:lnTo>
                  <a:pt x="456565" y="687749"/>
                </a:lnTo>
                <a:lnTo>
                  <a:pt x="501128" y="673256"/>
                </a:lnTo>
                <a:lnTo>
                  <a:pt x="544297" y="655860"/>
                </a:lnTo>
                <a:lnTo>
                  <a:pt x="585957" y="635678"/>
                </a:lnTo>
                <a:lnTo>
                  <a:pt x="625991" y="612826"/>
                </a:lnTo>
                <a:lnTo>
                  <a:pt x="664283" y="587420"/>
                </a:lnTo>
                <a:lnTo>
                  <a:pt x="700717" y="559576"/>
                </a:lnTo>
                <a:lnTo>
                  <a:pt x="735178" y="529410"/>
                </a:lnTo>
                <a:lnTo>
                  <a:pt x="767548" y="497038"/>
                </a:lnTo>
                <a:lnTo>
                  <a:pt x="797713" y="462576"/>
                </a:lnTo>
                <a:lnTo>
                  <a:pt x="825556" y="426141"/>
                </a:lnTo>
                <a:lnTo>
                  <a:pt x="850960" y="387849"/>
                </a:lnTo>
                <a:lnTo>
                  <a:pt x="873811" y="347815"/>
                </a:lnTo>
                <a:lnTo>
                  <a:pt x="893991" y="306156"/>
                </a:lnTo>
                <a:lnTo>
                  <a:pt x="911385" y="262988"/>
                </a:lnTo>
                <a:lnTo>
                  <a:pt x="925877" y="218427"/>
                </a:lnTo>
                <a:lnTo>
                  <a:pt x="937350" y="172589"/>
                </a:lnTo>
                <a:lnTo>
                  <a:pt x="945689" y="125590"/>
                </a:lnTo>
                <a:lnTo>
                  <a:pt x="950778" y="77546"/>
                </a:lnTo>
                <a:lnTo>
                  <a:pt x="952500" y="28575"/>
                </a:lnTo>
                <a:lnTo>
                  <a:pt x="951495" y="0"/>
                </a:lnTo>
              </a:path>
            </a:pathLst>
          </a:custGeom>
          <a:noFill/>
          <a:ln w="38100" cap="flat" cmpd="sng">
            <a:solidFill>
              <a:srgbClr val="EBEF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883" name="Google Shape;4883;p21"/>
          <p:cNvPicPr preferRelativeResize="0"/>
          <p:nvPr/>
        </p:nvPicPr>
        <p:blipFill rotWithShape="1"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92143" y="6416754"/>
            <a:ext cx="217098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884" name="Google Shape;4884;p21"/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5471" y="6275823"/>
            <a:ext cx="217098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885" name="Google Shape;4885;p21"/>
          <p:cNvPicPr preferRelativeResize="0"/>
          <p:nvPr/>
        </p:nvPicPr>
        <p:blipFill rotWithShape="1"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5471" y="6557691"/>
            <a:ext cx="217098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886" name="Google Shape;4886;p21"/>
          <p:cNvPicPr preferRelativeResize="0"/>
          <p:nvPr/>
        </p:nvPicPr>
        <p:blipFill rotWithShape="1">
          <a:blip r:embed="rId1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8799" y="6416754"/>
            <a:ext cx="217098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887" name="Google Shape;4887;p21"/>
          <p:cNvPicPr preferRelativeResize="0"/>
          <p:nvPr/>
        </p:nvPicPr>
        <p:blipFill rotWithShape="1">
          <a:blip r:embed="rId1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2127" y="6275823"/>
            <a:ext cx="217206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888" name="Google Shape;4888;p21"/>
          <p:cNvPicPr preferRelativeResize="0"/>
          <p:nvPr/>
        </p:nvPicPr>
        <p:blipFill rotWithShape="1">
          <a:blip r:embed="rId1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2127" y="6557691"/>
            <a:ext cx="217206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889" name="Google Shape;4889;p21"/>
          <p:cNvPicPr preferRelativeResize="0"/>
          <p:nvPr/>
        </p:nvPicPr>
        <p:blipFill rotWithShape="1"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25578" y="6416754"/>
            <a:ext cx="217083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890" name="Google Shape;4890;p21"/>
          <p:cNvPicPr preferRelativeResize="0"/>
          <p:nvPr/>
        </p:nvPicPr>
        <p:blipFill rotWithShape="1">
          <a:blip r:embed="rId1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8906" y="6275823"/>
            <a:ext cx="217083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891" name="Google Shape;4891;p21"/>
          <p:cNvPicPr preferRelativeResize="0"/>
          <p:nvPr/>
        </p:nvPicPr>
        <p:blipFill rotWithShape="1">
          <a:blip r:embed="rId1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8907" y="6557691"/>
            <a:ext cx="217083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892" name="Google Shape;4892;p21"/>
          <p:cNvPicPr preferRelativeResize="0"/>
          <p:nvPr/>
        </p:nvPicPr>
        <p:blipFill rotWithShape="1">
          <a:blip r:embed="rId1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2231" y="6416754"/>
            <a:ext cx="217086" cy="91817"/>
          </a:xfrm>
          <a:prstGeom prst="rect">
            <a:avLst/>
          </a:prstGeom>
          <a:noFill/>
          <a:ln>
            <a:noFill/>
          </a:ln>
        </p:spPr>
      </p:pic>
      <p:sp>
        <p:nvSpPr>
          <p:cNvPr id="4893" name="Google Shape;4893;p21"/>
          <p:cNvSpPr/>
          <p:nvPr/>
        </p:nvSpPr>
        <p:spPr>
          <a:xfrm>
            <a:off x="5535996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94" name="Google Shape;4894;p21"/>
          <p:cNvSpPr/>
          <p:nvPr/>
        </p:nvSpPr>
        <p:spPr>
          <a:xfrm>
            <a:off x="5679054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95" name="Google Shape;4895;p21"/>
          <p:cNvSpPr/>
          <p:nvPr/>
        </p:nvSpPr>
        <p:spPr>
          <a:xfrm>
            <a:off x="5822112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96" name="Google Shape;4896;p21"/>
          <p:cNvSpPr/>
          <p:nvPr/>
        </p:nvSpPr>
        <p:spPr>
          <a:xfrm>
            <a:off x="5965170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97" name="Google Shape;4897;p21"/>
          <p:cNvSpPr/>
          <p:nvPr/>
        </p:nvSpPr>
        <p:spPr>
          <a:xfrm>
            <a:off x="6108228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98" name="Google Shape;4898;p21"/>
          <p:cNvSpPr/>
          <p:nvPr/>
        </p:nvSpPr>
        <p:spPr>
          <a:xfrm>
            <a:off x="6251286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899" name="Google Shape;4899;p21"/>
          <p:cNvSpPr/>
          <p:nvPr/>
        </p:nvSpPr>
        <p:spPr>
          <a:xfrm>
            <a:off x="6394344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00" name="Google Shape;4900;p21"/>
          <p:cNvSpPr/>
          <p:nvPr/>
        </p:nvSpPr>
        <p:spPr>
          <a:xfrm>
            <a:off x="6537401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01" name="Google Shape;4901;p21"/>
          <p:cNvSpPr/>
          <p:nvPr/>
        </p:nvSpPr>
        <p:spPr>
          <a:xfrm>
            <a:off x="6680459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02" name="Google Shape;4902;p21"/>
          <p:cNvSpPr/>
          <p:nvPr/>
        </p:nvSpPr>
        <p:spPr>
          <a:xfrm>
            <a:off x="682351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03" name="Google Shape;4903;p21"/>
          <p:cNvSpPr/>
          <p:nvPr/>
        </p:nvSpPr>
        <p:spPr>
          <a:xfrm>
            <a:off x="696657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04" name="Google Shape;4904;p21"/>
          <p:cNvSpPr/>
          <p:nvPr/>
        </p:nvSpPr>
        <p:spPr>
          <a:xfrm>
            <a:off x="7109633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05" name="Google Shape;4905;p21"/>
          <p:cNvSpPr/>
          <p:nvPr/>
        </p:nvSpPr>
        <p:spPr>
          <a:xfrm>
            <a:off x="7252691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06" name="Google Shape;4906;p21"/>
          <p:cNvSpPr/>
          <p:nvPr/>
        </p:nvSpPr>
        <p:spPr>
          <a:xfrm>
            <a:off x="7395749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07" name="Google Shape;4907;p21"/>
          <p:cNvSpPr/>
          <p:nvPr/>
        </p:nvSpPr>
        <p:spPr>
          <a:xfrm>
            <a:off x="753880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08" name="Google Shape;4908;p21"/>
          <p:cNvSpPr/>
          <p:nvPr/>
        </p:nvSpPr>
        <p:spPr>
          <a:xfrm>
            <a:off x="768186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09" name="Google Shape;4909;p21"/>
          <p:cNvSpPr/>
          <p:nvPr/>
        </p:nvSpPr>
        <p:spPr>
          <a:xfrm>
            <a:off x="782492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10" name="Google Shape;4910;p21"/>
          <p:cNvSpPr/>
          <p:nvPr/>
        </p:nvSpPr>
        <p:spPr>
          <a:xfrm>
            <a:off x="796798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11" name="Google Shape;4911;p21"/>
          <p:cNvSpPr/>
          <p:nvPr/>
        </p:nvSpPr>
        <p:spPr>
          <a:xfrm>
            <a:off x="8111043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12" name="Google Shape;4912;p21"/>
          <p:cNvSpPr/>
          <p:nvPr/>
        </p:nvSpPr>
        <p:spPr>
          <a:xfrm>
            <a:off x="8254102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13" name="Google Shape;4913;p21"/>
          <p:cNvSpPr/>
          <p:nvPr/>
        </p:nvSpPr>
        <p:spPr>
          <a:xfrm>
            <a:off x="553599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14" name="Google Shape;4914;p21"/>
          <p:cNvSpPr/>
          <p:nvPr/>
        </p:nvSpPr>
        <p:spPr>
          <a:xfrm>
            <a:off x="5679054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15" name="Google Shape;4915;p21"/>
          <p:cNvSpPr/>
          <p:nvPr/>
        </p:nvSpPr>
        <p:spPr>
          <a:xfrm>
            <a:off x="582211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16" name="Google Shape;4916;p21"/>
          <p:cNvSpPr/>
          <p:nvPr/>
        </p:nvSpPr>
        <p:spPr>
          <a:xfrm>
            <a:off x="5965170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17" name="Google Shape;4917;p21"/>
          <p:cNvSpPr/>
          <p:nvPr/>
        </p:nvSpPr>
        <p:spPr>
          <a:xfrm>
            <a:off x="6108228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18" name="Google Shape;4918;p21"/>
          <p:cNvSpPr/>
          <p:nvPr/>
        </p:nvSpPr>
        <p:spPr>
          <a:xfrm>
            <a:off x="625128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19" name="Google Shape;4919;p21"/>
          <p:cNvSpPr/>
          <p:nvPr/>
        </p:nvSpPr>
        <p:spPr>
          <a:xfrm>
            <a:off x="6394344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20" name="Google Shape;4920;p21"/>
          <p:cNvSpPr/>
          <p:nvPr/>
        </p:nvSpPr>
        <p:spPr>
          <a:xfrm>
            <a:off x="653740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21" name="Google Shape;4921;p21"/>
          <p:cNvSpPr/>
          <p:nvPr/>
        </p:nvSpPr>
        <p:spPr>
          <a:xfrm>
            <a:off x="6680459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22" name="Google Shape;4922;p21"/>
          <p:cNvSpPr/>
          <p:nvPr/>
        </p:nvSpPr>
        <p:spPr>
          <a:xfrm>
            <a:off x="682351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23" name="Google Shape;4923;p21"/>
          <p:cNvSpPr/>
          <p:nvPr/>
        </p:nvSpPr>
        <p:spPr>
          <a:xfrm>
            <a:off x="6966575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24" name="Google Shape;4924;p21"/>
          <p:cNvSpPr/>
          <p:nvPr/>
        </p:nvSpPr>
        <p:spPr>
          <a:xfrm>
            <a:off x="7109633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25" name="Google Shape;4925;p21"/>
          <p:cNvSpPr/>
          <p:nvPr/>
        </p:nvSpPr>
        <p:spPr>
          <a:xfrm>
            <a:off x="7252691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26" name="Google Shape;4926;p21"/>
          <p:cNvSpPr/>
          <p:nvPr/>
        </p:nvSpPr>
        <p:spPr>
          <a:xfrm>
            <a:off x="7395749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27" name="Google Shape;4927;p21"/>
          <p:cNvSpPr/>
          <p:nvPr/>
        </p:nvSpPr>
        <p:spPr>
          <a:xfrm>
            <a:off x="753880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28" name="Google Shape;4928;p21"/>
          <p:cNvSpPr/>
          <p:nvPr/>
        </p:nvSpPr>
        <p:spPr>
          <a:xfrm>
            <a:off x="7681865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29" name="Google Shape;4929;p21"/>
          <p:cNvSpPr/>
          <p:nvPr/>
        </p:nvSpPr>
        <p:spPr>
          <a:xfrm>
            <a:off x="782492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30" name="Google Shape;4930;p21"/>
          <p:cNvSpPr/>
          <p:nvPr/>
        </p:nvSpPr>
        <p:spPr>
          <a:xfrm>
            <a:off x="796798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31" name="Google Shape;4931;p21"/>
          <p:cNvSpPr/>
          <p:nvPr/>
        </p:nvSpPr>
        <p:spPr>
          <a:xfrm>
            <a:off x="8111043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32" name="Google Shape;4932;p21"/>
          <p:cNvSpPr/>
          <p:nvPr/>
        </p:nvSpPr>
        <p:spPr>
          <a:xfrm>
            <a:off x="825410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33" name="Google Shape;4933;p21"/>
          <p:cNvSpPr/>
          <p:nvPr/>
        </p:nvSpPr>
        <p:spPr>
          <a:xfrm>
            <a:off x="4688272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34" name="Google Shape;4934;p21"/>
          <p:cNvSpPr/>
          <p:nvPr/>
        </p:nvSpPr>
        <p:spPr>
          <a:xfrm>
            <a:off x="4831330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35" name="Google Shape;4935;p21"/>
          <p:cNvSpPr/>
          <p:nvPr/>
        </p:nvSpPr>
        <p:spPr>
          <a:xfrm>
            <a:off x="4974388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36" name="Google Shape;4936;p21"/>
          <p:cNvSpPr/>
          <p:nvPr/>
        </p:nvSpPr>
        <p:spPr>
          <a:xfrm>
            <a:off x="5117446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37" name="Google Shape;4937;p21"/>
          <p:cNvSpPr/>
          <p:nvPr/>
        </p:nvSpPr>
        <p:spPr>
          <a:xfrm>
            <a:off x="5260504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38" name="Google Shape;4938;p21"/>
          <p:cNvSpPr/>
          <p:nvPr/>
        </p:nvSpPr>
        <p:spPr>
          <a:xfrm>
            <a:off x="5403562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39" name="Google Shape;4939;p21"/>
          <p:cNvSpPr/>
          <p:nvPr/>
        </p:nvSpPr>
        <p:spPr>
          <a:xfrm>
            <a:off x="554661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40" name="Google Shape;4940;p21"/>
          <p:cNvSpPr/>
          <p:nvPr/>
        </p:nvSpPr>
        <p:spPr>
          <a:xfrm>
            <a:off x="5689677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41" name="Google Shape;4941;p21"/>
          <p:cNvSpPr/>
          <p:nvPr/>
        </p:nvSpPr>
        <p:spPr>
          <a:xfrm>
            <a:off x="5832735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42" name="Google Shape;4942;p21"/>
          <p:cNvSpPr/>
          <p:nvPr/>
        </p:nvSpPr>
        <p:spPr>
          <a:xfrm>
            <a:off x="597579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43" name="Google Shape;4943;p21"/>
          <p:cNvSpPr/>
          <p:nvPr/>
        </p:nvSpPr>
        <p:spPr>
          <a:xfrm>
            <a:off x="6118851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44" name="Google Shape;4944;p21"/>
          <p:cNvSpPr/>
          <p:nvPr/>
        </p:nvSpPr>
        <p:spPr>
          <a:xfrm>
            <a:off x="626190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45" name="Google Shape;4945;p21"/>
          <p:cNvSpPr/>
          <p:nvPr/>
        </p:nvSpPr>
        <p:spPr>
          <a:xfrm>
            <a:off x="6404967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46" name="Google Shape;4946;p21"/>
          <p:cNvSpPr/>
          <p:nvPr/>
        </p:nvSpPr>
        <p:spPr>
          <a:xfrm>
            <a:off x="6548025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47" name="Google Shape;4947;p21"/>
          <p:cNvSpPr/>
          <p:nvPr/>
        </p:nvSpPr>
        <p:spPr>
          <a:xfrm>
            <a:off x="669108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48" name="Google Shape;4948;p21"/>
          <p:cNvSpPr/>
          <p:nvPr/>
        </p:nvSpPr>
        <p:spPr>
          <a:xfrm>
            <a:off x="6834140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49" name="Google Shape;4949;p21"/>
          <p:cNvSpPr/>
          <p:nvPr/>
        </p:nvSpPr>
        <p:spPr>
          <a:xfrm>
            <a:off x="697720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50" name="Google Shape;4950;p21"/>
          <p:cNvSpPr/>
          <p:nvPr/>
        </p:nvSpPr>
        <p:spPr>
          <a:xfrm>
            <a:off x="7120261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51" name="Google Shape;4951;p21"/>
          <p:cNvSpPr/>
          <p:nvPr/>
        </p:nvSpPr>
        <p:spPr>
          <a:xfrm>
            <a:off x="726331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52" name="Google Shape;4952;p21"/>
          <p:cNvSpPr/>
          <p:nvPr/>
        </p:nvSpPr>
        <p:spPr>
          <a:xfrm>
            <a:off x="7406378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53" name="Google Shape;4953;p21"/>
          <p:cNvSpPr/>
          <p:nvPr/>
        </p:nvSpPr>
        <p:spPr>
          <a:xfrm>
            <a:off x="4688272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54" name="Google Shape;4954;p21"/>
          <p:cNvSpPr/>
          <p:nvPr/>
        </p:nvSpPr>
        <p:spPr>
          <a:xfrm>
            <a:off x="4831330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55" name="Google Shape;4955;p21"/>
          <p:cNvSpPr/>
          <p:nvPr/>
        </p:nvSpPr>
        <p:spPr>
          <a:xfrm>
            <a:off x="4974388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56" name="Google Shape;4956;p21"/>
          <p:cNvSpPr/>
          <p:nvPr/>
        </p:nvSpPr>
        <p:spPr>
          <a:xfrm>
            <a:off x="5117446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57" name="Google Shape;4957;p21"/>
          <p:cNvSpPr/>
          <p:nvPr/>
        </p:nvSpPr>
        <p:spPr>
          <a:xfrm>
            <a:off x="5260504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58" name="Google Shape;4958;p21"/>
          <p:cNvSpPr/>
          <p:nvPr/>
        </p:nvSpPr>
        <p:spPr>
          <a:xfrm>
            <a:off x="5403562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59" name="Google Shape;4959;p21"/>
          <p:cNvSpPr/>
          <p:nvPr/>
        </p:nvSpPr>
        <p:spPr>
          <a:xfrm>
            <a:off x="554661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60" name="Google Shape;4960;p21"/>
          <p:cNvSpPr/>
          <p:nvPr/>
        </p:nvSpPr>
        <p:spPr>
          <a:xfrm>
            <a:off x="5689677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61" name="Google Shape;4961;p21"/>
          <p:cNvSpPr/>
          <p:nvPr/>
        </p:nvSpPr>
        <p:spPr>
          <a:xfrm>
            <a:off x="5832735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62" name="Google Shape;4962;p21"/>
          <p:cNvSpPr/>
          <p:nvPr/>
        </p:nvSpPr>
        <p:spPr>
          <a:xfrm>
            <a:off x="597579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63" name="Google Shape;4963;p21"/>
          <p:cNvSpPr/>
          <p:nvPr/>
        </p:nvSpPr>
        <p:spPr>
          <a:xfrm>
            <a:off x="6118851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64" name="Google Shape;4964;p21"/>
          <p:cNvSpPr/>
          <p:nvPr/>
        </p:nvSpPr>
        <p:spPr>
          <a:xfrm>
            <a:off x="626190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65" name="Google Shape;4965;p21"/>
          <p:cNvSpPr/>
          <p:nvPr/>
        </p:nvSpPr>
        <p:spPr>
          <a:xfrm>
            <a:off x="6404967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66" name="Google Shape;4966;p21"/>
          <p:cNvSpPr/>
          <p:nvPr/>
        </p:nvSpPr>
        <p:spPr>
          <a:xfrm>
            <a:off x="6548025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67" name="Google Shape;4967;p21"/>
          <p:cNvSpPr/>
          <p:nvPr/>
        </p:nvSpPr>
        <p:spPr>
          <a:xfrm>
            <a:off x="669108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68" name="Google Shape;4968;p21"/>
          <p:cNvSpPr/>
          <p:nvPr/>
        </p:nvSpPr>
        <p:spPr>
          <a:xfrm>
            <a:off x="6834140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69" name="Google Shape;4969;p21"/>
          <p:cNvSpPr/>
          <p:nvPr/>
        </p:nvSpPr>
        <p:spPr>
          <a:xfrm>
            <a:off x="697720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70" name="Google Shape;4970;p21"/>
          <p:cNvSpPr/>
          <p:nvPr/>
        </p:nvSpPr>
        <p:spPr>
          <a:xfrm>
            <a:off x="7120261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71" name="Google Shape;4971;p21"/>
          <p:cNvSpPr/>
          <p:nvPr/>
        </p:nvSpPr>
        <p:spPr>
          <a:xfrm>
            <a:off x="726331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72" name="Google Shape;4972;p21"/>
          <p:cNvSpPr/>
          <p:nvPr/>
        </p:nvSpPr>
        <p:spPr>
          <a:xfrm>
            <a:off x="7406378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973" name="Google Shape;4973;p21"/>
          <p:cNvPicPr preferRelativeResize="0"/>
          <p:nvPr/>
        </p:nvPicPr>
        <p:blipFill rotWithShape="1">
          <a:blip r:embed="rId1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2175" y="600075"/>
            <a:ext cx="1571625" cy="723900"/>
          </a:xfrm>
          <a:prstGeom prst="rect">
            <a:avLst/>
          </a:prstGeom>
          <a:noFill/>
          <a:ln>
            <a:noFill/>
          </a:ln>
        </p:spPr>
      </p:pic>
      <p:sp>
        <p:nvSpPr>
          <p:cNvPr id="4974" name="Google Shape;4974;p21"/>
          <p:cNvSpPr/>
          <p:nvPr/>
        </p:nvSpPr>
        <p:spPr>
          <a:xfrm>
            <a:off x="685800" y="1819275"/>
            <a:ext cx="3819525" cy="684586"/>
          </a:xfrm>
          <a:custGeom>
            <a:avLst/>
            <a:gdLst/>
            <a:ahLst/>
            <a:cxnLst/>
            <a:rect l="l" t="t" r="r" b="b"/>
            <a:pathLst>
              <a:path w="3819525" h="1057275" extrusionOk="0">
                <a:moveTo>
                  <a:pt x="79425" y="0"/>
                </a:moveTo>
                <a:lnTo>
                  <a:pt x="3740150" y="0"/>
                </a:lnTo>
                <a:lnTo>
                  <a:pt x="3771036" y="6264"/>
                </a:lnTo>
                <a:lnTo>
                  <a:pt x="3796268" y="23352"/>
                </a:lnTo>
                <a:lnTo>
                  <a:pt x="3813284" y="48702"/>
                </a:lnTo>
                <a:lnTo>
                  <a:pt x="3819525" y="79755"/>
                </a:lnTo>
                <a:lnTo>
                  <a:pt x="3819525" y="977519"/>
                </a:lnTo>
                <a:lnTo>
                  <a:pt x="3806184" y="1021738"/>
                </a:lnTo>
                <a:lnTo>
                  <a:pt x="3770503" y="1051210"/>
                </a:lnTo>
                <a:lnTo>
                  <a:pt x="3740150" y="1057275"/>
                </a:lnTo>
                <a:lnTo>
                  <a:pt x="79425" y="1057275"/>
                </a:lnTo>
                <a:lnTo>
                  <a:pt x="35363" y="1043880"/>
                </a:lnTo>
                <a:lnTo>
                  <a:pt x="6046" y="1007999"/>
                </a:lnTo>
                <a:lnTo>
                  <a:pt x="0" y="977519"/>
                </a:lnTo>
                <a:lnTo>
                  <a:pt x="0" y="79755"/>
                </a:lnTo>
                <a:lnTo>
                  <a:pt x="13346" y="35536"/>
                </a:lnTo>
                <a:lnTo>
                  <a:pt x="49031" y="6064"/>
                </a:lnTo>
                <a:lnTo>
                  <a:pt x="79425" y="0"/>
                </a:lnTo>
                <a:close/>
              </a:path>
            </a:pathLst>
          </a:custGeom>
          <a:noFill/>
          <a:ln w="57150" cap="flat" cmpd="sng">
            <a:solidFill>
              <a:srgbClr val="52BE9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4975" name="Google Shape;4975;p21"/>
          <p:cNvGrpSpPr/>
          <p:nvPr/>
        </p:nvGrpSpPr>
        <p:grpSpPr>
          <a:xfrm>
            <a:off x="5905500" y="1581150"/>
            <a:ext cx="5457825" cy="962025"/>
            <a:chOff x="5905500" y="1581150"/>
            <a:chExt cx="5457825" cy="962025"/>
          </a:xfrm>
        </p:grpSpPr>
        <p:sp>
          <p:nvSpPr>
            <p:cNvPr id="4976" name="Google Shape;4976;p21"/>
            <p:cNvSpPr/>
            <p:nvPr/>
          </p:nvSpPr>
          <p:spPr>
            <a:xfrm>
              <a:off x="5905500" y="1581150"/>
              <a:ext cx="5457825" cy="962025"/>
            </a:xfrm>
            <a:custGeom>
              <a:avLst/>
              <a:gdLst/>
              <a:ahLst/>
              <a:cxnLst/>
              <a:rect l="l" t="t" r="r" b="b"/>
              <a:pathLst>
                <a:path w="5457825" h="962025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4994"/>
                  </a:lnTo>
                  <a:lnTo>
                    <a:pt x="21018" y="18621"/>
                  </a:lnTo>
                  <a:lnTo>
                    <a:pt x="5639" y="38844"/>
                  </a:lnTo>
                  <a:lnTo>
                    <a:pt x="0" y="63626"/>
                  </a:lnTo>
                  <a:lnTo>
                    <a:pt x="0" y="898398"/>
                  </a:lnTo>
                  <a:lnTo>
                    <a:pt x="5639" y="923180"/>
                  </a:lnTo>
                  <a:lnTo>
                    <a:pt x="21018" y="943403"/>
                  </a:lnTo>
                  <a:lnTo>
                    <a:pt x="43826" y="957030"/>
                  </a:lnTo>
                  <a:lnTo>
                    <a:pt x="71754" y="962025"/>
                  </a:lnTo>
                  <a:lnTo>
                    <a:pt x="5386070" y="962025"/>
                  </a:lnTo>
                  <a:lnTo>
                    <a:pt x="5413998" y="957030"/>
                  </a:lnTo>
                  <a:lnTo>
                    <a:pt x="5436806" y="943403"/>
                  </a:lnTo>
                  <a:lnTo>
                    <a:pt x="5452185" y="923180"/>
                  </a:lnTo>
                  <a:lnTo>
                    <a:pt x="5457825" y="898398"/>
                  </a:lnTo>
                  <a:lnTo>
                    <a:pt x="5457825" y="63626"/>
                  </a:lnTo>
                  <a:lnTo>
                    <a:pt x="5452185" y="38844"/>
                  </a:lnTo>
                  <a:lnTo>
                    <a:pt x="5436806" y="18621"/>
                  </a:lnTo>
                  <a:lnTo>
                    <a:pt x="5413998" y="4994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4373A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977" name="Google Shape;4977;p21"/>
            <p:cNvSpPr/>
            <p:nvPr/>
          </p:nvSpPr>
          <p:spPr>
            <a:xfrm>
              <a:off x="7038975" y="1762125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4978" name="Google Shape;4978;p21"/>
          <p:cNvPicPr preferRelativeResize="0"/>
          <p:nvPr/>
        </p:nvPicPr>
        <p:blipFill rotWithShape="1">
          <a:blip r:embed="rId1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1425" y="560670"/>
            <a:ext cx="133700" cy="187073"/>
          </a:xfrm>
          <a:prstGeom prst="rect">
            <a:avLst/>
          </a:prstGeom>
          <a:noFill/>
          <a:ln>
            <a:noFill/>
          </a:ln>
        </p:spPr>
      </p:pic>
      <p:pic>
        <p:nvPicPr>
          <p:cNvPr id="4979" name="Google Shape;4979;p21"/>
          <p:cNvPicPr preferRelativeResize="0"/>
          <p:nvPr/>
        </p:nvPicPr>
        <p:blipFill rotWithShape="1">
          <a:blip r:embed="rId1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4507" y="906825"/>
            <a:ext cx="133616" cy="187159"/>
          </a:xfrm>
          <a:prstGeom prst="rect">
            <a:avLst/>
          </a:prstGeom>
          <a:noFill/>
          <a:ln>
            <a:noFill/>
          </a:ln>
        </p:spPr>
      </p:pic>
      <p:pic>
        <p:nvPicPr>
          <p:cNvPr id="4980" name="Google Shape;4980;p21"/>
          <p:cNvPicPr preferRelativeResize="0"/>
          <p:nvPr/>
        </p:nvPicPr>
        <p:blipFill rotWithShape="1">
          <a:blip r:embed="rId1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27468" y="1348658"/>
            <a:ext cx="133700" cy="187067"/>
          </a:xfrm>
          <a:prstGeom prst="rect">
            <a:avLst/>
          </a:prstGeom>
          <a:noFill/>
          <a:ln>
            <a:noFill/>
          </a:ln>
        </p:spPr>
      </p:pic>
      <p:pic>
        <p:nvPicPr>
          <p:cNvPr id="4981" name="Google Shape;4981;p21"/>
          <p:cNvPicPr preferRelativeResize="0"/>
          <p:nvPr/>
        </p:nvPicPr>
        <p:blipFill rotWithShape="1">
          <a:blip r:embed="rId2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2780" y="1047997"/>
            <a:ext cx="133606" cy="187159"/>
          </a:xfrm>
          <a:prstGeom prst="rect">
            <a:avLst/>
          </a:prstGeom>
          <a:noFill/>
          <a:ln>
            <a:noFill/>
          </a:ln>
        </p:spPr>
      </p:pic>
      <p:pic>
        <p:nvPicPr>
          <p:cNvPr id="4982" name="Google Shape;4982;p21"/>
          <p:cNvPicPr preferRelativeResize="0"/>
          <p:nvPr/>
        </p:nvPicPr>
        <p:blipFill rotWithShape="1">
          <a:blip r:embed="rId2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2196" y="591892"/>
            <a:ext cx="133700" cy="187073"/>
          </a:xfrm>
          <a:prstGeom prst="rect">
            <a:avLst/>
          </a:prstGeom>
          <a:noFill/>
          <a:ln>
            <a:noFill/>
          </a:ln>
        </p:spPr>
      </p:pic>
      <p:pic>
        <p:nvPicPr>
          <p:cNvPr id="4983" name="Google Shape;4983;p21"/>
          <p:cNvPicPr preferRelativeResize="0"/>
          <p:nvPr/>
        </p:nvPicPr>
        <p:blipFill rotWithShape="1">
          <a:blip r:embed="rId2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374" y="950144"/>
            <a:ext cx="133700" cy="187073"/>
          </a:xfrm>
          <a:prstGeom prst="rect">
            <a:avLst/>
          </a:prstGeom>
          <a:noFill/>
          <a:ln>
            <a:noFill/>
          </a:ln>
        </p:spPr>
      </p:pic>
      <p:pic>
        <p:nvPicPr>
          <p:cNvPr id="4984" name="Google Shape;4984;p21"/>
          <p:cNvPicPr preferRelativeResize="0"/>
          <p:nvPr/>
        </p:nvPicPr>
        <p:blipFill rotWithShape="1">
          <a:blip r:embed="rId2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7166" y="1390201"/>
            <a:ext cx="133700" cy="187068"/>
          </a:xfrm>
          <a:prstGeom prst="rect">
            <a:avLst/>
          </a:prstGeom>
          <a:noFill/>
          <a:ln>
            <a:noFill/>
          </a:ln>
        </p:spPr>
      </p:pic>
      <p:pic>
        <p:nvPicPr>
          <p:cNvPr id="4985" name="Google Shape;4985;p21"/>
          <p:cNvPicPr preferRelativeResize="0"/>
          <p:nvPr/>
        </p:nvPicPr>
        <p:blipFill rotWithShape="1">
          <a:blip r:embed="rId2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8273" y="268231"/>
            <a:ext cx="133700" cy="187052"/>
          </a:xfrm>
          <a:prstGeom prst="rect">
            <a:avLst/>
          </a:prstGeom>
          <a:noFill/>
          <a:ln>
            <a:noFill/>
          </a:ln>
        </p:spPr>
      </p:pic>
      <p:pic>
        <p:nvPicPr>
          <p:cNvPr id="4986" name="Google Shape;4986;p21"/>
          <p:cNvPicPr preferRelativeResize="0"/>
          <p:nvPr/>
        </p:nvPicPr>
        <p:blipFill rotWithShape="1">
          <a:blip r:embed="rId2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0888" y="795993"/>
            <a:ext cx="133665" cy="187063"/>
          </a:xfrm>
          <a:prstGeom prst="rect">
            <a:avLst/>
          </a:prstGeom>
          <a:noFill/>
          <a:ln>
            <a:noFill/>
          </a:ln>
        </p:spPr>
      </p:pic>
      <p:sp>
        <p:nvSpPr>
          <p:cNvPr id="4987" name="Google Shape;4987;p21"/>
          <p:cNvSpPr/>
          <p:nvPr/>
        </p:nvSpPr>
        <p:spPr>
          <a:xfrm>
            <a:off x="3543020" y="460997"/>
            <a:ext cx="835025" cy="913765"/>
          </a:xfrm>
          <a:custGeom>
            <a:avLst/>
            <a:gdLst/>
            <a:ahLst/>
            <a:cxnLst/>
            <a:rect l="l" t="t" r="r" b="b"/>
            <a:pathLst>
              <a:path w="835025" h="913765" extrusionOk="0">
                <a:moveTo>
                  <a:pt x="170891" y="905421"/>
                </a:moveTo>
                <a:lnTo>
                  <a:pt x="14859" y="663460"/>
                </a:lnTo>
                <a:lnTo>
                  <a:pt x="0" y="671436"/>
                </a:lnTo>
                <a:lnTo>
                  <a:pt x="156019" y="913396"/>
                </a:lnTo>
                <a:lnTo>
                  <a:pt x="170891" y="905421"/>
                </a:lnTo>
                <a:close/>
              </a:path>
              <a:path w="835025" h="913765" extrusionOk="0">
                <a:moveTo>
                  <a:pt x="216827" y="270560"/>
                </a:moveTo>
                <a:lnTo>
                  <a:pt x="203784" y="260261"/>
                </a:lnTo>
                <a:lnTo>
                  <a:pt x="28257" y="445249"/>
                </a:lnTo>
                <a:lnTo>
                  <a:pt x="41287" y="455549"/>
                </a:lnTo>
                <a:lnTo>
                  <a:pt x="216827" y="270560"/>
                </a:lnTo>
                <a:close/>
              </a:path>
              <a:path w="835025" h="913765" extrusionOk="0">
                <a:moveTo>
                  <a:pt x="563372" y="11404"/>
                </a:moveTo>
                <a:lnTo>
                  <a:pt x="551434" y="0"/>
                </a:lnTo>
                <a:lnTo>
                  <a:pt x="356374" y="170776"/>
                </a:lnTo>
                <a:lnTo>
                  <a:pt x="368312" y="182118"/>
                </a:lnTo>
                <a:lnTo>
                  <a:pt x="563372" y="11404"/>
                </a:lnTo>
                <a:close/>
              </a:path>
              <a:path w="835025" h="913765" extrusionOk="0">
                <a:moveTo>
                  <a:pt x="677659" y="276148"/>
                </a:moveTo>
                <a:lnTo>
                  <a:pt x="670877" y="261696"/>
                </a:lnTo>
                <a:lnTo>
                  <a:pt x="301155" y="405980"/>
                </a:lnTo>
                <a:lnTo>
                  <a:pt x="308787" y="319455"/>
                </a:lnTo>
                <a:lnTo>
                  <a:pt x="291592" y="318185"/>
                </a:lnTo>
                <a:lnTo>
                  <a:pt x="283235" y="412978"/>
                </a:lnTo>
                <a:lnTo>
                  <a:pt x="50800" y="503682"/>
                </a:lnTo>
                <a:lnTo>
                  <a:pt x="57581" y="518147"/>
                </a:lnTo>
                <a:lnTo>
                  <a:pt x="281673" y="430695"/>
                </a:lnTo>
                <a:lnTo>
                  <a:pt x="261594" y="658660"/>
                </a:lnTo>
                <a:lnTo>
                  <a:pt x="64643" y="603034"/>
                </a:lnTo>
                <a:lnTo>
                  <a:pt x="59537" y="618058"/>
                </a:lnTo>
                <a:lnTo>
                  <a:pt x="260184" y="674725"/>
                </a:lnTo>
                <a:lnTo>
                  <a:pt x="244284" y="855408"/>
                </a:lnTo>
                <a:lnTo>
                  <a:pt x="261467" y="856665"/>
                </a:lnTo>
                <a:lnTo>
                  <a:pt x="277063" y="679500"/>
                </a:lnTo>
                <a:lnTo>
                  <a:pt x="387121" y="710565"/>
                </a:lnTo>
                <a:lnTo>
                  <a:pt x="392214" y="695540"/>
                </a:lnTo>
                <a:lnTo>
                  <a:pt x="278485" y="663435"/>
                </a:lnTo>
                <a:lnTo>
                  <a:pt x="299605" y="423697"/>
                </a:lnTo>
                <a:lnTo>
                  <a:pt x="677659" y="276148"/>
                </a:lnTo>
                <a:close/>
              </a:path>
              <a:path w="835025" h="913765" extrusionOk="0">
                <a:moveTo>
                  <a:pt x="686536" y="229120"/>
                </a:moveTo>
                <a:lnTo>
                  <a:pt x="390144" y="211340"/>
                </a:lnTo>
                <a:lnTo>
                  <a:pt x="389013" y="227037"/>
                </a:lnTo>
                <a:lnTo>
                  <a:pt x="685393" y="244817"/>
                </a:lnTo>
                <a:lnTo>
                  <a:pt x="686536" y="229120"/>
                </a:lnTo>
                <a:close/>
              </a:path>
              <a:path w="835025" h="913765" extrusionOk="0">
                <a:moveTo>
                  <a:pt x="713473" y="198158"/>
                </a:moveTo>
                <a:lnTo>
                  <a:pt x="627684" y="20231"/>
                </a:lnTo>
                <a:lnTo>
                  <a:pt x="611911" y="26581"/>
                </a:lnTo>
                <a:lnTo>
                  <a:pt x="697687" y="204495"/>
                </a:lnTo>
                <a:lnTo>
                  <a:pt x="713473" y="198158"/>
                </a:lnTo>
                <a:close/>
              </a:path>
              <a:path w="835025" h="913765" extrusionOk="0">
                <a:moveTo>
                  <a:pt x="765556" y="647954"/>
                </a:moveTo>
                <a:lnTo>
                  <a:pt x="758698" y="633526"/>
                </a:lnTo>
                <a:lnTo>
                  <a:pt x="565645" y="709980"/>
                </a:lnTo>
                <a:lnTo>
                  <a:pt x="572503" y="724408"/>
                </a:lnTo>
                <a:lnTo>
                  <a:pt x="765556" y="647954"/>
                </a:lnTo>
                <a:close/>
              </a:path>
              <a:path w="835025" h="913765" extrusionOk="0">
                <a:moveTo>
                  <a:pt x="834771" y="459016"/>
                </a:moveTo>
                <a:lnTo>
                  <a:pt x="799655" y="341579"/>
                </a:lnTo>
                <a:lnTo>
                  <a:pt x="783018" y="345719"/>
                </a:lnTo>
                <a:lnTo>
                  <a:pt x="818134" y="463156"/>
                </a:lnTo>
                <a:lnTo>
                  <a:pt x="834771" y="459016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88" name="Google Shape;4988;p21"/>
          <p:cNvSpPr/>
          <p:nvPr/>
        </p:nvSpPr>
        <p:spPr>
          <a:xfrm>
            <a:off x="4474378" y="954449"/>
            <a:ext cx="184150" cy="106680"/>
          </a:xfrm>
          <a:custGeom>
            <a:avLst/>
            <a:gdLst/>
            <a:ahLst/>
            <a:cxnLst/>
            <a:rect l="l" t="t" r="r" b="b"/>
            <a:pathLst>
              <a:path w="184150" h="106680" extrusionOk="0">
                <a:moveTo>
                  <a:pt x="175511" y="0"/>
                </a:moveTo>
                <a:lnTo>
                  <a:pt x="0" y="92503"/>
                </a:lnTo>
                <a:lnTo>
                  <a:pt x="8635" y="106129"/>
                </a:lnTo>
                <a:lnTo>
                  <a:pt x="184123" y="13625"/>
                </a:lnTo>
                <a:lnTo>
                  <a:pt x="175511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4989" name="Google Shape;4989;p21"/>
          <p:cNvPicPr preferRelativeResize="0"/>
          <p:nvPr/>
        </p:nvPicPr>
        <p:blipFill rotWithShape="1">
          <a:blip r:embed="rId2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0187" y="1160777"/>
            <a:ext cx="133783" cy="187073"/>
          </a:xfrm>
          <a:prstGeom prst="rect">
            <a:avLst/>
          </a:prstGeom>
          <a:noFill/>
          <a:ln>
            <a:noFill/>
          </a:ln>
        </p:spPr>
      </p:pic>
      <p:pic>
        <p:nvPicPr>
          <p:cNvPr id="4990" name="Google Shape;4990;p21"/>
          <p:cNvPicPr preferRelativeResize="0"/>
          <p:nvPr/>
        </p:nvPicPr>
        <p:blipFill rotWithShape="1">
          <a:blip r:embed="rId2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3897" y="392216"/>
            <a:ext cx="133653" cy="187095"/>
          </a:xfrm>
          <a:prstGeom prst="rect">
            <a:avLst/>
          </a:prstGeom>
          <a:noFill/>
          <a:ln>
            <a:noFill/>
          </a:ln>
        </p:spPr>
      </p:pic>
      <p:sp>
        <p:nvSpPr>
          <p:cNvPr id="4991" name="Google Shape;4991;p21"/>
          <p:cNvSpPr/>
          <p:nvPr/>
        </p:nvSpPr>
        <p:spPr>
          <a:xfrm>
            <a:off x="3889464" y="1243647"/>
            <a:ext cx="443230" cy="259715"/>
          </a:xfrm>
          <a:custGeom>
            <a:avLst/>
            <a:gdLst/>
            <a:ahLst/>
            <a:cxnLst/>
            <a:rect l="l" t="t" r="r" b="b"/>
            <a:pathLst>
              <a:path w="443229" h="259715" extrusionOk="0">
                <a:moveTo>
                  <a:pt x="441325" y="243408"/>
                </a:moveTo>
                <a:lnTo>
                  <a:pt x="609" y="229158"/>
                </a:lnTo>
                <a:lnTo>
                  <a:pt x="0" y="244881"/>
                </a:lnTo>
                <a:lnTo>
                  <a:pt x="440702" y="259130"/>
                </a:lnTo>
                <a:lnTo>
                  <a:pt x="441325" y="243408"/>
                </a:lnTo>
                <a:close/>
              </a:path>
              <a:path w="443229" h="259715" extrusionOk="0">
                <a:moveTo>
                  <a:pt x="443077" y="199237"/>
                </a:moveTo>
                <a:lnTo>
                  <a:pt x="209054" y="0"/>
                </a:lnTo>
                <a:lnTo>
                  <a:pt x="197294" y="11493"/>
                </a:lnTo>
                <a:lnTo>
                  <a:pt x="431304" y="210743"/>
                </a:lnTo>
                <a:lnTo>
                  <a:pt x="443077" y="199237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92" name="Google Shape;4992;p21"/>
          <p:cNvSpPr/>
          <p:nvPr/>
        </p:nvSpPr>
        <p:spPr>
          <a:xfrm>
            <a:off x="4457862" y="1138230"/>
            <a:ext cx="174625" cy="127000"/>
          </a:xfrm>
          <a:custGeom>
            <a:avLst/>
            <a:gdLst/>
            <a:ahLst/>
            <a:cxnLst/>
            <a:rect l="l" t="t" r="r" b="b"/>
            <a:pathLst>
              <a:path w="174625" h="127000" extrusionOk="0">
                <a:moveTo>
                  <a:pt x="10452" y="0"/>
                </a:moveTo>
                <a:lnTo>
                  <a:pt x="0" y="12516"/>
                </a:lnTo>
                <a:lnTo>
                  <a:pt x="163831" y="126373"/>
                </a:lnTo>
                <a:lnTo>
                  <a:pt x="174213" y="113867"/>
                </a:lnTo>
                <a:lnTo>
                  <a:pt x="10452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93" name="Google Shape;4993;p21"/>
          <p:cNvSpPr/>
          <p:nvPr/>
        </p:nvSpPr>
        <p:spPr>
          <a:xfrm>
            <a:off x="4711944" y="999512"/>
            <a:ext cx="33020" cy="133350"/>
          </a:xfrm>
          <a:custGeom>
            <a:avLst/>
            <a:gdLst/>
            <a:ahLst/>
            <a:cxnLst/>
            <a:rect l="l" t="t" r="r" b="b"/>
            <a:pathLst>
              <a:path w="33020" h="133350" extrusionOk="0">
                <a:moveTo>
                  <a:pt x="15572" y="0"/>
                </a:moveTo>
                <a:lnTo>
                  <a:pt x="0" y="131614"/>
                </a:lnTo>
                <a:lnTo>
                  <a:pt x="17106" y="133304"/>
                </a:lnTo>
                <a:lnTo>
                  <a:pt x="32678" y="1689"/>
                </a:lnTo>
                <a:lnTo>
                  <a:pt x="15572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94" name="Google Shape;4994;p21"/>
          <p:cNvSpPr/>
          <p:nvPr/>
        </p:nvSpPr>
        <p:spPr>
          <a:xfrm>
            <a:off x="4088837" y="793819"/>
            <a:ext cx="194945" cy="306705"/>
          </a:xfrm>
          <a:custGeom>
            <a:avLst/>
            <a:gdLst/>
            <a:ahLst/>
            <a:cxnLst/>
            <a:rect l="l" t="t" r="r" b="b"/>
            <a:pathLst>
              <a:path w="194945" h="306705" extrusionOk="0">
                <a:moveTo>
                  <a:pt x="179474" y="0"/>
                </a:moveTo>
                <a:lnTo>
                  <a:pt x="0" y="298831"/>
                </a:lnTo>
                <a:lnTo>
                  <a:pt x="15124" y="306386"/>
                </a:lnTo>
                <a:lnTo>
                  <a:pt x="194599" y="7555"/>
                </a:lnTo>
                <a:lnTo>
                  <a:pt x="179474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95" name="Google Shape;4995;p21"/>
          <p:cNvSpPr/>
          <p:nvPr/>
        </p:nvSpPr>
        <p:spPr>
          <a:xfrm>
            <a:off x="4630895" y="594809"/>
            <a:ext cx="113030" cy="188595"/>
          </a:xfrm>
          <a:custGeom>
            <a:avLst/>
            <a:gdLst/>
            <a:ahLst/>
            <a:cxnLst/>
            <a:rect l="l" t="t" r="r" b="b"/>
            <a:pathLst>
              <a:path w="113029" h="188595" extrusionOk="0">
                <a:moveTo>
                  <a:pt x="15454" y="0"/>
                </a:moveTo>
                <a:lnTo>
                  <a:pt x="0" y="6920"/>
                </a:lnTo>
                <a:lnTo>
                  <a:pt x="97565" y="188365"/>
                </a:lnTo>
                <a:lnTo>
                  <a:pt x="113019" y="181445"/>
                </a:lnTo>
                <a:lnTo>
                  <a:pt x="15454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96" name="Google Shape;4996;p21"/>
          <p:cNvSpPr/>
          <p:nvPr/>
        </p:nvSpPr>
        <p:spPr>
          <a:xfrm>
            <a:off x="4219057" y="434189"/>
            <a:ext cx="320675" cy="93980"/>
          </a:xfrm>
          <a:custGeom>
            <a:avLst/>
            <a:gdLst/>
            <a:ahLst/>
            <a:cxnLst/>
            <a:rect l="l" t="t" r="r" b="b"/>
            <a:pathLst>
              <a:path w="320675" h="93979" extrusionOk="0">
                <a:moveTo>
                  <a:pt x="4518" y="0"/>
                </a:moveTo>
                <a:lnTo>
                  <a:pt x="0" y="15175"/>
                </a:lnTo>
                <a:lnTo>
                  <a:pt x="315900" y="93483"/>
                </a:lnTo>
                <a:lnTo>
                  <a:pt x="320431" y="78297"/>
                </a:lnTo>
                <a:lnTo>
                  <a:pt x="4518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97" name="Google Shape;4997;p21"/>
          <p:cNvSpPr/>
          <p:nvPr/>
        </p:nvSpPr>
        <p:spPr>
          <a:xfrm>
            <a:off x="4384304" y="1156386"/>
            <a:ext cx="33020" cy="218440"/>
          </a:xfrm>
          <a:custGeom>
            <a:avLst/>
            <a:gdLst/>
            <a:ahLst/>
            <a:cxnLst/>
            <a:rect l="l" t="t" r="r" b="b"/>
            <a:pathLst>
              <a:path w="33020" h="218440" extrusionOk="0">
                <a:moveTo>
                  <a:pt x="17212" y="0"/>
                </a:moveTo>
                <a:lnTo>
                  <a:pt x="0" y="1022"/>
                </a:lnTo>
                <a:lnTo>
                  <a:pt x="15596" y="218037"/>
                </a:lnTo>
                <a:lnTo>
                  <a:pt x="32797" y="217015"/>
                </a:lnTo>
                <a:lnTo>
                  <a:pt x="17212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98" name="Google Shape;4998;p21"/>
          <p:cNvSpPr/>
          <p:nvPr/>
        </p:nvSpPr>
        <p:spPr>
          <a:xfrm>
            <a:off x="4495979" y="1361315"/>
            <a:ext cx="149225" cy="135890"/>
          </a:xfrm>
          <a:custGeom>
            <a:avLst/>
            <a:gdLst/>
            <a:ahLst/>
            <a:cxnLst/>
            <a:rect l="l" t="t" r="r" b="b"/>
            <a:pathLst>
              <a:path w="149225" h="135890" extrusionOk="0">
                <a:moveTo>
                  <a:pt x="136449" y="0"/>
                </a:moveTo>
                <a:lnTo>
                  <a:pt x="0" y="124526"/>
                </a:lnTo>
                <a:lnTo>
                  <a:pt x="12198" y="135649"/>
                </a:lnTo>
                <a:lnTo>
                  <a:pt x="148718" y="11128"/>
                </a:lnTo>
                <a:lnTo>
                  <a:pt x="136449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4999" name="Google Shape;4999;p21"/>
          <p:cNvSpPr/>
          <p:nvPr/>
        </p:nvSpPr>
        <p:spPr>
          <a:xfrm>
            <a:off x="3855837" y="1276366"/>
            <a:ext cx="142240" cy="152400"/>
          </a:xfrm>
          <a:custGeom>
            <a:avLst/>
            <a:gdLst/>
            <a:ahLst/>
            <a:cxnLst/>
            <a:rect l="l" t="t" r="r" b="b"/>
            <a:pathLst>
              <a:path w="142239" h="152400" extrusionOk="0">
                <a:moveTo>
                  <a:pt x="128710" y="0"/>
                </a:moveTo>
                <a:lnTo>
                  <a:pt x="0" y="142301"/>
                </a:lnTo>
                <a:lnTo>
                  <a:pt x="13295" y="152310"/>
                </a:lnTo>
                <a:lnTo>
                  <a:pt x="142017" y="10019"/>
                </a:lnTo>
                <a:lnTo>
                  <a:pt x="128710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00" name="Google Shape;5000;p21"/>
          <p:cNvSpPr/>
          <p:nvPr/>
        </p:nvSpPr>
        <p:spPr>
          <a:xfrm>
            <a:off x="4403322" y="592097"/>
            <a:ext cx="198120" cy="140970"/>
          </a:xfrm>
          <a:custGeom>
            <a:avLst/>
            <a:gdLst/>
            <a:ahLst/>
            <a:cxnLst/>
            <a:rect l="l" t="t" r="r" b="b"/>
            <a:pathLst>
              <a:path w="198120" h="140970" extrusionOk="0">
                <a:moveTo>
                  <a:pt x="187214" y="0"/>
                </a:moveTo>
                <a:lnTo>
                  <a:pt x="0" y="128030"/>
                </a:lnTo>
                <a:lnTo>
                  <a:pt x="10346" y="140622"/>
                </a:lnTo>
                <a:lnTo>
                  <a:pt x="197560" y="12592"/>
                </a:lnTo>
                <a:lnTo>
                  <a:pt x="187214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5001" name="Google Shape;5001;p21"/>
          <p:cNvGrpSpPr/>
          <p:nvPr/>
        </p:nvGrpSpPr>
        <p:grpSpPr>
          <a:xfrm>
            <a:off x="3526434" y="402870"/>
            <a:ext cx="755015" cy="643482"/>
            <a:chOff x="3526434" y="402870"/>
            <a:chExt cx="755015" cy="643482"/>
          </a:xfrm>
        </p:grpSpPr>
        <p:pic>
          <p:nvPicPr>
            <p:cNvPr id="5002" name="Google Shape;5002;p21"/>
            <p:cNvPicPr preferRelativeResize="0"/>
            <p:nvPr/>
          </p:nvPicPr>
          <p:blipFill rotWithShape="1">
            <a:blip r:embed="rId28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53714" y="402870"/>
              <a:ext cx="133701" cy="18708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003" name="Google Shape;5003;p21"/>
            <p:cNvSpPr/>
            <p:nvPr/>
          </p:nvSpPr>
          <p:spPr>
            <a:xfrm>
              <a:off x="3526434" y="409447"/>
              <a:ext cx="755015" cy="636905"/>
            </a:xfrm>
            <a:custGeom>
              <a:avLst/>
              <a:gdLst/>
              <a:ahLst/>
              <a:cxnLst/>
              <a:rect l="l" t="t" r="r" b="b"/>
              <a:pathLst>
                <a:path w="755014" h="636905" extrusionOk="0">
                  <a:moveTo>
                    <a:pt x="59817" y="211378"/>
                  </a:moveTo>
                  <a:lnTo>
                    <a:pt x="42748" y="209080"/>
                  </a:lnTo>
                  <a:lnTo>
                    <a:pt x="0" y="472414"/>
                  </a:lnTo>
                  <a:lnTo>
                    <a:pt x="17056" y="474713"/>
                  </a:lnTo>
                  <a:lnTo>
                    <a:pt x="59817" y="211378"/>
                  </a:lnTo>
                  <a:close/>
                </a:path>
                <a:path w="755014" h="636905" extrusionOk="0">
                  <a:moveTo>
                    <a:pt x="232575" y="247078"/>
                  </a:moveTo>
                  <a:lnTo>
                    <a:pt x="158445" y="186563"/>
                  </a:lnTo>
                  <a:lnTo>
                    <a:pt x="146939" y="198285"/>
                  </a:lnTo>
                  <a:lnTo>
                    <a:pt x="221068" y="258800"/>
                  </a:lnTo>
                  <a:lnTo>
                    <a:pt x="232575" y="247078"/>
                  </a:lnTo>
                  <a:close/>
                </a:path>
                <a:path w="755014" h="636905" extrusionOk="0">
                  <a:moveTo>
                    <a:pt x="506196" y="15062"/>
                  </a:moveTo>
                  <a:lnTo>
                    <a:pt x="501230" y="0"/>
                  </a:lnTo>
                  <a:lnTo>
                    <a:pt x="177520" y="88785"/>
                  </a:lnTo>
                  <a:lnTo>
                    <a:pt x="182486" y="103886"/>
                  </a:lnTo>
                  <a:lnTo>
                    <a:pt x="506196" y="15062"/>
                  </a:lnTo>
                  <a:close/>
                </a:path>
                <a:path w="755014" h="636905" extrusionOk="0">
                  <a:moveTo>
                    <a:pt x="754608" y="623697"/>
                  </a:moveTo>
                  <a:lnTo>
                    <a:pt x="352869" y="353301"/>
                  </a:lnTo>
                  <a:lnTo>
                    <a:pt x="342633" y="365950"/>
                  </a:lnTo>
                  <a:lnTo>
                    <a:pt x="744385" y="636358"/>
                  </a:lnTo>
                  <a:lnTo>
                    <a:pt x="754608" y="623697"/>
                  </a:lnTo>
                  <a:close/>
                </a:path>
              </a:pathLst>
            </a:custGeom>
            <a:solidFill>
              <a:srgbClr val="29ABE1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5004" name="Google Shape;5004;p21"/>
          <p:cNvSpPr/>
          <p:nvPr/>
        </p:nvSpPr>
        <p:spPr>
          <a:xfrm>
            <a:off x="4149145" y="1209811"/>
            <a:ext cx="469900" cy="113664"/>
          </a:xfrm>
          <a:custGeom>
            <a:avLst/>
            <a:gdLst/>
            <a:ahLst/>
            <a:cxnLst/>
            <a:rect l="l" t="t" r="r" b="b"/>
            <a:pathLst>
              <a:path w="469900" h="113665" extrusionOk="0">
                <a:moveTo>
                  <a:pt x="3857" y="0"/>
                </a:moveTo>
                <a:lnTo>
                  <a:pt x="0" y="15325"/>
                </a:lnTo>
                <a:lnTo>
                  <a:pt x="466023" y="113178"/>
                </a:lnTo>
                <a:lnTo>
                  <a:pt x="469834" y="97852"/>
                </a:lnTo>
                <a:lnTo>
                  <a:pt x="3857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05" name="Google Shape;5005;p21"/>
          <p:cNvSpPr/>
          <p:nvPr/>
        </p:nvSpPr>
        <p:spPr>
          <a:xfrm>
            <a:off x="4392881" y="804786"/>
            <a:ext cx="246379" cy="124460"/>
          </a:xfrm>
          <a:custGeom>
            <a:avLst/>
            <a:gdLst/>
            <a:ahLst/>
            <a:cxnLst/>
            <a:rect l="l" t="t" r="r" b="b"/>
            <a:pathLst>
              <a:path w="246379" h="124459" extrusionOk="0">
                <a:moveTo>
                  <a:pt x="7786" y="0"/>
                </a:moveTo>
                <a:lnTo>
                  <a:pt x="0" y="14034"/>
                </a:lnTo>
                <a:lnTo>
                  <a:pt x="237896" y="124307"/>
                </a:lnTo>
                <a:lnTo>
                  <a:pt x="245800" y="110272"/>
                </a:lnTo>
                <a:lnTo>
                  <a:pt x="7786" y="0"/>
                </a:lnTo>
                <a:close/>
              </a:path>
            </a:pathLst>
          </a:custGeom>
          <a:solidFill>
            <a:srgbClr val="29ABE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06" name="Google Shape;5006;p21"/>
          <p:cNvSpPr/>
          <p:nvPr/>
        </p:nvSpPr>
        <p:spPr>
          <a:xfrm>
            <a:off x="685800" y="3343275"/>
            <a:ext cx="3819525" cy="715089"/>
          </a:xfrm>
          <a:custGeom>
            <a:avLst/>
            <a:gdLst/>
            <a:ahLst/>
            <a:cxnLst/>
            <a:rect l="l" t="t" r="r" b="b"/>
            <a:pathLst>
              <a:path w="3819525" h="1047750" extrusionOk="0">
                <a:moveTo>
                  <a:pt x="79425" y="0"/>
                </a:moveTo>
                <a:lnTo>
                  <a:pt x="3740150" y="0"/>
                </a:lnTo>
                <a:lnTo>
                  <a:pt x="3771036" y="6219"/>
                </a:lnTo>
                <a:lnTo>
                  <a:pt x="3796268" y="23177"/>
                </a:lnTo>
                <a:lnTo>
                  <a:pt x="3813284" y="48327"/>
                </a:lnTo>
                <a:lnTo>
                  <a:pt x="3819525" y="79121"/>
                </a:lnTo>
                <a:lnTo>
                  <a:pt x="3819525" y="968629"/>
                </a:lnTo>
                <a:lnTo>
                  <a:pt x="3806184" y="1012563"/>
                </a:lnTo>
                <a:lnTo>
                  <a:pt x="3770503" y="1041717"/>
                </a:lnTo>
                <a:lnTo>
                  <a:pt x="3740150" y="1047750"/>
                </a:lnTo>
                <a:lnTo>
                  <a:pt x="79425" y="1047750"/>
                </a:lnTo>
                <a:lnTo>
                  <a:pt x="35363" y="1034462"/>
                </a:lnTo>
                <a:lnTo>
                  <a:pt x="6046" y="998918"/>
                </a:lnTo>
                <a:lnTo>
                  <a:pt x="0" y="968629"/>
                </a:lnTo>
                <a:lnTo>
                  <a:pt x="0" y="79121"/>
                </a:lnTo>
                <a:lnTo>
                  <a:pt x="13346" y="35186"/>
                </a:lnTo>
                <a:lnTo>
                  <a:pt x="49031" y="6032"/>
                </a:lnTo>
                <a:lnTo>
                  <a:pt x="79425" y="0"/>
                </a:lnTo>
                <a:close/>
              </a:path>
            </a:pathLst>
          </a:custGeom>
          <a:noFill/>
          <a:ln w="57150" cap="flat" cmpd="sng">
            <a:solidFill>
              <a:srgbClr val="F84B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07" name="Google Shape;5007;p21"/>
          <p:cNvSpPr/>
          <p:nvPr/>
        </p:nvSpPr>
        <p:spPr>
          <a:xfrm>
            <a:off x="666750" y="5086350"/>
            <a:ext cx="3819525" cy="882825"/>
          </a:xfrm>
          <a:custGeom>
            <a:avLst/>
            <a:gdLst/>
            <a:ahLst/>
            <a:cxnLst/>
            <a:rect l="l" t="t" r="r" b="b"/>
            <a:pathLst>
              <a:path w="3819525" h="1057275" extrusionOk="0">
                <a:moveTo>
                  <a:pt x="79425" y="0"/>
                </a:moveTo>
                <a:lnTo>
                  <a:pt x="3740150" y="0"/>
                </a:lnTo>
                <a:lnTo>
                  <a:pt x="3771036" y="6264"/>
                </a:lnTo>
                <a:lnTo>
                  <a:pt x="3796268" y="23352"/>
                </a:lnTo>
                <a:lnTo>
                  <a:pt x="3813284" y="48702"/>
                </a:lnTo>
                <a:lnTo>
                  <a:pt x="3819525" y="79756"/>
                </a:lnTo>
                <a:lnTo>
                  <a:pt x="3819525" y="977480"/>
                </a:lnTo>
                <a:lnTo>
                  <a:pt x="3806184" y="1021748"/>
                </a:lnTo>
                <a:lnTo>
                  <a:pt x="3770503" y="1051201"/>
                </a:lnTo>
                <a:lnTo>
                  <a:pt x="3740150" y="1057275"/>
                </a:lnTo>
                <a:lnTo>
                  <a:pt x="79425" y="1057275"/>
                </a:lnTo>
                <a:lnTo>
                  <a:pt x="35363" y="1043869"/>
                </a:lnTo>
                <a:lnTo>
                  <a:pt x="6046" y="1008013"/>
                </a:lnTo>
                <a:lnTo>
                  <a:pt x="0" y="977480"/>
                </a:lnTo>
                <a:lnTo>
                  <a:pt x="0" y="79756"/>
                </a:lnTo>
                <a:lnTo>
                  <a:pt x="13346" y="35536"/>
                </a:lnTo>
                <a:lnTo>
                  <a:pt x="49031" y="6064"/>
                </a:lnTo>
                <a:lnTo>
                  <a:pt x="79425" y="0"/>
                </a:lnTo>
                <a:close/>
              </a:path>
            </a:pathLst>
          </a:custGeom>
          <a:noFill/>
          <a:ln w="57150" cap="flat" cmpd="sng">
            <a:solidFill>
              <a:srgbClr val="9F79C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08" name="Google Shape;5008;p21"/>
          <p:cNvSpPr/>
          <p:nvPr/>
        </p:nvSpPr>
        <p:spPr>
          <a:xfrm>
            <a:off x="5943600" y="5248275"/>
            <a:ext cx="1485900" cy="0"/>
          </a:xfrm>
          <a:custGeom>
            <a:avLst/>
            <a:gdLst/>
            <a:ahLst/>
            <a:cxnLst/>
            <a:rect l="l" t="t" r="r" b="b"/>
            <a:pathLst>
              <a:path w="1485900" h="120000" extrusionOk="0">
                <a:moveTo>
                  <a:pt x="0" y="0"/>
                </a:moveTo>
                <a:lnTo>
                  <a:pt x="1485900" y="0"/>
                </a:lnTo>
              </a:path>
            </a:pathLst>
          </a:custGeom>
          <a:noFill/>
          <a:ln w="381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5009" name="Google Shape;5009;p21"/>
          <p:cNvPicPr preferRelativeResize="0"/>
          <p:nvPr/>
        </p:nvPicPr>
        <p:blipFill rotWithShape="1">
          <a:blip r:embed="rId2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5505450"/>
            <a:ext cx="847725" cy="609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010" name="Google Shape;5010;p21"/>
          <p:cNvPicPr preferRelativeResize="0"/>
          <p:nvPr/>
        </p:nvPicPr>
        <p:blipFill rotWithShape="1">
          <a:blip r:embed="rId3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72705" y="1658518"/>
            <a:ext cx="149301" cy="202373"/>
          </a:xfrm>
          <a:prstGeom prst="rect">
            <a:avLst/>
          </a:prstGeom>
          <a:noFill/>
          <a:ln>
            <a:noFill/>
          </a:ln>
        </p:spPr>
      </p:pic>
      <p:pic>
        <p:nvPicPr>
          <p:cNvPr id="5011" name="Google Shape;5011;p21"/>
          <p:cNvPicPr preferRelativeResize="0"/>
          <p:nvPr/>
        </p:nvPicPr>
        <p:blipFill rotWithShape="1">
          <a:blip r:embed="rId3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5071" y="1802306"/>
            <a:ext cx="149328" cy="20237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012" name="Google Shape;5012;p21"/>
          <p:cNvGrpSpPr/>
          <p:nvPr/>
        </p:nvGrpSpPr>
        <p:grpSpPr>
          <a:xfrm>
            <a:off x="6528315" y="2098020"/>
            <a:ext cx="233368" cy="316865"/>
            <a:chOff x="6528315" y="2098020"/>
            <a:chExt cx="233368" cy="316865"/>
          </a:xfrm>
        </p:grpSpPr>
        <p:pic>
          <p:nvPicPr>
            <p:cNvPr id="5013" name="Google Shape;5013;p21"/>
            <p:cNvPicPr preferRelativeResize="0"/>
            <p:nvPr/>
          </p:nvPicPr>
          <p:blipFill rotWithShape="1">
            <a:blip r:embed="rId3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95923" y="2147043"/>
              <a:ext cx="165760" cy="19929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014" name="Google Shape;5014;p21"/>
            <p:cNvSpPr/>
            <p:nvPr/>
          </p:nvSpPr>
          <p:spPr>
            <a:xfrm>
              <a:off x="6528315" y="2098020"/>
              <a:ext cx="202565" cy="316865"/>
            </a:xfrm>
            <a:custGeom>
              <a:avLst/>
              <a:gdLst/>
              <a:ahLst/>
              <a:cxnLst/>
              <a:rect l="l" t="t" r="r" b="b"/>
              <a:pathLst>
                <a:path w="202565" h="316864" extrusionOk="0">
                  <a:moveTo>
                    <a:pt x="153475" y="0"/>
                  </a:moveTo>
                  <a:lnTo>
                    <a:pt x="104967" y="8063"/>
                  </a:lnTo>
                  <a:lnTo>
                    <a:pt x="62837" y="30515"/>
                  </a:lnTo>
                  <a:lnTo>
                    <a:pt x="29613" y="64752"/>
                  </a:lnTo>
                  <a:lnTo>
                    <a:pt x="7824" y="108167"/>
                  </a:lnTo>
                  <a:lnTo>
                    <a:pt x="0" y="158157"/>
                  </a:lnTo>
                  <a:lnTo>
                    <a:pt x="7824" y="208146"/>
                  </a:lnTo>
                  <a:lnTo>
                    <a:pt x="29613" y="251560"/>
                  </a:lnTo>
                  <a:lnTo>
                    <a:pt x="62837" y="285793"/>
                  </a:lnTo>
                  <a:lnTo>
                    <a:pt x="104967" y="308243"/>
                  </a:lnTo>
                  <a:lnTo>
                    <a:pt x="153476" y="316305"/>
                  </a:lnTo>
                  <a:lnTo>
                    <a:pt x="166140" y="315772"/>
                  </a:lnTo>
                  <a:lnTo>
                    <a:pt x="178521" y="314203"/>
                  </a:lnTo>
                  <a:lnTo>
                    <a:pt x="190580" y="311642"/>
                  </a:lnTo>
                  <a:lnTo>
                    <a:pt x="202282" y="308134"/>
                  </a:lnTo>
                  <a:lnTo>
                    <a:pt x="193583" y="310051"/>
                  </a:lnTo>
                  <a:lnTo>
                    <a:pt x="184708" y="311444"/>
                  </a:lnTo>
                  <a:lnTo>
                    <a:pt x="175669" y="312294"/>
                  </a:lnTo>
                  <a:lnTo>
                    <a:pt x="166481" y="312581"/>
                  </a:lnTo>
                  <a:lnTo>
                    <a:pt x="119108" y="304709"/>
                  </a:lnTo>
                  <a:lnTo>
                    <a:pt x="77967" y="282788"/>
                  </a:lnTo>
                  <a:lnTo>
                    <a:pt x="45524" y="249360"/>
                  </a:lnTo>
                  <a:lnTo>
                    <a:pt x="24249" y="206969"/>
                  </a:lnTo>
                  <a:lnTo>
                    <a:pt x="16609" y="158157"/>
                  </a:lnTo>
                  <a:lnTo>
                    <a:pt x="24249" y="109353"/>
                  </a:lnTo>
                  <a:lnTo>
                    <a:pt x="45524" y="66966"/>
                  </a:lnTo>
                  <a:lnTo>
                    <a:pt x="77967" y="33539"/>
                  </a:lnTo>
                  <a:lnTo>
                    <a:pt x="119108" y="11617"/>
                  </a:lnTo>
                  <a:lnTo>
                    <a:pt x="166480" y="3744"/>
                  </a:lnTo>
                  <a:lnTo>
                    <a:pt x="175669" y="4032"/>
                  </a:lnTo>
                  <a:lnTo>
                    <a:pt x="184707" y="4882"/>
                  </a:lnTo>
                  <a:lnTo>
                    <a:pt x="193583" y="6277"/>
                  </a:lnTo>
                  <a:lnTo>
                    <a:pt x="202281" y="8201"/>
                  </a:lnTo>
                  <a:lnTo>
                    <a:pt x="190580" y="4687"/>
                  </a:lnTo>
                  <a:lnTo>
                    <a:pt x="178520" y="2116"/>
                  </a:lnTo>
                  <a:lnTo>
                    <a:pt x="166140" y="537"/>
                  </a:lnTo>
                  <a:lnTo>
                    <a:pt x="153475" y="0"/>
                  </a:lnTo>
                  <a:close/>
                </a:path>
              </a:pathLst>
            </a:custGeom>
            <a:solidFill>
              <a:srgbClr val="F4AF3C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5015" name="Google Shape;5015;p21"/>
          <p:cNvPicPr preferRelativeResize="0"/>
          <p:nvPr/>
        </p:nvPicPr>
        <p:blipFill rotWithShape="1">
          <a:blip r:embed="rId3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7219" y="2102756"/>
            <a:ext cx="68919" cy="93421"/>
          </a:xfrm>
          <a:prstGeom prst="rect">
            <a:avLst/>
          </a:prstGeom>
          <a:noFill/>
          <a:ln>
            <a:noFill/>
          </a:ln>
        </p:spPr>
      </p:pic>
      <p:sp>
        <p:nvSpPr>
          <p:cNvPr id="5016" name="Google Shape;5016;p21"/>
          <p:cNvSpPr/>
          <p:nvPr/>
        </p:nvSpPr>
        <p:spPr>
          <a:xfrm>
            <a:off x="6513410" y="1879091"/>
            <a:ext cx="115570" cy="156845"/>
          </a:xfrm>
          <a:custGeom>
            <a:avLst/>
            <a:gdLst/>
            <a:ahLst/>
            <a:cxnLst/>
            <a:rect l="l" t="t" r="r" b="b"/>
            <a:pathLst>
              <a:path w="115570" h="156844" extrusionOk="0">
                <a:moveTo>
                  <a:pt x="98818" y="49403"/>
                </a:moveTo>
                <a:lnTo>
                  <a:pt x="96901" y="39598"/>
                </a:lnTo>
                <a:lnTo>
                  <a:pt x="91668" y="31610"/>
                </a:lnTo>
                <a:lnTo>
                  <a:pt x="83896" y="26212"/>
                </a:lnTo>
                <a:lnTo>
                  <a:pt x="74396" y="24231"/>
                </a:lnTo>
                <a:lnTo>
                  <a:pt x="64909" y="26212"/>
                </a:lnTo>
                <a:lnTo>
                  <a:pt x="57162" y="31610"/>
                </a:lnTo>
                <a:lnTo>
                  <a:pt x="51930" y="39598"/>
                </a:lnTo>
                <a:lnTo>
                  <a:pt x="50012" y="49403"/>
                </a:lnTo>
                <a:lnTo>
                  <a:pt x="51930" y="59169"/>
                </a:lnTo>
                <a:lnTo>
                  <a:pt x="57162" y="67157"/>
                </a:lnTo>
                <a:lnTo>
                  <a:pt x="64909" y="72555"/>
                </a:lnTo>
                <a:lnTo>
                  <a:pt x="74396" y="74523"/>
                </a:lnTo>
                <a:lnTo>
                  <a:pt x="83896" y="72555"/>
                </a:lnTo>
                <a:lnTo>
                  <a:pt x="91668" y="67157"/>
                </a:lnTo>
                <a:lnTo>
                  <a:pt x="96901" y="59169"/>
                </a:lnTo>
                <a:lnTo>
                  <a:pt x="98818" y="49403"/>
                </a:lnTo>
                <a:close/>
              </a:path>
              <a:path w="115570" h="156844" extrusionOk="0">
                <a:moveTo>
                  <a:pt x="100012" y="4064"/>
                </a:moveTo>
                <a:lnTo>
                  <a:pt x="92443" y="1422"/>
                </a:lnTo>
                <a:lnTo>
                  <a:pt x="84340" y="0"/>
                </a:lnTo>
                <a:lnTo>
                  <a:pt x="75895" y="0"/>
                </a:lnTo>
                <a:lnTo>
                  <a:pt x="46355" y="6146"/>
                </a:lnTo>
                <a:lnTo>
                  <a:pt x="22225" y="22910"/>
                </a:lnTo>
                <a:lnTo>
                  <a:pt x="5969" y="47764"/>
                </a:lnTo>
                <a:lnTo>
                  <a:pt x="0" y="78206"/>
                </a:lnTo>
                <a:lnTo>
                  <a:pt x="5969" y="108648"/>
                </a:lnTo>
                <a:lnTo>
                  <a:pt x="22225" y="133502"/>
                </a:lnTo>
                <a:lnTo>
                  <a:pt x="46355" y="150266"/>
                </a:lnTo>
                <a:lnTo>
                  <a:pt x="75895" y="156413"/>
                </a:lnTo>
                <a:lnTo>
                  <a:pt x="84340" y="156413"/>
                </a:lnTo>
                <a:lnTo>
                  <a:pt x="92443" y="154990"/>
                </a:lnTo>
                <a:lnTo>
                  <a:pt x="100012" y="152361"/>
                </a:lnTo>
                <a:lnTo>
                  <a:pt x="94373" y="153784"/>
                </a:lnTo>
                <a:lnTo>
                  <a:pt x="88417" y="154559"/>
                </a:lnTo>
                <a:lnTo>
                  <a:pt x="82321" y="154559"/>
                </a:lnTo>
                <a:lnTo>
                  <a:pt x="53479" y="148564"/>
                </a:lnTo>
                <a:lnTo>
                  <a:pt x="29921" y="132194"/>
                </a:lnTo>
                <a:lnTo>
                  <a:pt x="14046" y="107924"/>
                </a:lnTo>
                <a:lnTo>
                  <a:pt x="8229" y="78206"/>
                </a:lnTo>
                <a:lnTo>
                  <a:pt x="14046" y="48488"/>
                </a:lnTo>
                <a:lnTo>
                  <a:pt x="29921" y="24218"/>
                </a:lnTo>
                <a:lnTo>
                  <a:pt x="53479" y="7861"/>
                </a:lnTo>
                <a:lnTo>
                  <a:pt x="82321" y="1866"/>
                </a:lnTo>
                <a:lnTo>
                  <a:pt x="88417" y="1866"/>
                </a:lnTo>
                <a:lnTo>
                  <a:pt x="94373" y="2603"/>
                </a:lnTo>
                <a:lnTo>
                  <a:pt x="100012" y="4064"/>
                </a:lnTo>
                <a:close/>
              </a:path>
              <a:path w="115570" h="156844" extrusionOk="0">
                <a:moveTo>
                  <a:pt x="115392" y="88671"/>
                </a:moveTo>
                <a:lnTo>
                  <a:pt x="107518" y="80568"/>
                </a:lnTo>
                <a:lnTo>
                  <a:pt x="41300" y="80568"/>
                </a:lnTo>
                <a:lnTo>
                  <a:pt x="33426" y="88671"/>
                </a:lnTo>
                <a:lnTo>
                  <a:pt x="33426" y="122783"/>
                </a:lnTo>
                <a:lnTo>
                  <a:pt x="115392" y="122783"/>
                </a:lnTo>
                <a:lnTo>
                  <a:pt x="115392" y="88671"/>
                </a:lnTo>
                <a:close/>
              </a:path>
            </a:pathLst>
          </a:custGeom>
          <a:solidFill>
            <a:srgbClr val="F4AF3C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5017" name="Google Shape;5017;p21"/>
          <p:cNvPicPr preferRelativeResize="0"/>
          <p:nvPr/>
        </p:nvPicPr>
        <p:blipFill rotWithShape="1">
          <a:blip r:embed="rId3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14944" y="2328381"/>
            <a:ext cx="115390" cy="156398"/>
          </a:xfrm>
          <a:prstGeom prst="rect">
            <a:avLst/>
          </a:prstGeom>
          <a:noFill/>
          <a:ln>
            <a:noFill/>
          </a:ln>
        </p:spPr>
      </p:pic>
      <p:sp>
        <p:nvSpPr>
          <p:cNvPr id="5018" name="Google Shape;5018;p21"/>
          <p:cNvSpPr/>
          <p:nvPr/>
        </p:nvSpPr>
        <p:spPr>
          <a:xfrm>
            <a:off x="6338887" y="1988807"/>
            <a:ext cx="274955" cy="165100"/>
          </a:xfrm>
          <a:custGeom>
            <a:avLst/>
            <a:gdLst/>
            <a:ahLst/>
            <a:cxnLst/>
            <a:rect l="l" t="t" r="r" b="b"/>
            <a:pathLst>
              <a:path w="274954" h="165100" extrusionOk="0">
                <a:moveTo>
                  <a:pt x="8064" y="3098"/>
                </a:moveTo>
                <a:lnTo>
                  <a:pt x="3987" y="0"/>
                </a:lnTo>
                <a:lnTo>
                  <a:pt x="0" y="5638"/>
                </a:lnTo>
                <a:lnTo>
                  <a:pt x="4076" y="8699"/>
                </a:lnTo>
                <a:lnTo>
                  <a:pt x="8064" y="3098"/>
                </a:lnTo>
                <a:close/>
              </a:path>
              <a:path w="274954" h="165100" extrusionOk="0">
                <a:moveTo>
                  <a:pt x="18961" y="11303"/>
                </a:moveTo>
                <a:lnTo>
                  <a:pt x="13512" y="7188"/>
                </a:lnTo>
                <a:lnTo>
                  <a:pt x="9525" y="12814"/>
                </a:lnTo>
                <a:lnTo>
                  <a:pt x="14973" y="16929"/>
                </a:lnTo>
                <a:lnTo>
                  <a:pt x="18961" y="11303"/>
                </a:lnTo>
                <a:close/>
              </a:path>
              <a:path w="274954" h="165100" extrusionOk="0">
                <a:moveTo>
                  <a:pt x="29857" y="19532"/>
                </a:moveTo>
                <a:lnTo>
                  <a:pt x="24409" y="15417"/>
                </a:lnTo>
                <a:lnTo>
                  <a:pt x="20421" y="21018"/>
                </a:lnTo>
                <a:lnTo>
                  <a:pt x="25869" y="25133"/>
                </a:lnTo>
                <a:lnTo>
                  <a:pt x="29857" y="19532"/>
                </a:lnTo>
                <a:close/>
              </a:path>
              <a:path w="274954" h="165100" extrusionOk="0">
                <a:moveTo>
                  <a:pt x="40754" y="27736"/>
                </a:moveTo>
                <a:lnTo>
                  <a:pt x="35306" y="23647"/>
                </a:lnTo>
                <a:lnTo>
                  <a:pt x="31318" y="29248"/>
                </a:lnTo>
                <a:lnTo>
                  <a:pt x="36766" y="33362"/>
                </a:lnTo>
                <a:lnTo>
                  <a:pt x="40754" y="27736"/>
                </a:lnTo>
                <a:close/>
              </a:path>
              <a:path w="274954" h="165100" extrusionOk="0">
                <a:moveTo>
                  <a:pt x="51650" y="35966"/>
                </a:moveTo>
                <a:lnTo>
                  <a:pt x="46202" y="31851"/>
                </a:lnTo>
                <a:lnTo>
                  <a:pt x="42214" y="37477"/>
                </a:lnTo>
                <a:lnTo>
                  <a:pt x="47663" y="41567"/>
                </a:lnTo>
                <a:lnTo>
                  <a:pt x="51650" y="35966"/>
                </a:lnTo>
                <a:close/>
              </a:path>
              <a:path w="274954" h="165100" extrusionOk="0">
                <a:moveTo>
                  <a:pt x="62560" y="44170"/>
                </a:moveTo>
                <a:lnTo>
                  <a:pt x="57099" y="40081"/>
                </a:lnTo>
                <a:lnTo>
                  <a:pt x="53111" y="45681"/>
                </a:lnTo>
                <a:lnTo>
                  <a:pt x="58559" y="49796"/>
                </a:lnTo>
                <a:lnTo>
                  <a:pt x="62560" y="44170"/>
                </a:lnTo>
                <a:close/>
              </a:path>
              <a:path w="274954" h="165100" extrusionOk="0">
                <a:moveTo>
                  <a:pt x="73431" y="52400"/>
                </a:moveTo>
                <a:lnTo>
                  <a:pt x="67995" y="48285"/>
                </a:lnTo>
                <a:lnTo>
                  <a:pt x="63995" y="53911"/>
                </a:lnTo>
                <a:lnTo>
                  <a:pt x="69469" y="58000"/>
                </a:lnTo>
                <a:lnTo>
                  <a:pt x="73431" y="52400"/>
                </a:lnTo>
                <a:close/>
              </a:path>
              <a:path w="274954" h="165100" extrusionOk="0">
                <a:moveTo>
                  <a:pt x="84328" y="60629"/>
                </a:moveTo>
                <a:lnTo>
                  <a:pt x="78892" y="56515"/>
                </a:lnTo>
                <a:lnTo>
                  <a:pt x="74904" y="62115"/>
                </a:lnTo>
                <a:lnTo>
                  <a:pt x="80340" y="66230"/>
                </a:lnTo>
                <a:lnTo>
                  <a:pt x="84328" y="60629"/>
                </a:lnTo>
                <a:close/>
              </a:path>
              <a:path w="274954" h="165100" extrusionOk="0">
                <a:moveTo>
                  <a:pt x="95237" y="68834"/>
                </a:moveTo>
                <a:lnTo>
                  <a:pt x="89801" y="64744"/>
                </a:lnTo>
                <a:lnTo>
                  <a:pt x="85801" y="70345"/>
                </a:lnTo>
                <a:lnTo>
                  <a:pt x="91236" y="74460"/>
                </a:lnTo>
                <a:lnTo>
                  <a:pt x="95237" y="68834"/>
                </a:lnTo>
                <a:close/>
              </a:path>
              <a:path w="274954" h="165100" extrusionOk="0">
                <a:moveTo>
                  <a:pt x="106133" y="77063"/>
                </a:moveTo>
                <a:lnTo>
                  <a:pt x="100698" y="72948"/>
                </a:lnTo>
                <a:lnTo>
                  <a:pt x="96710" y="78574"/>
                </a:lnTo>
                <a:lnTo>
                  <a:pt x="102146" y="82664"/>
                </a:lnTo>
                <a:lnTo>
                  <a:pt x="106133" y="77063"/>
                </a:lnTo>
                <a:close/>
              </a:path>
              <a:path w="274954" h="165100" extrusionOk="0">
                <a:moveTo>
                  <a:pt x="117043" y="85293"/>
                </a:moveTo>
                <a:lnTo>
                  <a:pt x="111569" y="81178"/>
                </a:lnTo>
                <a:lnTo>
                  <a:pt x="107607" y="86779"/>
                </a:lnTo>
                <a:lnTo>
                  <a:pt x="113042" y="90893"/>
                </a:lnTo>
                <a:lnTo>
                  <a:pt x="117043" y="85293"/>
                </a:lnTo>
                <a:close/>
              </a:path>
              <a:path w="274954" h="165100" extrusionOk="0">
                <a:moveTo>
                  <a:pt x="127914" y="93497"/>
                </a:moveTo>
                <a:lnTo>
                  <a:pt x="122478" y="89382"/>
                </a:lnTo>
                <a:lnTo>
                  <a:pt x="118478" y="95008"/>
                </a:lnTo>
                <a:lnTo>
                  <a:pt x="123952" y="99136"/>
                </a:lnTo>
                <a:lnTo>
                  <a:pt x="127914" y="93497"/>
                </a:lnTo>
                <a:close/>
              </a:path>
              <a:path w="274954" h="165100" extrusionOk="0">
                <a:moveTo>
                  <a:pt x="138811" y="101727"/>
                </a:moveTo>
                <a:lnTo>
                  <a:pt x="133375" y="97612"/>
                </a:lnTo>
                <a:lnTo>
                  <a:pt x="129387" y="103212"/>
                </a:lnTo>
                <a:lnTo>
                  <a:pt x="134823" y="107327"/>
                </a:lnTo>
                <a:lnTo>
                  <a:pt x="138811" y="101727"/>
                </a:lnTo>
                <a:close/>
              </a:path>
              <a:path w="274954" h="165100" extrusionOk="0">
                <a:moveTo>
                  <a:pt x="149720" y="109931"/>
                </a:moveTo>
                <a:lnTo>
                  <a:pt x="144284" y="105816"/>
                </a:lnTo>
                <a:lnTo>
                  <a:pt x="140284" y="111442"/>
                </a:lnTo>
                <a:lnTo>
                  <a:pt x="145719" y="115570"/>
                </a:lnTo>
                <a:lnTo>
                  <a:pt x="149720" y="109931"/>
                </a:lnTo>
                <a:close/>
              </a:path>
              <a:path w="274954" h="165100" extrusionOk="0">
                <a:moveTo>
                  <a:pt x="160616" y="118160"/>
                </a:moveTo>
                <a:lnTo>
                  <a:pt x="155181" y="114046"/>
                </a:lnTo>
                <a:lnTo>
                  <a:pt x="151193" y="119646"/>
                </a:lnTo>
                <a:lnTo>
                  <a:pt x="156629" y="123761"/>
                </a:lnTo>
                <a:lnTo>
                  <a:pt x="160616" y="118160"/>
                </a:lnTo>
                <a:close/>
              </a:path>
              <a:path w="274954" h="165100" extrusionOk="0">
                <a:moveTo>
                  <a:pt x="171526" y="126390"/>
                </a:moveTo>
                <a:lnTo>
                  <a:pt x="166052" y="122275"/>
                </a:lnTo>
                <a:lnTo>
                  <a:pt x="162064" y="127876"/>
                </a:lnTo>
                <a:lnTo>
                  <a:pt x="167525" y="132003"/>
                </a:lnTo>
                <a:lnTo>
                  <a:pt x="171526" y="126390"/>
                </a:lnTo>
                <a:close/>
              </a:path>
              <a:path w="274954" h="165100" extrusionOk="0">
                <a:moveTo>
                  <a:pt x="182397" y="134594"/>
                </a:moveTo>
                <a:lnTo>
                  <a:pt x="176961" y="130479"/>
                </a:lnTo>
                <a:lnTo>
                  <a:pt x="172961" y="136118"/>
                </a:lnTo>
                <a:lnTo>
                  <a:pt x="178435" y="140233"/>
                </a:lnTo>
                <a:lnTo>
                  <a:pt x="182397" y="134594"/>
                </a:lnTo>
                <a:close/>
              </a:path>
              <a:path w="274954" h="165100" extrusionOk="0">
                <a:moveTo>
                  <a:pt x="193294" y="142824"/>
                </a:moveTo>
                <a:lnTo>
                  <a:pt x="187858" y="138709"/>
                </a:lnTo>
                <a:lnTo>
                  <a:pt x="183870" y="144310"/>
                </a:lnTo>
                <a:lnTo>
                  <a:pt x="189306" y="148437"/>
                </a:lnTo>
                <a:lnTo>
                  <a:pt x="193294" y="142824"/>
                </a:lnTo>
                <a:close/>
              </a:path>
              <a:path w="274954" h="165100" extrusionOk="0">
                <a:moveTo>
                  <a:pt x="204203" y="151028"/>
                </a:moveTo>
                <a:lnTo>
                  <a:pt x="198767" y="146913"/>
                </a:lnTo>
                <a:lnTo>
                  <a:pt x="194767" y="152552"/>
                </a:lnTo>
                <a:lnTo>
                  <a:pt x="200202" y="156667"/>
                </a:lnTo>
                <a:lnTo>
                  <a:pt x="204203" y="151028"/>
                </a:lnTo>
                <a:close/>
              </a:path>
              <a:path w="274954" h="165100" extrusionOk="0">
                <a:moveTo>
                  <a:pt x="215099" y="159258"/>
                </a:moveTo>
                <a:lnTo>
                  <a:pt x="209638" y="155143"/>
                </a:lnTo>
                <a:lnTo>
                  <a:pt x="205676" y="160743"/>
                </a:lnTo>
                <a:lnTo>
                  <a:pt x="211112" y="164871"/>
                </a:lnTo>
                <a:lnTo>
                  <a:pt x="215099" y="159258"/>
                </a:lnTo>
                <a:close/>
              </a:path>
              <a:path w="274954" h="165100" extrusionOk="0">
                <a:moveTo>
                  <a:pt x="265404" y="63169"/>
                </a:moveTo>
                <a:lnTo>
                  <a:pt x="264147" y="56324"/>
                </a:lnTo>
                <a:lnTo>
                  <a:pt x="257505" y="57632"/>
                </a:lnTo>
                <a:lnTo>
                  <a:pt x="258775" y="64465"/>
                </a:lnTo>
                <a:lnTo>
                  <a:pt x="265404" y="63169"/>
                </a:lnTo>
                <a:close/>
              </a:path>
              <a:path w="274954" h="165100" extrusionOk="0">
                <a:moveTo>
                  <a:pt x="267931" y="76847"/>
                </a:moveTo>
                <a:lnTo>
                  <a:pt x="266674" y="70002"/>
                </a:lnTo>
                <a:lnTo>
                  <a:pt x="260032" y="71310"/>
                </a:lnTo>
                <a:lnTo>
                  <a:pt x="261289" y="78143"/>
                </a:lnTo>
                <a:lnTo>
                  <a:pt x="267931" y="76847"/>
                </a:lnTo>
                <a:close/>
              </a:path>
              <a:path w="274954" h="165100" extrusionOk="0">
                <a:moveTo>
                  <a:pt x="270421" y="90525"/>
                </a:moveTo>
                <a:lnTo>
                  <a:pt x="269189" y="83693"/>
                </a:lnTo>
                <a:lnTo>
                  <a:pt x="262559" y="84988"/>
                </a:lnTo>
                <a:lnTo>
                  <a:pt x="263817" y="91821"/>
                </a:lnTo>
                <a:lnTo>
                  <a:pt x="270421" y="90525"/>
                </a:lnTo>
                <a:close/>
              </a:path>
              <a:path w="274954" h="165100" extrusionOk="0">
                <a:moveTo>
                  <a:pt x="272948" y="104178"/>
                </a:moveTo>
                <a:lnTo>
                  <a:pt x="271716" y="97332"/>
                </a:lnTo>
                <a:lnTo>
                  <a:pt x="265074" y="98666"/>
                </a:lnTo>
                <a:lnTo>
                  <a:pt x="266344" y="105473"/>
                </a:lnTo>
                <a:lnTo>
                  <a:pt x="272948" y="104178"/>
                </a:lnTo>
                <a:close/>
              </a:path>
              <a:path w="274954" h="165100" extrusionOk="0">
                <a:moveTo>
                  <a:pt x="274624" y="113309"/>
                </a:moveTo>
                <a:lnTo>
                  <a:pt x="274205" y="111010"/>
                </a:lnTo>
                <a:lnTo>
                  <a:pt x="267601" y="112318"/>
                </a:lnTo>
                <a:lnTo>
                  <a:pt x="268020" y="114604"/>
                </a:lnTo>
                <a:lnTo>
                  <a:pt x="274624" y="113309"/>
                </a:lnTo>
                <a:close/>
              </a:path>
            </a:pathLst>
          </a:custGeom>
          <a:solidFill>
            <a:srgbClr val="F4AF3C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19" name="Google Shape;5019;p21"/>
          <p:cNvSpPr/>
          <p:nvPr/>
        </p:nvSpPr>
        <p:spPr>
          <a:xfrm>
            <a:off x="6680378" y="1871141"/>
            <a:ext cx="10160" cy="215900"/>
          </a:xfrm>
          <a:custGeom>
            <a:avLst/>
            <a:gdLst/>
            <a:ahLst/>
            <a:cxnLst/>
            <a:rect l="l" t="t" r="r" b="b"/>
            <a:pathLst>
              <a:path w="10159" h="215900" extrusionOk="0">
                <a:moveTo>
                  <a:pt x="6845" y="208724"/>
                </a:moveTo>
                <a:lnTo>
                  <a:pt x="88" y="208724"/>
                </a:lnTo>
                <a:lnTo>
                  <a:pt x="0" y="215684"/>
                </a:lnTo>
                <a:lnTo>
                  <a:pt x="6718" y="215684"/>
                </a:lnTo>
                <a:lnTo>
                  <a:pt x="6845" y="208724"/>
                </a:lnTo>
                <a:close/>
              </a:path>
              <a:path w="10159" h="215900" extrusionOk="0">
                <a:moveTo>
                  <a:pt x="7023" y="194792"/>
                </a:moveTo>
                <a:lnTo>
                  <a:pt x="266" y="194792"/>
                </a:lnTo>
                <a:lnTo>
                  <a:pt x="177" y="201752"/>
                </a:lnTo>
                <a:lnTo>
                  <a:pt x="6934" y="201752"/>
                </a:lnTo>
                <a:lnTo>
                  <a:pt x="7023" y="194792"/>
                </a:lnTo>
                <a:close/>
              </a:path>
              <a:path w="10159" h="215900" extrusionOk="0">
                <a:moveTo>
                  <a:pt x="7200" y="180898"/>
                </a:moveTo>
                <a:lnTo>
                  <a:pt x="444" y="180898"/>
                </a:lnTo>
                <a:lnTo>
                  <a:pt x="355" y="187858"/>
                </a:lnTo>
                <a:lnTo>
                  <a:pt x="7112" y="187858"/>
                </a:lnTo>
                <a:lnTo>
                  <a:pt x="7200" y="180898"/>
                </a:lnTo>
                <a:close/>
              </a:path>
              <a:path w="10159" h="215900" extrusionOk="0">
                <a:moveTo>
                  <a:pt x="7378" y="166966"/>
                </a:moveTo>
                <a:lnTo>
                  <a:pt x="660" y="166966"/>
                </a:lnTo>
                <a:lnTo>
                  <a:pt x="533" y="173926"/>
                </a:lnTo>
                <a:lnTo>
                  <a:pt x="7289" y="173926"/>
                </a:lnTo>
                <a:lnTo>
                  <a:pt x="7378" y="166966"/>
                </a:lnTo>
                <a:close/>
              </a:path>
              <a:path w="10159" h="215900" extrusionOk="0">
                <a:moveTo>
                  <a:pt x="7594" y="153073"/>
                </a:moveTo>
                <a:lnTo>
                  <a:pt x="838" y="153073"/>
                </a:lnTo>
                <a:lnTo>
                  <a:pt x="749" y="160032"/>
                </a:lnTo>
                <a:lnTo>
                  <a:pt x="7505" y="160032"/>
                </a:lnTo>
                <a:lnTo>
                  <a:pt x="7594" y="153073"/>
                </a:lnTo>
                <a:close/>
              </a:path>
              <a:path w="10159" h="215900" extrusionOk="0">
                <a:moveTo>
                  <a:pt x="7772" y="139141"/>
                </a:moveTo>
                <a:lnTo>
                  <a:pt x="1016" y="139141"/>
                </a:lnTo>
                <a:lnTo>
                  <a:pt x="927" y="146113"/>
                </a:lnTo>
                <a:lnTo>
                  <a:pt x="7683" y="146113"/>
                </a:lnTo>
                <a:lnTo>
                  <a:pt x="7772" y="139141"/>
                </a:lnTo>
                <a:close/>
              </a:path>
              <a:path w="10159" h="215900" extrusionOk="0">
                <a:moveTo>
                  <a:pt x="7950" y="125247"/>
                </a:moveTo>
                <a:lnTo>
                  <a:pt x="1219" y="125247"/>
                </a:lnTo>
                <a:lnTo>
                  <a:pt x="1104" y="132181"/>
                </a:lnTo>
                <a:lnTo>
                  <a:pt x="7861" y="132181"/>
                </a:lnTo>
                <a:lnTo>
                  <a:pt x="7950" y="125247"/>
                </a:lnTo>
                <a:close/>
              </a:path>
              <a:path w="10159" h="215900" extrusionOk="0">
                <a:moveTo>
                  <a:pt x="8166" y="111328"/>
                </a:moveTo>
                <a:lnTo>
                  <a:pt x="1409" y="111328"/>
                </a:lnTo>
                <a:lnTo>
                  <a:pt x="1320" y="118287"/>
                </a:lnTo>
                <a:lnTo>
                  <a:pt x="8077" y="118287"/>
                </a:lnTo>
                <a:lnTo>
                  <a:pt x="8166" y="111328"/>
                </a:lnTo>
                <a:close/>
              </a:path>
              <a:path w="10159" h="215900" extrusionOk="0">
                <a:moveTo>
                  <a:pt x="8343" y="97396"/>
                </a:moveTo>
                <a:lnTo>
                  <a:pt x="1587" y="97396"/>
                </a:lnTo>
                <a:lnTo>
                  <a:pt x="1498" y="104355"/>
                </a:lnTo>
                <a:lnTo>
                  <a:pt x="8255" y="104355"/>
                </a:lnTo>
                <a:lnTo>
                  <a:pt x="8343" y="97396"/>
                </a:lnTo>
                <a:close/>
              </a:path>
              <a:path w="10159" h="215900" extrusionOk="0">
                <a:moveTo>
                  <a:pt x="8521" y="83502"/>
                </a:moveTo>
                <a:lnTo>
                  <a:pt x="1765" y="83502"/>
                </a:lnTo>
                <a:lnTo>
                  <a:pt x="1676" y="90462"/>
                </a:lnTo>
                <a:lnTo>
                  <a:pt x="8432" y="90462"/>
                </a:lnTo>
                <a:lnTo>
                  <a:pt x="8521" y="83502"/>
                </a:lnTo>
                <a:close/>
              </a:path>
              <a:path w="10159" h="215900" extrusionOk="0">
                <a:moveTo>
                  <a:pt x="8737" y="69570"/>
                </a:moveTo>
                <a:lnTo>
                  <a:pt x="1981" y="69570"/>
                </a:lnTo>
                <a:lnTo>
                  <a:pt x="1892" y="76542"/>
                </a:lnTo>
                <a:lnTo>
                  <a:pt x="8610" y="76542"/>
                </a:lnTo>
                <a:lnTo>
                  <a:pt x="8737" y="69570"/>
                </a:lnTo>
                <a:close/>
              </a:path>
              <a:path w="10159" h="215900" extrusionOk="0">
                <a:moveTo>
                  <a:pt x="8915" y="55676"/>
                </a:moveTo>
                <a:lnTo>
                  <a:pt x="2159" y="55676"/>
                </a:lnTo>
                <a:lnTo>
                  <a:pt x="2070" y="62636"/>
                </a:lnTo>
                <a:lnTo>
                  <a:pt x="8826" y="62636"/>
                </a:lnTo>
                <a:lnTo>
                  <a:pt x="8915" y="55676"/>
                </a:lnTo>
                <a:close/>
              </a:path>
              <a:path w="10159" h="215900" extrusionOk="0">
                <a:moveTo>
                  <a:pt x="9093" y="41744"/>
                </a:moveTo>
                <a:lnTo>
                  <a:pt x="2336" y="41744"/>
                </a:lnTo>
                <a:lnTo>
                  <a:pt x="2247" y="48717"/>
                </a:lnTo>
                <a:lnTo>
                  <a:pt x="9004" y="48717"/>
                </a:lnTo>
                <a:lnTo>
                  <a:pt x="9093" y="41744"/>
                </a:lnTo>
                <a:close/>
              </a:path>
              <a:path w="10159" h="215900" extrusionOk="0">
                <a:moveTo>
                  <a:pt x="9271" y="27825"/>
                </a:moveTo>
                <a:lnTo>
                  <a:pt x="2514" y="27825"/>
                </a:lnTo>
                <a:lnTo>
                  <a:pt x="2463" y="34785"/>
                </a:lnTo>
                <a:lnTo>
                  <a:pt x="9182" y="34785"/>
                </a:lnTo>
                <a:lnTo>
                  <a:pt x="9271" y="27825"/>
                </a:lnTo>
                <a:close/>
              </a:path>
              <a:path w="10159" h="215900" extrusionOk="0">
                <a:moveTo>
                  <a:pt x="9486" y="13931"/>
                </a:moveTo>
                <a:lnTo>
                  <a:pt x="2730" y="13931"/>
                </a:lnTo>
                <a:lnTo>
                  <a:pt x="2641" y="20891"/>
                </a:lnTo>
                <a:lnTo>
                  <a:pt x="9398" y="20891"/>
                </a:lnTo>
                <a:lnTo>
                  <a:pt x="9486" y="13931"/>
                </a:lnTo>
                <a:close/>
              </a:path>
              <a:path w="10159" h="215900" extrusionOk="0">
                <a:moveTo>
                  <a:pt x="9664" y="0"/>
                </a:moveTo>
                <a:lnTo>
                  <a:pt x="2908" y="0"/>
                </a:lnTo>
                <a:lnTo>
                  <a:pt x="2819" y="6959"/>
                </a:lnTo>
                <a:lnTo>
                  <a:pt x="9575" y="6959"/>
                </a:lnTo>
                <a:lnTo>
                  <a:pt x="9664" y="0"/>
                </a:lnTo>
                <a:close/>
              </a:path>
            </a:pathLst>
          </a:custGeom>
          <a:solidFill>
            <a:srgbClr val="F4AF3C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20" name="Google Shape;5020;p21"/>
          <p:cNvSpPr/>
          <p:nvPr/>
        </p:nvSpPr>
        <p:spPr>
          <a:xfrm>
            <a:off x="6188189" y="2151913"/>
            <a:ext cx="340995" cy="66040"/>
          </a:xfrm>
          <a:custGeom>
            <a:avLst/>
            <a:gdLst/>
            <a:ahLst/>
            <a:cxnLst/>
            <a:rect l="l" t="t" r="r" b="b"/>
            <a:pathLst>
              <a:path w="340995" h="66039" extrusionOk="0">
                <a:moveTo>
                  <a:pt x="7785" y="1168"/>
                </a:moveTo>
                <a:lnTo>
                  <a:pt x="1130" y="0"/>
                </a:lnTo>
                <a:lnTo>
                  <a:pt x="0" y="6870"/>
                </a:lnTo>
                <a:lnTo>
                  <a:pt x="6667" y="8013"/>
                </a:lnTo>
                <a:lnTo>
                  <a:pt x="7785" y="1168"/>
                </a:lnTo>
                <a:close/>
              </a:path>
              <a:path w="340995" h="66039" extrusionOk="0">
                <a:moveTo>
                  <a:pt x="21094" y="3467"/>
                </a:moveTo>
                <a:lnTo>
                  <a:pt x="14439" y="2311"/>
                </a:lnTo>
                <a:lnTo>
                  <a:pt x="13322" y="9182"/>
                </a:lnTo>
                <a:lnTo>
                  <a:pt x="19977" y="10337"/>
                </a:lnTo>
                <a:lnTo>
                  <a:pt x="21094" y="3467"/>
                </a:lnTo>
                <a:close/>
              </a:path>
              <a:path w="340995" h="66039" extrusionOk="0">
                <a:moveTo>
                  <a:pt x="34417" y="5778"/>
                </a:moveTo>
                <a:lnTo>
                  <a:pt x="27749" y="4635"/>
                </a:lnTo>
                <a:lnTo>
                  <a:pt x="26644" y="11480"/>
                </a:lnTo>
                <a:lnTo>
                  <a:pt x="33299" y="12649"/>
                </a:lnTo>
                <a:lnTo>
                  <a:pt x="34417" y="5778"/>
                </a:lnTo>
                <a:close/>
              </a:path>
              <a:path w="340995" h="66039" extrusionOk="0">
                <a:moveTo>
                  <a:pt x="47726" y="8102"/>
                </a:moveTo>
                <a:lnTo>
                  <a:pt x="41071" y="6959"/>
                </a:lnTo>
                <a:lnTo>
                  <a:pt x="39954" y="13804"/>
                </a:lnTo>
                <a:lnTo>
                  <a:pt x="46609" y="14973"/>
                </a:lnTo>
                <a:lnTo>
                  <a:pt x="47726" y="8102"/>
                </a:lnTo>
                <a:close/>
              </a:path>
              <a:path w="340995" h="66039" extrusionOk="0">
                <a:moveTo>
                  <a:pt x="61048" y="10426"/>
                </a:moveTo>
                <a:lnTo>
                  <a:pt x="54381" y="9245"/>
                </a:lnTo>
                <a:lnTo>
                  <a:pt x="53263" y="16116"/>
                </a:lnTo>
                <a:lnTo>
                  <a:pt x="59931" y="17259"/>
                </a:lnTo>
                <a:lnTo>
                  <a:pt x="61048" y="10426"/>
                </a:lnTo>
                <a:close/>
              </a:path>
              <a:path w="340995" h="66039" extrusionOk="0">
                <a:moveTo>
                  <a:pt x="74358" y="12712"/>
                </a:moveTo>
                <a:lnTo>
                  <a:pt x="67703" y="11569"/>
                </a:lnTo>
                <a:lnTo>
                  <a:pt x="66586" y="18440"/>
                </a:lnTo>
                <a:lnTo>
                  <a:pt x="73240" y="19583"/>
                </a:lnTo>
                <a:lnTo>
                  <a:pt x="74358" y="12712"/>
                </a:lnTo>
                <a:close/>
              </a:path>
              <a:path w="340995" h="66039" extrusionOk="0">
                <a:moveTo>
                  <a:pt x="87680" y="15036"/>
                </a:moveTo>
                <a:lnTo>
                  <a:pt x="81026" y="13893"/>
                </a:lnTo>
                <a:lnTo>
                  <a:pt x="79895" y="20726"/>
                </a:lnTo>
                <a:lnTo>
                  <a:pt x="86563" y="21907"/>
                </a:lnTo>
                <a:lnTo>
                  <a:pt x="87680" y="15036"/>
                </a:lnTo>
                <a:close/>
              </a:path>
              <a:path w="340995" h="66039" extrusionOk="0">
                <a:moveTo>
                  <a:pt x="101003" y="17360"/>
                </a:moveTo>
                <a:lnTo>
                  <a:pt x="94335" y="16179"/>
                </a:lnTo>
                <a:lnTo>
                  <a:pt x="93218" y="23050"/>
                </a:lnTo>
                <a:lnTo>
                  <a:pt x="99872" y="24193"/>
                </a:lnTo>
                <a:lnTo>
                  <a:pt x="101003" y="17360"/>
                </a:lnTo>
                <a:close/>
              </a:path>
              <a:path w="340995" h="66039" extrusionOk="0">
                <a:moveTo>
                  <a:pt x="114312" y="19685"/>
                </a:moveTo>
                <a:lnTo>
                  <a:pt x="107657" y="18503"/>
                </a:lnTo>
                <a:lnTo>
                  <a:pt x="106527" y="25374"/>
                </a:lnTo>
                <a:lnTo>
                  <a:pt x="113195" y="26530"/>
                </a:lnTo>
                <a:lnTo>
                  <a:pt x="114312" y="19685"/>
                </a:lnTo>
                <a:close/>
              </a:path>
              <a:path w="340995" h="66039" extrusionOk="0">
                <a:moveTo>
                  <a:pt x="127635" y="21971"/>
                </a:moveTo>
                <a:lnTo>
                  <a:pt x="120967" y="20828"/>
                </a:lnTo>
                <a:lnTo>
                  <a:pt x="119849" y="27686"/>
                </a:lnTo>
                <a:lnTo>
                  <a:pt x="126504" y="28841"/>
                </a:lnTo>
                <a:lnTo>
                  <a:pt x="127635" y="21971"/>
                </a:lnTo>
                <a:close/>
              </a:path>
              <a:path w="340995" h="66039" extrusionOk="0">
                <a:moveTo>
                  <a:pt x="140944" y="24295"/>
                </a:moveTo>
                <a:lnTo>
                  <a:pt x="134289" y="23139"/>
                </a:lnTo>
                <a:lnTo>
                  <a:pt x="133172" y="29997"/>
                </a:lnTo>
                <a:lnTo>
                  <a:pt x="139827" y="31153"/>
                </a:lnTo>
                <a:lnTo>
                  <a:pt x="140944" y="24295"/>
                </a:lnTo>
                <a:close/>
              </a:path>
              <a:path w="340995" h="66039" extrusionOk="0">
                <a:moveTo>
                  <a:pt x="154266" y="26606"/>
                </a:moveTo>
                <a:lnTo>
                  <a:pt x="147599" y="25450"/>
                </a:lnTo>
                <a:lnTo>
                  <a:pt x="146481" y="32308"/>
                </a:lnTo>
                <a:lnTo>
                  <a:pt x="153149" y="33464"/>
                </a:lnTo>
                <a:lnTo>
                  <a:pt x="154266" y="26606"/>
                </a:lnTo>
                <a:close/>
              </a:path>
              <a:path w="340995" h="66039" extrusionOk="0">
                <a:moveTo>
                  <a:pt x="167576" y="28917"/>
                </a:moveTo>
                <a:lnTo>
                  <a:pt x="160921" y="27762"/>
                </a:lnTo>
                <a:lnTo>
                  <a:pt x="159804" y="34620"/>
                </a:lnTo>
                <a:lnTo>
                  <a:pt x="166458" y="35775"/>
                </a:lnTo>
                <a:lnTo>
                  <a:pt x="167576" y="28917"/>
                </a:lnTo>
                <a:close/>
              </a:path>
              <a:path w="340995" h="66039" extrusionOk="0">
                <a:moveTo>
                  <a:pt x="180898" y="31229"/>
                </a:moveTo>
                <a:lnTo>
                  <a:pt x="174231" y="30073"/>
                </a:lnTo>
                <a:lnTo>
                  <a:pt x="173113" y="36931"/>
                </a:lnTo>
                <a:lnTo>
                  <a:pt x="179781" y="38087"/>
                </a:lnTo>
                <a:lnTo>
                  <a:pt x="180898" y="31229"/>
                </a:lnTo>
                <a:close/>
              </a:path>
              <a:path w="340995" h="66039" extrusionOk="0">
                <a:moveTo>
                  <a:pt x="194208" y="33540"/>
                </a:moveTo>
                <a:lnTo>
                  <a:pt x="187553" y="32385"/>
                </a:lnTo>
                <a:lnTo>
                  <a:pt x="186436" y="39243"/>
                </a:lnTo>
                <a:lnTo>
                  <a:pt x="193090" y="40398"/>
                </a:lnTo>
                <a:lnTo>
                  <a:pt x="194208" y="33540"/>
                </a:lnTo>
                <a:close/>
              </a:path>
              <a:path w="340995" h="66039" extrusionOk="0">
                <a:moveTo>
                  <a:pt x="207530" y="35852"/>
                </a:moveTo>
                <a:lnTo>
                  <a:pt x="200863" y="34696"/>
                </a:lnTo>
                <a:lnTo>
                  <a:pt x="199745" y="41554"/>
                </a:lnTo>
                <a:lnTo>
                  <a:pt x="206400" y="42710"/>
                </a:lnTo>
                <a:lnTo>
                  <a:pt x="207530" y="35852"/>
                </a:lnTo>
                <a:close/>
              </a:path>
              <a:path w="340995" h="66039" extrusionOk="0">
                <a:moveTo>
                  <a:pt x="220853" y="38163"/>
                </a:moveTo>
                <a:lnTo>
                  <a:pt x="214185" y="37007"/>
                </a:lnTo>
                <a:lnTo>
                  <a:pt x="213067" y="43865"/>
                </a:lnTo>
                <a:lnTo>
                  <a:pt x="219710" y="45034"/>
                </a:lnTo>
                <a:lnTo>
                  <a:pt x="220853" y="38163"/>
                </a:lnTo>
                <a:close/>
              </a:path>
              <a:path w="340995" h="66039" extrusionOk="0">
                <a:moveTo>
                  <a:pt x="234162" y="40487"/>
                </a:moveTo>
                <a:lnTo>
                  <a:pt x="227495" y="39319"/>
                </a:lnTo>
                <a:lnTo>
                  <a:pt x="226377" y="46177"/>
                </a:lnTo>
                <a:lnTo>
                  <a:pt x="233045" y="47345"/>
                </a:lnTo>
                <a:lnTo>
                  <a:pt x="234162" y="40487"/>
                </a:lnTo>
                <a:close/>
              </a:path>
              <a:path w="340995" h="66039" extrusionOk="0">
                <a:moveTo>
                  <a:pt x="247497" y="42786"/>
                </a:moveTo>
                <a:lnTo>
                  <a:pt x="240830" y="41630"/>
                </a:lnTo>
                <a:lnTo>
                  <a:pt x="239687" y="48501"/>
                </a:lnTo>
                <a:lnTo>
                  <a:pt x="246354" y="49644"/>
                </a:lnTo>
                <a:lnTo>
                  <a:pt x="247497" y="42786"/>
                </a:lnTo>
                <a:close/>
              </a:path>
              <a:path w="340995" h="66039" extrusionOk="0">
                <a:moveTo>
                  <a:pt x="260794" y="45097"/>
                </a:moveTo>
                <a:lnTo>
                  <a:pt x="254127" y="43954"/>
                </a:lnTo>
                <a:lnTo>
                  <a:pt x="253022" y="50812"/>
                </a:lnTo>
                <a:lnTo>
                  <a:pt x="259689" y="51968"/>
                </a:lnTo>
                <a:lnTo>
                  <a:pt x="260794" y="45097"/>
                </a:lnTo>
                <a:close/>
              </a:path>
              <a:path w="340995" h="66039" extrusionOk="0">
                <a:moveTo>
                  <a:pt x="274104" y="47421"/>
                </a:moveTo>
                <a:lnTo>
                  <a:pt x="267462" y="46266"/>
                </a:lnTo>
                <a:lnTo>
                  <a:pt x="266319" y="53124"/>
                </a:lnTo>
                <a:lnTo>
                  <a:pt x="272999" y="54279"/>
                </a:lnTo>
                <a:lnTo>
                  <a:pt x="274104" y="47421"/>
                </a:lnTo>
                <a:close/>
              </a:path>
              <a:path w="340995" h="66039" extrusionOk="0">
                <a:moveTo>
                  <a:pt x="287439" y="49733"/>
                </a:moveTo>
                <a:lnTo>
                  <a:pt x="280771" y="48577"/>
                </a:lnTo>
                <a:lnTo>
                  <a:pt x="279666" y="55435"/>
                </a:lnTo>
                <a:lnTo>
                  <a:pt x="286296" y="56591"/>
                </a:lnTo>
                <a:lnTo>
                  <a:pt x="287439" y="49733"/>
                </a:lnTo>
                <a:close/>
              </a:path>
              <a:path w="340995" h="66039" extrusionOk="0">
                <a:moveTo>
                  <a:pt x="300748" y="52044"/>
                </a:moveTo>
                <a:lnTo>
                  <a:pt x="294081" y="50888"/>
                </a:lnTo>
                <a:lnTo>
                  <a:pt x="292963" y="57746"/>
                </a:lnTo>
                <a:lnTo>
                  <a:pt x="299631" y="58902"/>
                </a:lnTo>
                <a:lnTo>
                  <a:pt x="300748" y="52044"/>
                </a:lnTo>
                <a:close/>
              </a:path>
              <a:path w="340995" h="66039" extrusionOk="0">
                <a:moveTo>
                  <a:pt x="314045" y="54356"/>
                </a:moveTo>
                <a:lnTo>
                  <a:pt x="307416" y="53200"/>
                </a:lnTo>
                <a:lnTo>
                  <a:pt x="306273" y="60058"/>
                </a:lnTo>
                <a:lnTo>
                  <a:pt x="312940" y="61214"/>
                </a:lnTo>
                <a:lnTo>
                  <a:pt x="314045" y="54356"/>
                </a:lnTo>
                <a:close/>
              </a:path>
              <a:path w="340995" h="66039" extrusionOk="0">
                <a:moveTo>
                  <a:pt x="327380" y="56667"/>
                </a:moveTo>
                <a:lnTo>
                  <a:pt x="320713" y="55511"/>
                </a:lnTo>
                <a:lnTo>
                  <a:pt x="319570" y="62369"/>
                </a:lnTo>
                <a:lnTo>
                  <a:pt x="326250" y="63525"/>
                </a:lnTo>
                <a:lnTo>
                  <a:pt x="327380" y="56667"/>
                </a:lnTo>
                <a:close/>
              </a:path>
              <a:path w="340995" h="66039" extrusionOk="0">
                <a:moveTo>
                  <a:pt x="340690" y="58978"/>
                </a:moveTo>
                <a:lnTo>
                  <a:pt x="334022" y="57823"/>
                </a:lnTo>
                <a:lnTo>
                  <a:pt x="332917" y="64693"/>
                </a:lnTo>
                <a:lnTo>
                  <a:pt x="339585" y="65836"/>
                </a:lnTo>
                <a:lnTo>
                  <a:pt x="340690" y="58978"/>
                </a:lnTo>
                <a:close/>
              </a:path>
            </a:pathLst>
          </a:custGeom>
          <a:solidFill>
            <a:srgbClr val="F4AF3C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21" name="Google Shape;5021;p21"/>
          <p:cNvSpPr/>
          <p:nvPr/>
        </p:nvSpPr>
        <p:spPr>
          <a:xfrm>
            <a:off x="6249499" y="2318388"/>
            <a:ext cx="284480" cy="75565"/>
          </a:xfrm>
          <a:custGeom>
            <a:avLst/>
            <a:gdLst/>
            <a:ahLst/>
            <a:cxnLst/>
            <a:rect l="l" t="t" r="r" b="b"/>
            <a:pathLst>
              <a:path w="284479" h="75564" extrusionOk="0">
                <a:moveTo>
                  <a:pt x="282660" y="0"/>
                </a:moveTo>
                <a:lnTo>
                  <a:pt x="276112" y="1584"/>
                </a:lnTo>
                <a:lnTo>
                  <a:pt x="277644" y="8362"/>
                </a:lnTo>
                <a:lnTo>
                  <a:pt x="284221" y="6774"/>
                </a:lnTo>
                <a:lnTo>
                  <a:pt x="282660" y="0"/>
                </a:lnTo>
                <a:close/>
              </a:path>
              <a:path w="284479" h="75564" extrusionOk="0">
                <a:moveTo>
                  <a:pt x="269535" y="3178"/>
                </a:moveTo>
                <a:lnTo>
                  <a:pt x="262957" y="4766"/>
                </a:lnTo>
                <a:lnTo>
                  <a:pt x="264489" y="11540"/>
                </a:lnTo>
                <a:lnTo>
                  <a:pt x="271066" y="9946"/>
                </a:lnTo>
                <a:lnTo>
                  <a:pt x="269535" y="3178"/>
                </a:lnTo>
                <a:close/>
              </a:path>
              <a:path w="284479" h="75564" extrusionOk="0">
                <a:moveTo>
                  <a:pt x="256379" y="6347"/>
                </a:moveTo>
                <a:lnTo>
                  <a:pt x="249802" y="7944"/>
                </a:lnTo>
                <a:lnTo>
                  <a:pt x="251334" y="14713"/>
                </a:lnTo>
                <a:lnTo>
                  <a:pt x="257911" y="13125"/>
                </a:lnTo>
                <a:lnTo>
                  <a:pt x="256379" y="6347"/>
                </a:lnTo>
                <a:close/>
              </a:path>
              <a:path w="284479" h="75564" extrusionOk="0">
                <a:moveTo>
                  <a:pt x="243224" y="9532"/>
                </a:moveTo>
                <a:lnTo>
                  <a:pt x="236647" y="11113"/>
                </a:lnTo>
                <a:lnTo>
                  <a:pt x="238209" y="17891"/>
                </a:lnTo>
                <a:lnTo>
                  <a:pt x="244786" y="16303"/>
                </a:lnTo>
                <a:lnTo>
                  <a:pt x="243224" y="9532"/>
                </a:lnTo>
                <a:close/>
              </a:path>
              <a:path w="284479" h="75564" extrusionOk="0">
                <a:moveTo>
                  <a:pt x="230099" y="12701"/>
                </a:moveTo>
                <a:lnTo>
                  <a:pt x="223522" y="14295"/>
                </a:lnTo>
                <a:lnTo>
                  <a:pt x="225054" y="21060"/>
                </a:lnTo>
                <a:lnTo>
                  <a:pt x="231631" y="19479"/>
                </a:lnTo>
                <a:lnTo>
                  <a:pt x="230099" y="12701"/>
                </a:lnTo>
                <a:close/>
              </a:path>
              <a:path w="284479" h="75564" extrusionOk="0">
                <a:moveTo>
                  <a:pt x="216944" y="15879"/>
                </a:moveTo>
                <a:lnTo>
                  <a:pt x="210367" y="17464"/>
                </a:lnTo>
                <a:lnTo>
                  <a:pt x="211898" y="24242"/>
                </a:lnTo>
                <a:lnTo>
                  <a:pt x="218476" y="22657"/>
                </a:lnTo>
                <a:lnTo>
                  <a:pt x="216944" y="15879"/>
                </a:lnTo>
                <a:close/>
              </a:path>
              <a:path w="284479" h="75564" extrusionOk="0">
                <a:moveTo>
                  <a:pt x="203789" y="19061"/>
                </a:moveTo>
                <a:lnTo>
                  <a:pt x="197212" y="20645"/>
                </a:lnTo>
                <a:lnTo>
                  <a:pt x="198743" y="27420"/>
                </a:lnTo>
                <a:lnTo>
                  <a:pt x="205321" y="25826"/>
                </a:lnTo>
                <a:lnTo>
                  <a:pt x="203789" y="19061"/>
                </a:lnTo>
                <a:close/>
              </a:path>
              <a:path w="284479" h="75564" extrusionOk="0">
                <a:moveTo>
                  <a:pt x="190634" y="22230"/>
                </a:moveTo>
                <a:lnTo>
                  <a:pt x="184057" y="23827"/>
                </a:lnTo>
                <a:lnTo>
                  <a:pt x="185618" y="30592"/>
                </a:lnTo>
                <a:lnTo>
                  <a:pt x="192166" y="29008"/>
                </a:lnTo>
                <a:lnTo>
                  <a:pt x="190634" y="22230"/>
                </a:lnTo>
                <a:close/>
              </a:path>
              <a:path w="284479" h="75564" extrusionOk="0">
                <a:moveTo>
                  <a:pt x="177509" y="25408"/>
                </a:moveTo>
                <a:lnTo>
                  <a:pt x="170932" y="26996"/>
                </a:lnTo>
                <a:lnTo>
                  <a:pt x="172463" y="33774"/>
                </a:lnTo>
                <a:lnTo>
                  <a:pt x="179041" y="32186"/>
                </a:lnTo>
                <a:lnTo>
                  <a:pt x="177509" y="25408"/>
                </a:lnTo>
                <a:close/>
              </a:path>
              <a:path w="284479" h="75564" extrusionOk="0">
                <a:moveTo>
                  <a:pt x="164354" y="28581"/>
                </a:moveTo>
                <a:lnTo>
                  <a:pt x="157776" y="30174"/>
                </a:lnTo>
                <a:lnTo>
                  <a:pt x="159308" y="36943"/>
                </a:lnTo>
                <a:lnTo>
                  <a:pt x="165886" y="35358"/>
                </a:lnTo>
                <a:lnTo>
                  <a:pt x="164354" y="28581"/>
                </a:lnTo>
                <a:close/>
              </a:path>
              <a:path w="284479" h="75564" extrusionOk="0">
                <a:moveTo>
                  <a:pt x="151199" y="31762"/>
                </a:moveTo>
                <a:lnTo>
                  <a:pt x="144624" y="33347"/>
                </a:lnTo>
                <a:lnTo>
                  <a:pt x="146165" y="40121"/>
                </a:lnTo>
                <a:lnTo>
                  <a:pt x="152731" y="38537"/>
                </a:lnTo>
                <a:lnTo>
                  <a:pt x="151199" y="31762"/>
                </a:lnTo>
                <a:close/>
              </a:path>
              <a:path w="284479" h="75564" extrusionOk="0">
                <a:moveTo>
                  <a:pt x="138047" y="34941"/>
                </a:moveTo>
                <a:lnTo>
                  <a:pt x="131475" y="36525"/>
                </a:lnTo>
                <a:lnTo>
                  <a:pt x="133019" y="43303"/>
                </a:lnTo>
                <a:lnTo>
                  <a:pt x="139597" y="41709"/>
                </a:lnTo>
                <a:lnTo>
                  <a:pt x="138047" y="34941"/>
                </a:lnTo>
                <a:close/>
              </a:path>
              <a:path w="284479" h="75564" extrusionOk="0">
                <a:moveTo>
                  <a:pt x="124907" y="38113"/>
                </a:moveTo>
                <a:lnTo>
                  <a:pt x="118329" y="39707"/>
                </a:lnTo>
                <a:lnTo>
                  <a:pt x="119867" y="46472"/>
                </a:lnTo>
                <a:lnTo>
                  <a:pt x="126445" y="44888"/>
                </a:lnTo>
                <a:lnTo>
                  <a:pt x="124907" y="38113"/>
                </a:lnTo>
                <a:close/>
              </a:path>
              <a:path w="284479" h="75564" extrusionOk="0">
                <a:moveTo>
                  <a:pt x="111755" y="41291"/>
                </a:moveTo>
                <a:lnTo>
                  <a:pt x="105186" y="42876"/>
                </a:lnTo>
                <a:lnTo>
                  <a:pt x="106724" y="49654"/>
                </a:lnTo>
                <a:lnTo>
                  <a:pt x="113298" y="48069"/>
                </a:lnTo>
                <a:lnTo>
                  <a:pt x="111755" y="41291"/>
                </a:lnTo>
                <a:close/>
              </a:path>
              <a:path w="284479" h="75564" extrusionOk="0">
                <a:moveTo>
                  <a:pt x="98609" y="44464"/>
                </a:moveTo>
                <a:lnTo>
                  <a:pt x="92034" y="46057"/>
                </a:lnTo>
                <a:lnTo>
                  <a:pt x="93572" y="52826"/>
                </a:lnTo>
                <a:lnTo>
                  <a:pt x="100149" y="51238"/>
                </a:lnTo>
                <a:lnTo>
                  <a:pt x="98609" y="44464"/>
                </a:lnTo>
                <a:close/>
              </a:path>
              <a:path w="284479" h="75564" extrusionOk="0">
                <a:moveTo>
                  <a:pt x="85456" y="47642"/>
                </a:moveTo>
                <a:lnTo>
                  <a:pt x="78888" y="49227"/>
                </a:lnTo>
                <a:lnTo>
                  <a:pt x="80429" y="56004"/>
                </a:lnTo>
                <a:lnTo>
                  <a:pt x="87006" y="54420"/>
                </a:lnTo>
                <a:lnTo>
                  <a:pt x="85456" y="47642"/>
                </a:lnTo>
                <a:close/>
              </a:path>
              <a:path w="284479" h="75564" extrusionOk="0">
                <a:moveTo>
                  <a:pt x="72313" y="50820"/>
                </a:moveTo>
                <a:lnTo>
                  <a:pt x="65736" y="52408"/>
                </a:lnTo>
                <a:lnTo>
                  <a:pt x="67286" y="59186"/>
                </a:lnTo>
                <a:lnTo>
                  <a:pt x="73851" y="57589"/>
                </a:lnTo>
                <a:lnTo>
                  <a:pt x="72313" y="50820"/>
                </a:lnTo>
                <a:close/>
              </a:path>
              <a:path w="284479" h="75564" extrusionOk="0">
                <a:moveTo>
                  <a:pt x="59170" y="53993"/>
                </a:moveTo>
                <a:lnTo>
                  <a:pt x="52593" y="55577"/>
                </a:lnTo>
                <a:lnTo>
                  <a:pt x="54131" y="62355"/>
                </a:lnTo>
                <a:lnTo>
                  <a:pt x="60708" y="60767"/>
                </a:lnTo>
                <a:lnTo>
                  <a:pt x="59170" y="53993"/>
                </a:lnTo>
                <a:close/>
              </a:path>
              <a:path w="284479" h="75564" extrusionOk="0">
                <a:moveTo>
                  <a:pt x="46018" y="57174"/>
                </a:moveTo>
                <a:lnTo>
                  <a:pt x="39441" y="58759"/>
                </a:lnTo>
                <a:lnTo>
                  <a:pt x="40988" y="65533"/>
                </a:lnTo>
                <a:lnTo>
                  <a:pt x="47556" y="63949"/>
                </a:lnTo>
                <a:lnTo>
                  <a:pt x="46018" y="57174"/>
                </a:lnTo>
                <a:close/>
              </a:path>
              <a:path w="284479" h="75564" extrusionOk="0">
                <a:moveTo>
                  <a:pt x="32872" y="60343"/>
                </a:moveTo>
                <a:lnTo>
                  <a:pt x="26298" y="61937"/>
                </a:lnTo>
                <a:lnTo>
                  <a:pt x="27835" y="68706"/>
                </a:lnTo>
                <a:lnTo>
                  <a:pt x="34413" y="67121"/>
                </a:lnTo>
                <a:lnTo>
                  <a:pt x="32872" y="60343"/>
                </a:lnTo>
                <a:close/>
              </a:path>
              <a:path w="284479" h="75564" extrusionOk="0">
                <a:moveTo>
                  <a:pt x="19720" y="63525"/>
                </a:moveTo>
                <a:lnTo>
                  <a:pt x="13146" y="65106"/>
                </a:lnTo>
                <a:lnTo>
                  <a:pt x="14692" y="71884"/>
                </a:lnTo>
                <a:lnTo>
                  <a:pt x="21270" y="70299"/>
                </a:lnTo>
                <a:lnTo>
                  <a:pt x="19720" y="63525"/>
                </a:lnTo>
                <a:close/>
              </a:path>
              <a:path w="284479" h="75564" extrusionOk="0">
                <a:moveTo>
                  <a:pt x="6577" y="66703"/>
                </a:moveTo>
                <a:lnTo>
                  <a:pt x="0" y="68291"/>
                </a:lnTo>
                <a:lnTo>
                  <a:pt x="1540" y="75063"/>
                </a:lnTo>
                <a:lnTo>
                  <a:pt x="8115" y="73472"/>
                </a:lnTo>
                <a:lnTo>
                  <a:pt x="6577" y="66703"/>
                </a:lnTo>
                <a:close/>
              </a:path>
            </a:pathLst>
          </a:custGeom>
          <a:solidFill>
            <a:srgbClr val="F4AF3C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5022" name="Google Shape;5022;p21"/>
          <p:cNvPicPr preferRelativeResize="0"/>
          <p:nvPr/>
        </p:nvPicPr>
        <p:blipFill rotWithShape="1">
          <a:blip r:embed="rId3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88658" y="2087312"/>
            <a:ext cx="142705" cy="67437"/>
          </a:xfrm>
          <a:prstGeom prst="rect">
            <a:avLst/>
          </a:prstGeom>
          <a:noFill/>
          <a:ln>
            <a:noFill/>
          </a:ln>
        </p:spPr>
      </p:pic>
      <p:pic>
        <p:nvPicPr>
          <p:cNvPr id="5023" name="Google Shape;5023;p21"/>
          <p:cNvPicPr preferRelativeResize="0"/>
          <p:nvPr/>
        </p:nvPicPr>
        <p:blipFill rotWithShape="1">
          <a:blip r:embed="rId3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7808" y="2236426"/>
            <a:ext cx="96794" cy="127991"/>
          </a:xfrm>
          <a:prstGeom prst="rect">
            <a:avLst/>
          </a:prstGeom>
          <a:noFill/>
          <a:ln>
            <a:noFill/>
          </a:ln>
        </p:spPr>
      </p:pic>
      <p:sp>
        <p:nvSpPr>
          <p:cNvPr id="5024" name="Google Shape;5024;p21"/>
          <p:cNvSpPr txBox="1">
            <a:spLocks noGrp="1"/>
          </p:cNvSpPr>
          <p:nvPr>
            <p:ph type="title"/>
          </p:nvPr>
        </p:nvSpPr>
        <p:spPr>
          <a:xfrm>
            <a:off x="673722" y="274500"/>
            <a:ext cx="2536200" cy="88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1425" rIns="0" bIns="0" anchor="t" anchorCtr="0">
            <a:spAutoFit/>
          </a:bodyPr>
          <a:lstStyle/>
          <a:p>
            <a:pPr marL="12700" marR="5080" lvl="0" indent="0" algn="l" rtl="0">
              <a:lnSpc>
                <a:spcPct val="118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>
                <a:solidFill>
                  <a:srgbClr val="000000"/>
                </a:solidFill>
                <a:latin typeface="Tahoma"/>
                <a:ea typeface="Tahoma"/>
                <a:cs typeface="Tahoma"/>
                <a:sym typeface="Tahoma"/>
              </a:rPr>
              <a:t>DRIVER 4: COMMUNITY</a:t>
            </a:r>
            <a:endParaRPr sz="260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5025" name="Google Shape;5025;p21"/>
          <p:cNvSpPr txBox="1"/>
          <p:nvPr/>
        </p:nvSpPr>
        <p:spPr>
          <a:xfrm>
            <a:off x="673724" y="1285801"/>
            <a:ext cx="2755200" cy="41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b="1">
                <a:latin typeface="Tahoma"/>
                <a:ea typeface="Tahoma"/>
                <a:cs typeface="Tahoma"/>
                <a:sym typeface="Tahoma"/>
              </a:rPr>
              <a:t>PARTNERSHIPS</a:t>
            </a:r>
            <a:endParaRPr sz="260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5026" name="Google Shape;5026;p21"/>
          <p:cNvSpPr txBox="1"/>
          <p:nvPr/>
        </p:nvSpPr>
        <p:spPr>
          <a:xfrm>
            <a:off x="7240269" y="1925637"/>
            <a:ext cx="3307715" cy="220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omplete local and online resource mapping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7" name="Google Shape;5027;p21"/>
          <p:cNvSpPr txBox="1"/>
          <p:nvPr/>
        </p:nvSpPr>
        <p:spPr>
          <a:xfrm>
            <a:off x="5924550" y="5410200"/>
            <a:ext cx="5438775" cy="923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6050" rIns="0" bIns="0" anchor="t" anchorCtr="0">
            <a:spAutoFit/>
          </a:bodyPr>
          <a:lstStyle/>
          <a:p>
            <a:pPr marL="1265555" marR="669925" lvl="0" indent="0" algn="l" rtl="0">
              <a:lnSpc>
                <a:spcPct val="1252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oordinate ESSI Newborn Ca re Plan and initiate warm handoff to community provider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8" name="Google Shape;5028;p21"/>
          <p:cNvSpPr txBox="1"/>
          <p:nvPr/>
        </p:nvSpPr>
        <p:spPr>
          <a:xfrm>
            <a:off x="851852" y="2030729"/>
            <a:ext cx="3453765" cy="2654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1: Resource Mapping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9" name="Google Shape;5029;p21"/>
          <p:cNvSpPr txBox="1"/>
          <p:nvPr/>
        </p:nvSpPr>
        <p:spPr>
          <a:xfrm>
            <a:off x="726757" y="3394011"/>
            <a:ext cx="3767454" cy="579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520700" marR="5080" lvl="0" indent="-508634" algn="l" rtl="0">
              <a:lnSpc>
                <a:spcPct val="1171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2: Building Relationships with Community Organizations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0" name="Google Shape;5030;p21"/>
          <p:cNvSpPr txBox="1"/>
          <p:nvPr/>
        </p:nvSpPr>
        <p:spPr>
          <a:xfrm>
            <a:off x="7286243" y="3124771"/>
            <a:ext cx="4003675" cy="750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975" rIns="0" bIns="0" anchor="t" anchorCtr="0">
            <a:spAutoFit/>
          </a:bodyPr>
          <a:lstStyle/>
          <a:p>
            <a:pPr marL="12700" marR="5080" lvl="0" indent="0" algn="just" rtl="0">
              <a:lnSpc>
                <a:spcPct val="12769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Partner with local community agencies, organizations, and champions to understand challenges/barriers to a safe sleep environment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1" name="Google Shape;5031;p21"/>
          <p:cNvSpPr txBox="1"/>
          <p:nvPr/>
        </p:nvSpPr>
        <p:spPr>
          <a:xfrm>
            <a:off x="998537" y="5269801"/>
            <a:ext cx="3204845" cy="579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540385" marR="5080" lvl="0" indent="-528320" algn="l" rtl="0">
              <a:lnSpc>
                <a:spcPct val="1171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3: Transfer of Care to Community Providers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2" name="Google Shape;5032;p21"/>
          <p:cNvSpPr txBox="1"/>
          <p:nvPr/>
        </p:nvSpPr>
        <p:spPr>
          <a:xfrm>
            <a:off x="7231126" y="1146873"/>
            <a:ext cx="2337435" cy="448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750" b="1">
                <a:latin typeface="Arial"/>
                <a:ea typeface="Arial"/>
                <a:cs typeface="Arial"/>
                <a:sym typeface="Arial"/>
              </a:rPr>
              <a:t>Change Ideas</a:t>
            </a:r>
            <a:endParaRPr sz="2750"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033" name="Google Shape;5033;p21"/>
          <p:cNvGrpSpPr/>
          <p:nvPr/>
        </p:nvGrpSpPr>
        <p:grpSpPr>
          <a:xfrm>
            <a:off x="4519676" y="3919601"/>
            <a:ext cx="6853174" cy="1119124"/>
            <a:chOff x="4519676" y="3919601"/>
            <a:chExt cx="6853174" cy="1119124"/>
          </a:xfrm>
        </p:grpSpPr>
        <p:sp>
          <p:nvSpPr>
            <p:cNvPr id="5034" name="Google Shape;5034;p21"/>
            <p:cNvSpPr/>
            <p:nvPr/>
          </p:nvSpPr>
          <p:spPr>
            <a:xfrm>
              <a:off x="5924550" y="4143375"/>
              <a:ext cx="5448300" cy="895350"/>
            </a:xfrm>
            <a:custGeom>
              <a:avLst/>
              <a:gdLst/>
              <a:ahLst/>
              <a:cxnLst/>
              <a:rect l="l" t="t" r="r" b="b"/>
              <a:pathLst>
                <a:path w="5448300" h="895350" extrusionOk="0">
                  <a:moveTo>
                    <a:pt x="5448300" y="0"/>
                  </a:moveTo>
                  <a:lnTo>
                    <a:pt x="0" y="0"/>
                  </a:lnTo>
                  <a:lnTo>
                    <a:pt x="0" y="895350"/>
                  </a:lnTo>
                  <a:lnTo>
                    <a:pt x="5448300" y="895350"/>
                  </a:lnTo>
                  <a:lnTo>
                    <a:pt x="5448300" y="0"/>
                  </a:lnTo>
                  <a:close/>
                </a:path>
              </a:pathLst>
            </a:custGeom>
            <a:solidFill>
              <a:srgbClr val="F5668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035" name="Google Shape;5035;p21"/>
            <p:cNvSpPr/>
            <p:nvPr/>
          </p:nvSpPr>
          <p:spPr>
            <a:xfrm>
              <a:off x="4519676" y="3919601"/>
              <a:ext cx="1405255" cy="723900"/>
            </a:xfrm>
            <a:custGeom>
              <a:avLst/>
              <a:gdLst/>
              <a:ahLst/>
              <a:cxnLst/>
              <a:rect l="l" t="t" r="r" b="b"/>
              <a:pathLst>
                <a:path w="1405254" h="723900" extrusionOk="0">
                  <a:moveTo>
                    <a:pt x="0" y="0"/>
                  </a:moveTo>
                  <a:lnTo>
                    <a:pt x="1405001" y="723646"/>
                  </a:lnTo>
                </a:path>
              </a:pathLst>
            </a:custGeom>
            <a:noFill/>
            <a:ln w="9525" cap="flat" cmpd="sng">
              <a:solidFill>
                <a:srgbClr val="497DB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036" name="Google Shape;5036;p21"/>
            <p:cNvSpPr/>
            <p:nvPr/>
          </p:nvSpPr>
          <p:spPr>
            <a:xfrm>
              <a:off x="7105650" y="4314825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5037" name="Google Shape;5037;p21"/>
          <p:cNvSpPr txBox="1"/>
          <p:nvPr/>
        </p:nvSpPr>
        <p:spPr>
          <a:xfrm>
            <a:off x="5924550" y="4143375"/>
            <a:ext cx="5448300" cy="895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9375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5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401445" marR="901064" lvl="0" indent="0" algn="l" rtl="0">
              <a:lnSpc>
                <a:spcPct val="1051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ndorse consistent safe sleep environment messaging and education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038" name="Google Shape;5038;p21"/>
          <p:cNvPicPr preferRelativeResize="0"/>
          <p:nvPr/>
        </p:nvPicPr>
        <p:blipFill rotWithShape="1">
          <a:blip r:embed="rId3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10275" y="4371975"/>
            <a:ext cx="1000125" cy="457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039" name="Google Shape;5039;p21"/>
          <p:cNvPicPr preferRelativeResize="0"/>
          <p:nvPr/>
        </p:nvPicPr>
        <p:blipFill rotWithShape="1">
          <a:blip r:embed="rId3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0775" y="3190875"/>
            <a:ext cx="609600" cy="5810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44" name="Google Shape;5044;p22"/>
          <p:cNvGraphicFramePr/>
          <p:nvPr>
            <p:extLst>
              <p:ext uri="{D42A27DB-BD31-4B8C-83A1-F6EECF244321}">
                <p14:modId xmlns:p14="http://schemas.microsoft.com/office/powerpoint/2010/main" val="2724588581"/>
              </p:ext>
            </p:extLst>
          </p:nvPr>
        </p:nvGraphicFramePr>
        <p:xfrm>
          <a:off x="441045" y="337693"/>
          <a:ext cx="11074425" cy="1705600"/>
        </p:xfrm>
        <a:graphic>
          <a:graphicData uri="http://schemas.openxmlformats.org/drawingml/2006/table">
            <a:tbl>
              <a:tblPr firstRow="1" bandRow="1">
                <a:noFill/>
                <a:tableStyleId>{410EBB18-085E-4E12-99BB-723E436381A6}</a:tableStyleId>
              </a:tblPr>
              <a:tblGrid>
                <a:gridCol w="1507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5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114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04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Baseline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(%)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Current (%)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tc>
                  <a:txBody>
                    <a:bodyPr/>
                    <a:lstStyle/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tructure Measure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2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11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76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225425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standardized process for transfer of care to the newborn’s community provider, including documentation of ESSI Newborn Care Plan.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045" name="Google Shape;5045;p22"/>
          <p:cNvSpPr txBox="1"/>
          <p:nvPr/>
        </p:nvSpPr>
        <p:spPr>
          <a:xfrm>
            <a:off x="78739" y="6613525"/>
            <a:ext cx="2218055" cy="208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latin typeface="Arial"/>
                <a:ea typeface="Arial"/>
                <a:cs typeface="Arial"/>
                <a:sym typeface="Arial"/>
              </a:rPr>
              <a:t>Baseline (Oct-Dec 2023), N=75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AC1A1DC-C031-4579-8C05-725E5606304B}"/>
              </a:ext>
            </a:extLst>
          </p:cNvPr>
          <p:cNvSpPr/>
          <p:nvPr/>
        </p:nvSpPr>
        <p:spPr>
          <a:xfrm>
            <a:off x="356170" y="1047963"/>
            <a:ext cx="11159300" cy="995329"/>
          </a:xfrm>
          <a:prstGeom prst="roundRect">
            <a:avLst/>
          </a:prstGeom>
          <a:noFill/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Google Shape;4470;p13">
            <a:extLst>
              <a:ext uri="{FF2B5EF4-FFF2-40B4-BE49-F238E27FC236}">
                <a16:creationId xmlns:a16="http://schemas.microsoft.com/office/drawing/2014/main" id="{33842F51-7B7A-A202-7611-A81ED8ED16E3}"/>
              </a:ext>
            </a:extLst>
          </p:cNvPr>
          <p:cNvSpPr txBox="1"/>
          <p:nvPr/>
        </p:nvSpPr>
        <p:spPr>
          <a:xfrm>
            <a:off x="2480945" y="6613525"/>
            <a:ext cx="190817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/>
                <a:ea typeface="Arial"/>
                <a:cs typeface="Arial"/>
                <a:sym typeface="Arial"/>
              </a:rPr>
              <a:t>Current (June 2025), N=</a:t>
            </a:r>
            <a:r>
              <a:rPr lang="en-US" sz="1200" dirty="0"/>
              <a:t>51</a:t>
            </a:r>
            <a:endParaRPr sz="12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4469;p13">
            <a:extLst>
              <a:ext uri="{FF2B5EF4-FFF2-40B4-BE49-F238E27FC236}">
                <a16:creationId xmlns:a16="http://schemas.microsoft.com/office/drawing/2014/main" id="{F286730E-342B-07DB-BDD2-2D5F7EAF7533}"/>
              </a:ext>
            </a:extLst>
          </p:cNvPr>
          <p:cNvSpPr txBox="1"/>
          <p:nvPr/>
        </p:nvSpPr>
        <p:spPr>
          <a:xfrm>
            <a:off x="9895206" y="6613525"/>
            <a:ext cx="221805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/>
                <a:ea typeface="Arial"/>
                <a:cs typeface="Arial"/>
                <a:sym typeface="Arial"/>
              </a:rPr>
              <a:t>8.15.2025</a:t>
            </a:r>
            <a:endParaRPr sz="1200" dirty="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3" name="Google Shape;4213;p5"/>
          <p:cNvSpPr txBox="1">
            <a:spLocks noGrp="1"/>
          </p:cNvSpPr>
          <p:nvPr>
            <p:ph type="title"/>
          </p:nvPr>
        </p:nvSpPr>
        <p:spPr>
          <a:xfrm>
            <a:off x="496249" y="301702"/>
            <a:ext cx="7467900" cy="69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65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>
                <a:latin typeface="DM Sans" pitchFamily="2" charset="77"/>
                <a:ea typeface="DM Sans"/>
                <a:cs typeface="DM Sans"/>
                <a:sym typeface="DM Sans"/>
              </a:rPr>
              <a:t>ESSI ABP MOC Part IV</a:t>
            </a:r>
            <a:endParaRPr sz="440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214" name="Google Shape;4214;p5"/>
          <p:cNvSpPr txBox="1"/>
          <p:nvPr/>
        </p:nvSpPr>
        <p:spPr>
          <a:xfrm>
            <a:off x="496250" y="1240475"/>
            <a:ext cx="7787400" cy="34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240665" lvl="0" indent="-2279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50"/>
              <a:buFont typeface="DM Sans"/>
              <a:buChar char="•"/>
            </a:pPr>
            <a:r>
              <a:rPr lang="en-US" sz="2150">
                <a:latin typeface="DM Sans" pitchFamily="2" charset="77"/>
                <a:ea typeface="DM Sans"/>
                <a:cs typeface="DM Sans"/>
                <a:sym typeface="DM Sans"/>
              </a:rPr>
              <a:t>Complete an attestation form if you are an ABP-certified</a:t>
            </a:r>
            <a:endParaRPr sz="215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215" name="Google Shape;4215;p5"/>
          <p:cNvSpPr txBox="1"/>
          <p:nvPr/>
        </p:nvSpPr>
        <p:spPr>
          <a:xfrm>
            <a:off x="917575" y="1536128"/>
            <a:ext cx="2313300" cy="34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50">
                <a:latin typeface="DM Sans" pitchFamily="2" charset="77"/>
                <a:ea typeface="DM Sans"/>
                <a:cs typeface="DM Sans"/>
                <a:sym typeface="DM Sans"/>
              </a:rPr>
              <a:t>physician seeking</a:t>
            </a:r>
            <a:endParaRPr sz="215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216" name="Google Shape;4216;p5"/>
          <p:cNvSpPr txBox="1"/>
          <p:nvPr/>
        </p:nvSpPr>
        <p:spPr>
          <a:xfrm>
            <a:off x="3293364" y="1537080"/>
            <a:ext cx="1329000" cy="3462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spcFirstLastPara="1" wrap="square" lIns="0" tIns="15225" rIns="0" bIns="0" anchor="t" anchorCtr="0">
            <a:spAutoFit/>
          </a:bodyPr>
          <a:lstStyle/>
          <a:p>
            <a:pPr marL="1905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50">
                <a:latin typeface="DM Sans" pitchFamily="2" charset="77"/>
                <a:ea typeface="DM Sans"/>
                <a:cs typeface="DM Sans"/>
                <a:sym typeface="DM Sans"/>
              </a:rPr>
              <a:t>25 credits</a:t>
            </a:r>
            <a:endParaRPr sz="215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217" name="Google Shape;4217;p5"/>
          <p:cNvSpPr txBox="1"/>
          <p:nvPr/>
        </p:nvSpPr>
        <p:spPr>
          <a:xfrm>
            <a:off x="4674870" y="1536128"/>
            <a:ext cx="2491200" cy="34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50">
                <a:latin typeface="DM Sans" pitchFamily="2" charset="77"/>
                <a:ea typeface="DM Sans"/>
                <a:cs typeface="DM Sans"/>
                <a:sym typeface="DM Sans"/>
              </a:rPr>
              <a:t>under </a:t>
            </a:r>
            <a:r>
              <a:rPr lang="en-US" sz="2150" b="1">
                <a:latin typeface="DM Sans" pitchFamily="2" charset="77"/>
                <a:ea typeface="DM Sans"/>
                <a:cs typeface="DM Sans"/>
                <a:sym typeface="DM Sans"/>
              </a:rPr>
              <a:t>MOC Part IV</a:t>
            </a:r>
            <a:endParaRPr sz="215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218" name="Google Shape;4218;p5"/>
          <p:cNvSpPr txBox="1"/>
          <p:nvPr/>
        </p:nvSpPr>
        <p:spPr>
          <a:xfrm>
            <a:off x="496250" y="1997463"/>
            <a:ext cx="8416200" cy="4295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240665" lvl="0" indent="-227965" algn="l" rtl="0">
              <a:lnSpc>
                <a:spcPct val="115813"/>
              </a:lnSpc>
              <a:spcBef>
                <a:spcPts val="0"/>
              </a:spcBef>
              <a:spcAft>
                <a:spcPts val="0"/>
              </a:spcAft>
              <a:buSzPts val="2150"/>
              <a:buFont typeface="DM Sans"/>
              <a:buChar char="•"/>
            </a:pPr>
            <a:r>
              <a:rPr lang="en-US" sz="2150" dirty="0">
                <a:latin typeface="DM Sans" pitchFamily="2" charset="77"/>
                <a:ea typeface="DM Sans"/>
                <a:cs typeface="DM Sans"/>
                <a:sym typeface="DM Sans"/>
              </a:rPr>
              <a:t>Submit the attestation form to your QI project leader for</a:t>
            </a:r>
            <a:endParaRPr sz="2150" dirty="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241300" lvl="0" indent="0" algn="l" rtl="0">
              <a:lnSpc>
                <a:spcPct val="115813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50" dirty="0">
                <a:latin typeface="DM Sans" pitchFamily="2" charset="77"/>
                <a:ea typeface="DM Sans"/>
                <a:cs typeface="DM Sans"/>
                <a:sym typeface="DM Sans"/>
              </a:rPr>
              <a:t>signature and send back to </a:t>
            </a:r>
            <a:r>
              <a:rPr lang="en-US" sz="2150" u="sng" dirty="0">
                <a:solidFill>
                  <a:srgbClr val="467885"/>
                </a:solidFill>
                <a:latin typeface="DM Sans" pitchFamily="2" charset="77"/>
                <a:ea typeface="DM Sans"/>
                <a:cs typeface="DM Sans"/>
                <a:sym typeface="DM San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ilpqc.org</a:t>
            </a:r>
            <a:r>
              <a:rPr lang="en-US" sz="2150" dirty="0">
                <a:solidFill>
                  <a:srgbClr val="467885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 </a:t>
            </a:r>
            <a:r>
              <a:rPr lang="en-US" sz="2150" dirty="0">
                <a:latin typeface="DM Sans" pitchFamily="2" charset="77"/>
                <a:ea typeface="DM Sans"/>
                <a:cs typeface="DM Sans"/>
                <a:sym typeface="DM Sans"/>
              </a:rPr>
              <a:t>for credit in 2025</a:t>
            </a:r>
            <a:endParaRPr sz="2150" dirty="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240665" lvl="0" indent="-22796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150"/>
              <a:buFont typeface="DM Sans"/>
              <a:buChar char="•"/>
            </a:pPr>
            <a:r>
              <a:rPr lang="en-US" sz="2150" i="1" dirty="0">
                <a:latin typeface="DM Sans" pitchFamily="2" charset="77"/>
                <a:ea typeface="DM Sans"/>
                <a:cs typeface="DM Sans"/>
                <a:sym typeface="DM Sans"/>
              </a:rPr>
              <a:t>You can start submitting the attestation form in October.</a:t>
            </a:r>
            <a:endParaRPr sz="2150" dirty="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240665" lvl="0" indent="-227965" algn="l" rtl="0">
              <a:lnSpc>
                <a:spcPct val="116046"/>
              </a:lnSpc>
              <a:spcBef>
                <a:spcPts val="0"/>
              </a:spcBef>
              <a:spcAft>
                <a:spcPts val="0"/>
              </a:spcAft>
              <a:buSzPts val="2150"/>
              <a:buFont typeface="DM Sans"/>
              <a:buChar char="•"/>
            </a:pPr>
            <a:r>
              <a:rPr lang="en-US" sz="2150" dirty="0">
                <a:latin typeface="DM Sans" pitchFamily="2" charset="77"/>
                <a:ea typeface="DM Sans"/>
                <a:cs typeface="DM Sans"/>
                <a:sym typeface="DM Sans"/>
              </a:rPr>
              <a:t>Attestation of Meaningful Participation:</a:t>
            </a:r>
            <a:endParaRPr sz="2150" dirty="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698500" marR="748665" lvl="1" indent="-228600" algn="l" rtl="0">
              <a:lnSpc>
                <a:spcPct val="108372"/>
              </a:lnSpc>
              <a:spcBef>
                <a:spcPts val="200"/>
              </a:spcBef>
              <a:spcAft>
                <a:spcPts val="0"/>
              </a:spcAft>
              <a:buSzPts val="2150"/>
              <a:buFont typeface="DM Sans"/>
              <a:buChar char="•"/>
            </a:pPr>
            <a:r>
              <a:rPr lang="en-US" sz="2150" dirty="0">
                <a:latin typeface="DM Sans" pitchFamily="2" charset="77"/>
                <a:ea typeface="DM Sans"/>
                <a:cs typeface="DM Sans"/>
                <a:sym typeface="DM Sans"/>
              </a:rPr>
              <a:t>Intellectually engaged in planning and executing the project</a:t>
            </a:r>
            <a:endParaRPr sz="2150" dirty="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698500" marR="5080" lvl="1" indent="-228600" algn="l" rtl="0">
              <a:lnSpc>
                <a:spcPct val="108372"/>
              </a:lnSpc>
              <a:spcBef>
                <a:spcPts val="595"/>
              </a:spcBef>
              <a:spcAft>
                <a:spcPts val="0"/>
              </a:spcAft>
              <a:buSzPts val="2150"/>
              <a:buFont typeface="DM Sans"/>
              <a:buChar char="•"/>
            </a:pPr>
            <a:r>
              <a:rPr lang="en-US" sz="2150" dirty="0">
                <a:latin typeface="DM Sans" pitchFamily="2" charset="77"/>
                <a:ea typeface="DM Sans"/>
                <a:cs typeface="DM Sans"/>
                <a:sym typeface="DM Sans"/>
              </a:rPr>
              <a:t>Participated in implementing the project’s interventions - the changes designed to improve care</a:t>
            </a:r>
            <a:endParaRPr sz="2150" dirty="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698500" lvl="1" indent="-228600" algn="l" rtl="0">
              <a:lnSpc>
                <a:spcPct val="114186"/>
              </a:lnSpc>
              <a:spcBef>
                <a:spcPts val="315"/>
              </a:spcBef>
              <a:spcAft>
                <a:spcPts val="0"/>
              </a:spcAft>
              <a:buSzPts val="2150"/>
              <a:buFont typeface="DM Sans"/>
              <a:buChar char="•"/>
            </a:pPr>
            <a:r>
              <a:rPr lang="en-US" sz="2150" dirty="0">
                <a:latin typeface="DM Sans" pitchFamily="2" charset="77"/>
                <a:ea typeface="DM Sans"/>
                <a:cs typeface="DM Sans"/>
                <a:sym typeface="DM Sans"/>
              </a:rPr>
              <a:t>Regularly reviewed data in keeping with the project’s</a:t>
            </a:r>
            <a:endParaRPr sz="2150" dirty="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698500" lvl="0" indent="0" algn="l" rtl="0">
              <a:lnSpc>
                <a:spcPct val="1141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50" dirty="0">
                <a:latin typeface="DM Sans" pitchFamily="2" charset="77"/>
                <a:ea typeface="DM Sans"/>
                <a:cs typeface="DM Sans"/>
                <a:sym typeface="DM Sans"/>
              </a:rPr>
              <a:t>measurement plan</a:t>
            </a:r>
            <a:endParaRPr sz="2150" dirty="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698500" lvl="1" indent="-228600" algn="l" rtl="0">
              <a:lnSpc>
                <a:spcPct val="100000"/>
              </a:lnSpc>
              <a:spcBef>
                <a:spcPts val="345"/>
              </a:spcBef>
              <a:spcAft>
                <a:spcPts val="0"/>
              </a:spcAft>
              <a:buSzPts val="2150"/>
              <a:buFont typeface="DM Sans"/>
              <a:buChar char="•"/>
            </a:pPr>
            <a:r>
              <a:rPr lang="en-US" sz="2150" dirty="0">
                <a:latin typeface="DM Sans" pitchFamily="2" charset="77"/>
                <a:ea typeface="DM Sans"/>
                <a:cs typeface="DM Sans"/>
                <a:sym typeface="DM Sans"/>
              </a:rPr>
              <a:t>Collaborated in the activity by attending team meetings</a:t>
            </a:r>
            <a:endParaRPr sz="2150" dirty="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219" name="Google Shape;4219;p5"/>
          <p:cNvSpPr txBox="1"/>
          <p:nvPr/>
        </p:nvSpPr>
        <p:spPr>
          <a:xfrm>
            <a:off x="917575" y="6434454"/>
            <a:ext cx="11874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757575"/>
                </a:solidFill>
                <a:latin typeface="DM Sans" pitchFamily="2" charset="77"/>
                <a:sym typeface="Arial"/>
              </a:rPr>
              <a:t>5</a:t>
            </a:r>
            <a:endParaRPr sz="1200">
              <a:latin typeface="DM Sans" pitchFamily="2" charset="77"/>
              <a:sym typeface="Arial"/>
            </a:endParaRPr>
          </a:p>
        </p:txBody>
      </p:sp>
      <p:pic>
        <p:nvPicPr>
          <p:cNvPr id="4220" name="Google Shape;4220;p5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3448" y="2852039"/>
            <a:ext cx="2227579" cy="346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221" name="Google Shape;4221;p5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4955" y="3290442"/>
            <a:ext cx="2029841" cy="330073"/>
          </a:xfrm>
          <a:prstGeom prst="rect">
            <a:avLst/>
          </a:prstGeom>
          <a:noFill/>
          <a:ln>
            <a:noFill/>
          </a:ln>
        </p:spPr>
      </p:pic>
      <p:pic>
        <p:nvPicPr>
          <p:cNvPr id="4222" name="Google Shape;4222;p5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79255" y="3742816"/>
            <a:ext cx="1834642" cy="371601"/>
          </a:xfrm>
          <a:prstGeom prst="rect">
            <a:avLst/>
          </a:prstGeom>
          <a:noFill/>
          <a:ln>
            <a:noFill/>
          </a:ln>
        </p:spPr>
      </p:pic>
      <p:pic>
        <p:nvPicPr>
          <p:cNvPr id="4223" name="Google Shape;4223;p5"/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7618" y="4202303"/>
            <a:ext cx="1625219" cy="32283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0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52" name="Google Shape;5052;p23"/>
          <p:cNvGrpSpPr/>
          <p:nvPr/>
        </p:nvGrpSpPr>
        <p:grpSpPr>
          <a:xfrm>
            <a:off x="171450" y="419100"/>
            <a:ext cx="11991975" cy="5981700"/>
            <a:chOff x="171450" y="419100"/>
            <a:chExt cx="11991975" cy="5981700"/>
          </a:xfrm>
        </p:grpSpPr>
        <p:pic>
          <p:nvPicPr>
            <p:cNvPr id="5053" name="Google Shape;5053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71450" y="419100"/>
              <a:ext cx="3400425" cy="33147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054" name="Google Shape;5054;p23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2295525" y="1409700"/>
              <a:ext cx="9867900" cy="4991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055" name="Google Shape;5055;p23"/>
            <p:cNvSpPr/>
            <p:nvPr/>
          </p:nvSpPr>
          <p:spPr>
            <a:xfrm>
              <a:off x="2733675" y="2333625"/>
              <a:ext cx="8834755" cy="0"/>
            </a:xfrm>
            <a:custGeom>
              <a:avLst/>
              <a:gdLst/>
              <a:ahLst/>
              <a:cxnLst/>
              <a:rect l="l" t="t" r="r" b="b"/>
              <a:pathLst>
                <a:path w="8834755" h="120000" extrusionOk="0">
                  <a:moveTo>
                    <a:pt x="0" y="0"/>
                  </a:moveTo>
                  <a:lnTo>
                    <a:pt x="8834628" y="0"/>
                  </a:lnTo>
                </a:path>
              </a:pathLst>
            </a:custGeom>
            <a:noFill/>
            <a:ln w="152400" cap="flat" cmpd="sng">
              <a:solidFill>
                <a:srgbClr val="4792DC"/>
              </a:solidFill>
              <a:prstDash val="dot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056" name="Google Shape;5056;p23"/>
            <p:cNvSpPr/>
            <p:nvPr/>
          </p:nvSpPr>
          <p:spPr>
            <a:xfrm>
              <a:off x="9815576" y="3433826"/>
              <a:ext cx="0" cy="490220"/>
            </a:xfrm>
            <a:custGeom>
              <a:avLst/>
              <a:gdLst/>
              <a:ahLst/>
              <a:cxnLst/>
              <a:rect l="l" t="t" r="r" b="b"/>
              <a:pathLst>
                <a:path w="120000" h="490220" extrusionOk="0">
                  <a:moveTo>
                    <a:pt x="0" y="0"/>
                  </a:moveTo>
                  <a:lnTo>
                    <a:pt x="0" y="489712"/>
                  </a:lnTo>
                </a:path>
              </a:pathLst>
            </a:custGeom>
            <a:noFill/>
            <a:ln w="50800" cap="flat" cmpd="sng">
              <a:solidFill>
                <a:srgbClr val="365F92"/>
              </a:solidFill>
              <a:prstDash val="dot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5057" name="Google Shape;5057;p23"/>
          <p:cNvSpPr txBox="1"/>
          <p:nvPr/>
        </p:nvSpPr>
        <p:spPr>
          <a:xfrm>
            <a:off x="9588118" y="4178236"/>
            <a:ext cx="82296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9675" rIns="0" bIns="0" anchor="t" anchorCtr="0">
            <a:spAutoFit/>
          </a:bodyPr>
          <a:lstStyle/>
          <a:p>
            <a:pPr marL="12700" marR="5080" lvl="0" indent="0" algn="l" rtl="0">
              <a:lnSpc>
                <a:spcPct val="11916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>
                <a:latin typeface="Arial"/>
                <a:ea typeface="Arial"/>
                <a:cs typeface="Arial"/>
                <a:sym typeface="Arial"/>
              </a:rPr>
              <a:t>March– Transfer of Care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058" name="Google Shape;5058;p2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33350" y="123825"/>
            <a:ext cx="4562475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5059" name="Google Shape;5059;p23"/>
          <p:cNvSpPr txBox="1"/>
          <p:nvPr/>
        </p:nvSpPr>
        <p:spPr>
          <a:xfrm>
            <a:off x="1834133" y="3431857"/>
            <a:ext cx="250190" cy="186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W</a:t>
            </a:r>
            <a:endParaRPr sz="105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60" name="Google Shape;5060;p23"/>
          <p:cNvSpPr txBox="1"/>
          <p:nvPr/>
        </p:nvSpPr>
        <p:spPr>
          <a:xfrm>
            <a:off x="2471728" y="3431857"/>
            <a:ext cx="102870" cy="186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endParaRPr sz="105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61" name="Google Shape;5061;p23"/>
          <p:cNvSpPr txBox="1">
            <a:spLocks noGrp="1"/>
          </p:cNvSpPr>
          <p:nvPr>
            <p:ph type="title"/>
          </p:nvPr>
        </p:nvSpPr>
        <p:spPr>
          <a:xfrm>
            <a:off x="373697" y="184467"/>
            <a:ext cx="3934460" cy="535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975" rIns="0" bIns="0" anchor="t" anchorCtr="0">
            <a:spAutoFit/>
          </a:bodyPr>
          <a:lstStyle/>
          <a:p>
            <a:pPr marL="12700" marR="5080" lvl="0" indent="0" algn="l" rtl="0">
              <a:lnSpc>
                <a:spcPct val="1024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>
                <a:solidFill>
                  <a:srgbClr val="FFFFFF"/>
                </a:solidFill>
              </a:rPr>
              <a:t>ESSI Bundle: Component 3: Transfer of Care</a:t>
            </a:r>
            <a:endParaRPr sz="1650"/>
          </a:p>
        </p:txBody>
      </p:sp>
      <p:sp>
        <p:nvSpPr>
          <p:cNvPr id="5062" name="Google Shape;5062;p23"/>
          <p:cNvSpPr txBox="1"/>
          <p:nvPr/>
        </p:nvSpPr>
        <p:spPr>
          <a:xfrm rot="-5400000">
            <a:off x="-423900" y="4101851"/>
            <a:ext cx="3549300" cy="2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7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latin typeface="DM Sans"/>
                <a:ea typeface="DM Sans"/>
                <a:cs typeface="DM Sans"/>
                <a:sym typeface="DM Sans"/>
              </a:rPr>
              <a:t>% of Audited Charts</a:t>
            </a:r>
            <a:endParaRPr sz="18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5063" name="Google Shape;5063;p23"/>
          <p:cNvSpPr txBox="1"/>
          <p:nvPr/>
        </p:nvSpPr>
        <p:spPr>
          <a:xfrm>
            <a:off x="2940304" y="4552378"/>
            <a:ext cx="702945" cy="2774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50" b="1">
                <a:latin typeface="Arial"/>
                <a:ea typeface="Arial"/>
                <a:cs typeface="Arial"/>
                <a:sym typeface="Arial"/>
              </a:rPr>
              <a:t>18.72%</a:t>
            </a:r>
            <a:endParaRPr sz="165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64" name="Google Shape;5064;p23"/>
          <p:cNvSpPr txBox="1"/>
          <p:nvPr/>
        </p:nvSpPr>
        <p:spPr>
          <a:xfrm>
            <a:off x="298132" y="805815"/>
            <a:ext cx="11385000" cy="119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6500" rIns="0" bIns="0" anchor="t" anchorCtr="0">
            <a:spAutoFit/>
          </a:bodyPr>
          <a:lstStyle/>
          <a:p>
            <a:pPr marL="3289934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300" b="1" dirty="0">
                <a:latin typeface="DM Sans"/>
                <a:ea typeface="DM Sans"/>
                <a:cs typeface="DM Sans"/>
                <a:sym typeface="DM Sans"/>
              </a:rPr>
              <a:t>ESSI Bundle Documented in Discharge Summary</a:t>
            </a:r>
            <a:endParaRPr sz="2300" dirty="0">
              <a:latin typeface="DM Sans"/>
              <a:ea typeface="DM Sans"/>
              <a:cs typeface="DM Sans"/>
              <a:sym typeface="DM Sans"/>
            </a:endParaRPr>
          </a:p>
          <a:p>
            <a:pPr marL="12700" lvl="0" indent="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None/>
            </a:pPr>
            <a:r>
              <a:rPr lang="en-US" sz="1650" b="1" dirty="0">
                <a:latin typeface="DM Sans"/>
                <a:ea typeface="DM Sans"/>
                <a:cs typeface="DM Sans"/>
                <a:sym typeface="DM Sans"/>
              </a:rPr>
              <a:t>Goal = 80%</a:t>
            </a:r>
            <a:endParaRPr sz="1650" dirty="0">
              <a:latin typeface="DM Sans"/>
              <a:ea typeface="DM Sans"/>
              <a:cs typeface="DM Sans"/>
              <a:sym typeface="DM Sans"/>
            </a:endParaRPr>
          </a:p>
          <a:p>
            <a:pPr marL="10674985" lvl="0" indent="0" algn="l" rtl="0">
              <a:lnSpc>
                <a:spcPct val="100000"/>
              </a:lnSpc>
              <a:spcBef>
                <a:spcPts val="254"/>
              </a:spcBef>
              <a:spcAft>
                <a:spcPts val="0"/>
              </a:spcAft>
              <a:buNone/>
            </a:pPr>
            <a:r>
              <a:rPr lang="en-US" sz="1650" b="1" dirty="0">
                <a:latin typeface="DM Sans"/>
                <a:ea typeface="DM Sans"/>
                <a:cs typeface="DM Sans"/>
                <a:sym typeface="DM Sans"/>
              </a:rPr>
              <a:t>61.92%</a:t>
            </a:r>
            <a:endParaRPr sz="1650" dirty="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5065" name="Google Shape;5065;p23"/>
          <p:cNvSpPr txBox="1"/>
          <p:nvPr/>
        </p:nvSpPr>
        <p:spPr>
          <a:xfrm>
            <a:off x="168592" y="6566534"/>
            <a:ext cx="1299210" cy="208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i="1">
                <a:latin typeface="Arial"/>
                <a:ea typeface="Arial"/>
                <a:cs typeface="Arial"/>
                <a:sym typeface="Arial"/>
              </a:rPr>
              <a:t>Updated 8.8.2025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0" name="Google Shape;5070;p24"/>
          <p:cNvSpPr/>
          <p:nvPr/>
        </p:nvSpPr>
        <p:spPr>
          <a:xfrm>
            <a:off x="4529201" y="5719762"/>
            <a:ext cx="1405255" cy="3810"/>
          </a:xfrm>
          <a:custGeom>
            <a:avLst/>
            <a:gdLst/>
            <a:ahLst/>
            <a:cxnLst/>
            <a:rect l="l" t="t" r="r" b="b"/>
            <a:pathLst>
              <a:path w="1405254" h="3810" extrusionOk="0">
                <a:moveTo>
                  <a:pt x="0" y="0"/>
                </a:moveTo>
                <a:lnTo>
                  <a:pt x="1405001" y="3416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71" name="Google Shape;5071;p24"/>
          <p:cNvSpPr/>
          <p:nvPr/>
        </p:nvSpPr>
        <p:spPr>
          <a:xfrm>
            <a:off x="4519676" y="2424176"/>
            <a:ext cx="1405255" cy="3810"/>
          </a:xfrm>
          <a:custGeom>
            <a:avLst/>
            <a:gdLst/>
            <a:ahLst/>
            <a:cxnLst/>
            <a:rect l="l" t="t" r="r" b="b"/>
            <a:pathLst>
              <a:path w="1405254" h="3810" extrusionOk="0">
                <a:moveTo>
                  <a:pt x="0" y="0"/>
                </a:moveTo>
                <a:lnTo>
                  <a:pt x="1405001" y="3301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72" name="Google Shape;5072;p24"/>
          <p:cNvSpPr/>
          <p:nvPr/>
        </p:nvSpPr>
        <p:spPr>
          <a:xfrm>
            <a:off x="4510151" y="3957701"/>
            <a:ext cx="1405255" cy="3810"/>
          </a:xfrm>
          <a:custGeom>
            <a:avLst/>
            <a:gdLst/>
            <a:ahLst/>
            <a:cxnLst/>
            <a:rect l="l" t="t" r="r" b="b"/>
            <a:pathLst>
              <a:path w="1405254" h="3810" extrusionOk="0">
                <a:moveTo>
                  <a:pt x="0" y="0"/>
                </a:moveTo>
                <a:lnTo>
                  <a:pt x="1405001" y="3301"/>
                </a:lnTo>
              </a:path>
            </a:pathLst>
          </a:custGeom>
          <a:noFill/>
          <a:ln w="9525" cap="flat" cmpd="sng">
            <a:solidFill>
              <a:srgbClr val="49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5073" name="Google Shape;5073;p24"/>
          <p:cNvGrpSpPr/>
          <p:nvPr/>
        </p:nvGrpSpPr>
        <p:grpSpPr>
          <a:xfrm>
            <a:off x="5915025" y="2362200"/>
            <a:ext cx="5457825" cy="4352925"/>
            <a:chOff x="5915025" y="2362200"/>
            <a:chExt cx="5457825" cy="4352925"/>
          </a:xfrm>
        </p:grpSpPr>
        <p:pic>
          <p:nvPicPr>
            <p:cNvPr id="5074" name="Google Shape;5074;p24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34075" y="5124450"/>
              <a:ext cx="5153025" cy="15906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075" name="Google Shape;5075;p24"/>
            <p:cNvSpPr/>
            <p:nvPr/>
          </p:nvSpPr>
          <p:spPr>
            <a:xfrm>
              <a:off x="5915025" y="5086350"/>
              <a:ext cx="5457825" cy="1085850"/>
            </a:xfrm>
            <a:custGeom>
              <a:avLst/>
              <a:gdLst/>
              <a:ahLst/>
              <a:cxnLst/>
              <a:rect l="l" t="t" r="r" b="b"/>
              <a:pathLst>
                <a:path w="5457825" h="1085850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39"/>
                  </a:lnTo>
                  <a:lnTo>
                    <a:pt x="21018" y="21018"/>
                  </a:lnTo>
                  <a:lnTo>
                    <a:pt x="5639" y="43826"/>
                  </a:lnTo>
                  <a:lnTo>
                    <a:pt x="0" y="71755"/>
                  </a:lnTo>
                  <a:lnTo>
                    <a:pt x="0" y="1014044"/>
                  </a:lnTo>
                  <a:lnTo>
                    <a:pt x="5639" y="1041996"/>
                  </a:lnTo>
                  <a:lnTo>
                    <a:pt x="21018" y="1064820"/>
                  </a:lnTo>
                  <a:lnTo>
                    <a:pt x="43826" y="1080207"/>
                  </a:lnTo>
                  <a:lnTo>
                    <a:pt x="71754" y="1085850"/>
                  </a:lnTo>
                  <a:lnTo>
                    <a:pt x="5386070" y="1085850"/>
                  </a:lnTo>
                  <a:lnTo>
                    <a:pt x="5413998" y="1080207"/>
                  </a:lnTo>
                  <a:lnTo>
                    <a:pt x="5436806" y="1064820"/>
                  </a:lnTo>
                  <a:lnTo>
                    <a:pt x="5452185" y="1041996"/>
                  </a:lnTo>
                  <a:lnTo>
                    <a:pt x="5457825" y="1014044"/>
                  </a:lnTo>
                  <a:lnTo>
                    <a:pt x="5457825" y="71755"/>
                  </a:lnTo>
                  <a:lnTo>
                    <a:pt x="5452185" y="43826"/>
                  </a:lnTo>
                  <a:lnTo>
                    <a:pt x="5436806" y="21018"/>
                  </a:lnTo>
                  <a:lnTo>
                    <a:pt x="5413998" y="5639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52BE9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076" name="Google Shape;5076;p24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34075" y="3743325"/>
              <a:ext cx="5153025" cy="159893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077" name="Google Shape;5077;p24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34075" y="2362200"/>
              <a:ext cx="5153025" cy="15906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078" name="Google Shape;5078;p24"/>
            <p:cNvSpPr/>
            <p:nvPr/>
          </p:nvSpPr>
          <p:spPr>
            <a:xfrm>
              <a:off x="7058025" y="5353050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079" name="Google Shape;5079;p24"/>
            <p:cNvSpPr/>
            <p:nvPr/>
          </p:nvSpPr>
          <p:spPr>
            <a:xfrm>
              <a:off x="5915025" y="3114675"/>
              <a:ext cx="1485900" cy="0"/>
            </a:xfrm>
            <a:custGeom>
              <a:avLst/>
              <a:gdLst/>
              <a:ahLst/>
              <a:cxnLst/>
              <a:rect l="l" t="t" r="r" b="b"/>
              <a:pathLst>
                <a:path w="1485900" h="120000" extrusionOk="0">
                  <a:moveTo>
                    <a:pt x="0" y="0"/>
                  </a:moveTo>
                  <a:lnTo>
                    <a:pt x="1485900" y="0"/>
                  </a:lnTo>
                </a:path>
              </a:pathLst>
            </a:custGeom>
            <a:noFill/>
            <a:ln w="38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pic>
        <p:nvPicPr>
          <p:cNvPr id="5080" name="Google Shape;5080;p24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01" y="4898623"/>
            <a:ext cx="237556" cy="1959374"/>
          </a:xfrm>
          <a:prstGeom prst="rect">
            <a:avLst/>
          </a:prstGeom>
          <a:noFill/>
          <a:ln>
            <a:noFill/>
          </a:ln>
        </p:spPr>
      </p:pic>
      <p:pic>
        <p:nvPicPr>
          <p:cNvPr id="5081" name="Google Shape;5081;p24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27800" y="18876"/>
            <a:ext cx="237625" cy="2083458"/>
          </a:xfrm>
          <a:prstGeom prst="rect">
            <a:avLst/>
          </a:prstGeom>
          <a:noFill/>
          <a:ln>
            <a:noFill/>
          </a:ln>
        </p:spPr>
      </p:pic>
      <p:sp>
        <p:nvSpPr>
          <p:cNvPr id="5082" name="Google Shape;5082;p24"/>
          <p:cNvSpPr/>
          <p:nvPr/>
        </p:nvSpPr>
        <p:spPr>
          <a:xfrm>
            <a:off x="11382375" y="6172200"/>
            <a:ext cx="809625" cy="685800"/>
          </a:xfrm>
          <a:custGeom>
            <a:avLst/>
            <a:gdLst/>
            <a:ahLst/>
            <a:cxnLst/>
            <a:rect l="l" t="t" r="r" b="b"/>
            <a:pathLst>
              <a:path w="809625" h="685800" extrusionOk="0">
                <a:moveTo>
                  <a:pt x="809625" y="12475"/>
                </a:moveTo>
                <a:lnTo>
                  <a:pt x="777433" y="6763"/>
                </a:lnTo>
                <a:lnTo>
                  <a:pt x="729728" y="1709"/>
                </a:lnTo>
                <a:lnTo>
                  <a:pt x="681101" y="0"/>
                </a:lnTo>
                <a:lnTo>
                  <a:pt x="632458" y="1709"/>
                </a:lnTo>
                <a:lnTo>
                  <a:pt x="584738" y="6763"/>
                </a:lnTo>
                <a:lnTo>
                  <a:pt x="538057" y="15044"/>
                </a:lnTo>
                <a:lnTo>
                  <a:pt x="492530" y="26437"/>
                </a:lnTo>
                <a:lnTo>
                  <a:pt x="448272" y="40828"/>
                </a:lnTo>
                <a:lnTo>
                  <a:pt x="405398" y="58101"/>
                </a:lnTo>
                <a:lnTo>
                  <a:pt x="364023" y="78142"/>
                </a:lnTo>
                <a:lnTo>
                  <a:pt x="324264" y="100833"/>
                </a:lnTo>
                <a:lnTo>
                  <a:pt x="286234" y="126061"/>
                </a:lnTo>
                <a:lnTo>
                  <a:pt x="250050" y="153711"/>
                </a:lnTo>
                <a:lnTo>
                  <a:pt x="215826" y="183666"/>
                </a:lnTo>
                <a:lnTo>
                  <a:pt x="183677" y="215812"/>
                </a:lnTo>
                <a:lnTo>
                  <a:pt x="153720" y="250033"/>
                </a:lnTo>
                <a:lnTo>
                  <a:pt x="126069" y="286214"/>
                </a:lnTo>
                <a:lnTo>
                  <a:pt x="100839" y="324240"/>
                </a:lnTo>
                <a:lnTo>
                  <a:pt x="78146" y="363996"/>
                </a:lnTo>
                <a:lnTo>
                  <a:pt x="58105" y="405367"/>
                </a:lnTo>
                <a:lnTo>
                  <a:pt x="40830" y="448236"/>
                </a:lnTo>
                <a:lnTo>
                  <a:pt x="26439" y="492489"/>
                </a:lnTo>
                <a:lnTo>
                  <a:pt x="15044" y="538011"/>
                </a:lnTo>
                <a:lnTo>
                  <a:pt x="6763" y="584687"/>
                </a:lnTo>
                <a:lnTo>
                  <a:pt x="1710" y="632400"/>
                </a:lnTo>
                <a:lnTo>
                  <a:pt x="0" y="681037"/>
                </a:lnTo>
                <a:lnTo>
                  <a:pt x="167" y="685800"/>
                </a:lnTo>
              </a:path>
            </a:pathLst>
          </a:custGeom>
          <a:noFill/>
          <a:ln w="38100" cap="flat" cmpd="sng">
            <a:solidFill>
              <a:srgbClr val="EBEF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83" name="Google Shape;5083;p24"/>
          <p:cNvSpPr/>
          <p:nvPr/>
        </p:nvSpPr>
        <p:spPr>
          <a:xfrm>
            <a:off x="0" y="0"/>
            <a:ext cx="952500" cy="714375"/>
          </a:xfrm>
          <a:custGeom>
            <a:avLst/>
            <a:gdLst/>
            <a:ahLst/>
            <a:cxnLst/>
            <a:rect l="l" t="t" r="r" b="b"/>
            <a:pathLst>
              <a:path w="952500" h="714375" extrusionOk="0">
                <a:moveTo>
                  <a:pt x="0" y="660252"/>
                </a:moveTo>
                <a:lnTo>
                  <a:pt x="76832" y="687749"/>
                </a:lnTo>
                <a:lnTo>
                  <a:pt x="122673" y="699223"/>
                </a:lnTo>
                <a:lnTo>
                  <a:pt x="169675" y="707563"/>
                </a:lnTo>
                <a:lnTo>
                  <a:pt x="217722" y="712652"/>
                </a:lnTo>
                <a:lnTo>
                  <a:pt x="266700" y="714375"/>
                </a:lnTo>
                <a:lnTo>
                  <a:pt x="315676" y="712652"/>
                </a:lnTo>
                <a:lnTo>
                  <a:pt x="363723" y="707563"/>
                </a:lnTo>
                <a:lnTo>
                  <a:pt x="410725" y="699223"/>
                </a:lnTo>
                <a:lnTo>
                  <a:pt x="456565" y="687749"/>
                </a:lnTo>
                <a:lnTo>
                  <a:pt x="501128" y="673256"/>
                </a:lnTo>
                <a:lnTo>
                  <a:pt x="544297" y="655860"/>
                </a:lnTo>
                <a:lnTo>
                  <a:pt x="585957" y="635678"/>
                </a:lnTo>
                <a:lnTo>
                  <a:pt x="625991" y="612826"/>
                </a:lnTo>
                <a:lnTo>
                  <a:pt x="664283" y="587420"/>
                </a:lnTo>
                <a:lnTo>
                  <a:pt x="700717" y="559576"/>
                </a:lnTo>
                <a:lnTo>
                  <a:pt x="735178" y="529410"/>
                </a:lnTo>
                <a:lnTo>
                  <a:pt x="767548" y="497038"/>
                </a:lnTo>
                <a:lnTo>
                  <a:pt x="797713" y="462576"/>
                </a:lnTo>
                <a:lnTo>
                  <a:pt x="825556" y="426141"/>
                </a:lnTo>
                <a:lnTo>
                  <a:pt x="850960" y="387849"/>
                </a:lnTo>
                <a:lnTo>
                  <a:pt x="873811" y="347815"/>
                </a:lnTo>
                <a:lnTo>
                  <a:pt x="893991" y="306156"/>
                </a:lnTo>
                <a:lnTo>
                  <a:pt x="911385" y="262988"/>
                </a:lnTo>
                <a:lnTo>
                  <a:pt x="925877" y="218427"/>
                </a:lnTo>
                <a:lnTo>
                  <a:pt x="937350" y="172589"/>
                </a:lnTo>
                <a:lnTo>
                  <a:pt x="945689" y="125590"/>
                </a:lnTo>
                <a:lnTo>
                  <a:pt x="950778" y="77546"/>
                </a:lnTo>
                <a:lnTo>
                  <a:pt x="952500" y="28575"/>
                </a:lnTo>
                <a:lnTo>
                  <a:pt x="951495" y="0"/>
                </a:lnTo>
              </a:path>
            </a:pathLst>
          </a:custGeom>
          <a:noFill/>
          <a:ln w="38100" cap="flat" cmpd="sng">
            <a:solidFill>
              <a:srgbClr val="EBEF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5084" name="Google Shape;5084;p24"/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92143" y="6416754"/>
            <a:ext cx="217098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5085" name="Google Shape;5085;p24"/>
          <p:cNvPicPr preferRelativeResize="0"/>
          <p:nvPr/>
        </p:nvPicPr>
        <p:blipFill rotWithShape="1"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5471" y="6275823"/>
            <a:ext cx="217098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5086" name="Google Shape;5086;p24"/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5471" y="6557691"/>
            <a:ext cx="217098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5087" name="Google Shape;5087;p24"/>
          <p:cNvPicPr preferRelativeResize="0"/>
          <p:nvPr/>
        </p:nvPicPr>
        <p:blipFill rotWithShape="1"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8799" y="6416754"/>
            <a:ext cx="217098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5088" name="Google Shape;5088;p24"/>
          <p:cNvPicPr preferRelativeResize="0"/>
          <p:nvPr/>
        </p:nvPicPr>
        <p:blipFill rotWithShape="1">
          <a:blip r:embed="rId1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2127" y="6275823"/>
            <a:ext cx="217206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5089" name="Google Shape;5089;p24"/>
          <p:cNvPicPr preferRelativeResize="0"/>
          <p:nvPr/>
        </p:nvPicPr>
        <p:blipFill rotWithShape="1">
          <a:blip r:embed="rId1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2127" y="6557691"/>
            <a:ext cx="217206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5090" name="Google Shape;5090;p24"/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25578" y="6416754"/>
            <a:ext cx="217083" cy="9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5091" name="Google Shape;5091;p24"/>
          <p:cNvPicPr preferRelativeResize="0"/>
          <p:nvPr/>
        </p:nvPicPr>
        <p:blipFill rotWithShape="1">
          <a:blip r:embed="rId1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8906" y="6275823"/>
            <a:ext cx="217083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5092" name="Google Shape;5092;p24"/>
          <p:cNvPicPr preferRelativeResize="0"/>
          <p:nvPr/>
        </p:nvPicPr>
        <p:blipFill rotWithShape="1">
          <a:blip r:embed="rId1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8907" y="6557691"/>
            <a:ext cx="217083" cy="9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5093" name="Google Shape;5093;p24"/>
          <p:cNvPicPr preferRelativeResize="0"/>
          <p:nvPr/>
        </p:nvPicPr>
        <p:blipFill rotWithShape="1"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2231" y="6416754"/>
            <a:ext cx="217086" cy="91817"/>
          </a:xfrm>
          <a:prstGeom prst="rect">
            <a:avLst/>
          </a:prstGeom>
          <a:noFill/>
          <a:ln>
            <a:noFill/>
          </a:ln>
        </p:spPr>
      </p:pic>
      <p:sp>
        <p:nvSpPr>
          <p:cNvPr id="5094" name="Google Shape;5094;p24"/>
          <p:cNvSpPr/>
          <p:nvPr/>
        </p:nvSpPr>
        <p:spPr>
          <a:xfrm>
            <a:off x="5535996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95" name="Google Shape;5095;p24"/>
          <p:cNvSpPr/>
          <p:nvPr/>
        </p:nvSpPr>
        <p:spPr>
          <a:xfrm>
            <a:off x="5679054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96" name="Google Shape;5096;p24"/>
          <p:cNvSpPr/>
          <p:nvPr/>
        </p:nvSpPr>
        <p:spPr>
          <a:xfrm>
            <a:off x="5822112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97" name="Google Shape;5097;p24"/>
          <p:cNvSpPr/>
          <p:nvPr/>
        </p:nvSpPr>
        <p:spPr>
          <a:xfrm>
            <a:off x="5965170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98" name="Google Shape;5098;p24"/>
          <p:cNvSpPr/>
          <p:nvPr/>
        </p:nvSpPr>
        <p:spPr>
          <a:xfrm>
            <a:off x="6108228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099" name="Google Shape;5099;p24"/>
          <p:cNvSpPr/>
          <p:nvPr/>
        </p:nvSpPr>
        <p:spPr>
          <a:xfrm>
            <a:off x="6251286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00" name="Google Shape;5100;p24"/>
          <p:cNvSpPr/>
          <p:nvPr/>
        </p:nvSpPr>
        <p:spPr>
          <a:xfrm>
            <a:off x="6394344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01" name="Google Shape;5101;p24"/>
          <p:cNvSpPr/>
          <p:nvPr/>
        </p:nvSpPr>
        <p:spPr>
          <a:xfrm>
            <a:off x="6537401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02" name="Google Shape;5102;p24"/>
          <p:cNvSpPr/>
          <p:nvPr/>
        </p:nvSpPr>
        <p:spPr>
          <a:xfrm>
            <a:off x="6680459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03" name="Google Shape;5103;p24"/>
          <p:cNvSpPr/>
          <p:nvPr/>
        </p:nvSpPr>
        <p:spPr>
          <a:xfrm>
            <a:off x="682351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04" name="Google Shape;5104;p24"/>
          <p:cNvSpPr/>
          <p:nvPr/>
        </p:nvSpPr>
        <p:spPr>
          <a:xfrm>
            <a:off x="696657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05" name="Google Shape;5105;p24"/>
          <p:cNvSpPr/>
          <p:nvPr/>
        </p:nvSpPr>
        <p:spPr>
          <a:xfrm>
            <a:off x="7109633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06" name="Google Shape;5106;p24"/>
          <p:cNvSpPr/>
          <p:nvPr/>
        </p:nvSpPr>
        <p:spPr>
          <a:xfrm>
            <a:off x="7252691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07" name="Google Shape;5107;p24"/>
          <p:cNvSpPr/>
          <p:nvPr/>
        </p:nvSpPr>
        <p:spPr>
          <a:xfrm>
            <a:off x="7395749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08" name="Google Shape;5108;p24"/>
          <p:cNvSpPr/>
          <p:nvPr/>
        </p:nvSpPr>
        <p:spPr>
          <a:xfrm>
            <a:off x="753880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09" name="Google Shape;5109;p24"/>
          <p:cNvSpPr/>
          <p:nvPr/>
        </p:nvSpPr>
        <p:spPr>
          <a:xfrm>
            <a:off x="768186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10" name="Google Shape;5110;p24"/>
          <p:cNvSpPr/>
          <p:nvPr/>
        </p:nvSpPr>
        <p:spPr>
          <a:xfrm>
            <a:off x="7824927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11" name="Google Shape;5111;p24"/>
          <p:cNvSpPr/>
          <p:nvPr/>
        </p:nvSpPr>
        <p:spPr>
          <a:xfrm>
            <a:off x="7967985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12" name="Google Shape;5112;p24"/>
          <p:cNvSpPr/>
          <p:nvPr/>
        </p:nvSpPr>
        <p:spPr>
          <a:xfrm>
            <a:off x="8111043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13" name="Google Shape;5113;p24"/>
          <p:cNvSpPr/>
          <p:nvPr/>
        </p:nvSpPr>
        <p:spPr>
          <a:xfrm>
            <a:off x="8254102" y="6602584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14" name="Google Shape;5114;p24"/>
          <p:cNvSpPr/>
          <p:nvPr/>
        </p:nvSpPr>
        <p:spPr>
          <a:xfrm>
            <a:off x="553599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15" name="Google Shape;5115;p24"/>
          <p:cNvSpPr/>
          <p:nvPr/>
        </p:nvSpPr>
        <p:spPr>
          <a:xfrm>
            <a:off x="5679054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16" name="Google Shape;5116;p24"/>
          <p:cNvSpPr/>
          <p:nvPr/>
        </p:nvSpPr>
        <p:spPr>
          <a:xfrm>
            <a:off x="582211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17" name="Google Shape;5117;p24"/>
          <p:cNvSpPr/>
          <p:nvPr/>
        </p:nvSpPr>
        <p:spPr>
          <a:xfrm>
            <a:off x="5965170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18" name="Google Shape;5118;p24"/>
          <p:cNvSpPr/>
          <p:nvPr/>
        </p:nvSpPr>
        <p:spPr>
          <a:xfrm>
            <a:off x="6108228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19" name="Google Shape;5119;p24"/>
          <p:cNvSpPr/>
          <p:nvPr/>
        </p:nvSpPr>
        <p:spPr>
          <a:xfrm>
            <a:off x="625128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20" name="Google Shape;5120;p24"/>
          <p:cNvSpPr/>
          <p:nvPr/>
        </p:nvSpPr>
        <p:spPr>
          <a:xfrm>
            <a:off x="6394344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21" name="Google Shape;5121;p24"/>
          <p:cNvSpPr/>
          <p:nvPr/>
        </p:nvSpPr>
        <p:spPr>
          <a:xfrm>
            <a:off x="653740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22" name="Google Shape;5122;p24"/>
          <p:cNvSpPr/>
          <p:nvPr/>
        </p:nvSpPr>
        <p:spPr>
          <a:xfrm>
            <a:off x="6680459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23" name="Google Shape;5123;p24"/>
          <p:cNvSpPr/>
          <p:nvPr/>
        </p:nvSpPr>
        <p:spPr>
          <a:xfrm>
            <a:off x="682351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24" name="Google Shape;5124;p24"/>
          <p:cNvSpPr/>
          <p:nvPr/>
        </p:nvSpPr>
        <p:spPr>
          <a:xfrm>
            <a:off x="6966575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25" name="Google Shape;5125;p24"/>
          <p:cNvSpPr/>
          <p:nvPr/>
        </p:nvSpPr>
        <p:spPr>
          <a:xfrm>
            <a:off x="7109633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26" name="Google Shape;5126;p24"/>
          <p:cNvSpPr/>
          <p:nvPr/>
        </p:nvSpPr>
        <p:spPr>
          <a:xfrm>
            <a:off x="7252691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27" name="Google Shape;5127;p24"/>
          <p:cNvSpPr/>
          <p:nvPr/>
        </p:nvSpPr>
        <p:spPr>
          <a:xfrm>
            <a:off x="7395749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28" name="Google Shape;5128;p24"/>
          <p:cNvSpPr/>
          <p:nvPr/>
        </p:nvSpPr>
        <p:spPr>
          <a:xfrm>
            <a:off x="753880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29" name="Google Shape;5129;p24"/>
          <p:cNvSpPr/>
          <p:nvPr/>
        </p:nvSpPr>
        <p:spPr>
          <a:xfrm>
            <a:off x="7681865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30" name="Google Shape;5130;p24"/>
          <p:cNvSpPr/>
          <p:nvPr/>
        </p:nvSpPr>
        <p:spPr>
          <a:xfrm>
            <a:off x="7824927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31" name="Google Shape;5131;p24"/>
          <p:cNvSpPr/>
          <p:nvPr/>
        </p:nvSpPr>
        <p:spPr>
          <a:xfrm>
            <a:off x="7967986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32" name="Google Shape;5132;p24"/>
          <p:cNvSpPr/>
          <p:nvPr/>
        </p:nvSpPr>
        <p:spPr>
          <a:xfrm>
            <a:off x="8111043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33" name="Google Shape;5133;p24"/>
          <p:cNvSpPr/>
          <p:nvPr/>
        </p:nvSpPr>
        <p:spPr>
          <a:xfrm>
            <a:off x="8254102" y="6744719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90" extrusionOk="0">
                <a:moveTo>
                  <a:pt x="0" y="0"/>
                </a:moveTo>
                <a:lnTo>
                  <a:pt x="0" y="21320"/>
                </a:lnTo>
                <a:lnTo>
                  <a:pt x="21458" y="21320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34" name="Google Shape;5134;p24"/>
          <p:cNvSpPr/>
          <p:nvPr/>
        </p:nvSpPr>
        <p:spPr>
          <a:xfrm>
            <a:off x="4688272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35" name="Google Shape;5135;p24"/>
          <p:cNvSpPr/>
          <p:nvPr/>
        </p:nvSpPr>
        <p:spPr>
          <a:xfrm>
            <a:off x="4831330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36" name="Google Shape;5136;p24"/>
          <p:cNvSpPr/>
          <p:nvPr/>
        </p:nvSpPr>
        <p:spPr>
          <a:xfrm>
            <a:off x="4974388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37" name="Google Shape;5137;p24"/>
          <p:cNvSpPr/>
          <p:nvPr/>
        </p:nvSpPr>
        <p:spPr>
          <a:xfrm>
            <a:off x="5117446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38" name="Google Shape;5138;p24"/>
          <p:cNvSpPr/>
          <p:nvPr/>
        </p:nvSpPr>
        <p:spPr>
          <a:xfrm>
            <a:off x="5260504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39" name="Google Shape;5139;p24"/>
          <p:cNvSpPr/>
          <p:nvPr/>
        </p:nvSpPr>
        <p:spPr>
          <a:xfrm>
            <a:off x="5403562" y="90487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40" name="Google Shape;5140;p24"/>
          <p:cNvSpPr/>
          <p:nvPr/>
        </p:nvSpPr>
        <p:spPr>
          <a:xfrm>
            <a:off x="554661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41" name="Google Shape;5141;p24"/>
          <p:cNvSpPr/>
          <p:nvPr/>
        </p:nvSpPr>
        <p:spPr>
          <a:xfrm>
            <a:off x="5689677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42" name="Google Shape;5142;p24"/>
          <p:cNvSpPr/>
          <p:nvPr/>
        </p:nvSpPr>
        <p:spPr>
          <a:xfrm>
            <a:off x="5832735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43" name="Google Shape;5143;p24"/>
          <p:cNvSpPr/>
          <p:nvPr/>
        </p:nvSpPr>
        <p:spPr>
          <a:xfrm>
            <a:off x="597579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44" name="Google Shape;5144;p24"/>
          <p:cNvSpPr/>
          <p:nvPr/>
        </p:nvSpPr>
        <p:spPr>
          <a:xfrm>
            <a:off x="6118851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45" name="Google Shape;5145;p24"/>
          <p:cNvSpPr/>
          <p:nvPr/>
        </p:nvSpPr>
        <p:spPr>
          <a:xfrm>
            <a:off x="626190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46" name="Google Shape;5146;p24"/>
          <p:cNvSpPr/>
          <p:nvPr/>
        </p:nvSpPr>
        <p:spPr>
          <a:xfrm>
            <a:off x="6404967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47" name="Google Shape;5147;p24"/>
          <p:cNvSpPr/>
          <p:nvPr/>
        </p:nvSpPr>
        <p:spPr>
          <a:xfrm>
            <a:off x="6548025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48" name="Google Shape;5148;p24"/>
          <p:cNvSpPr/>
          <p:nvPr/>
        </p:nvSpPr>
        <p:spPr>
          <a:xfrm>
            <a:off x="669108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49" name="Google Shape;5149;p24"/>
          <p:cNvSpPr/>
          <p:nvPr/>
        </p:nvSpPr>
        <p:spPr>
          <a:xfrm>
            <a:off x="6834140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50" name="Google Shape;5150;p24"/>
          <p:cNvSpPr/>
          <p:nvPr/>
        </p:nvSpPr>
        <p:spPr>
          <a:xfrm>
            <a:off x="6977203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51" name="Google Shape;5151;p24"/>
          <p:cNvSpPr/>
          <p:nvPr/>
        </p:nvSpPr>
        <p:spPr>
          <a:xfrm>
            <a:off x="7120261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52" name="Google Shape;5152;p24"/>
          <p:cNvSpPr/>
          <p:nvPr/>
        </p:nvSpPr>
        <p:spPr>
          <a:xfrm>
            <a:off x="7263319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53" name="Google Shape;5153;p24"/>
          <p:cNvSpPr/>
          <p:nvPr/>
        </p:nvSpPr>
        <p:spPr>
          <a:xfrm>
            <a:off x="7406378" y="90486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54" name="Google Shape;5154;p24"/>
          <p:cNvSpPr/>
          <p:nvPr/>
        </p:nvSpPr>
        <p:spPr>
          <a:xfrm>
            <a:off x="4688272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55" name="Google Shape;5155;p24"/>
          <p:cNvSpPr/>
          <p:nvPr/>
        </p:nvSpPr>
        <p:spPr>
          <a:xfrm>
            <a:off x="4831330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56" name="Google Shape;5156;p24"/>
          <p:cNvSpPr/>
          <p:nvPr/>
        </p:nvSpPr>
        <p:spPr>
          <a:xfrm>
            <a:off x="4974388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57" name="Google Shape;5157;p24"/>
          <p:cNvSpPr/>
          <p:nvPr/>
        </p:nvSpPr>
        <p:spPr>
          <a:xfrm>
            <a:off x="5117446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58" name="Google Shape;5158;p24"/>
          <p:cNvSpPr/>
          <p:nvPr/>
        </p:nvSpPr>
        <p:spPr>
          <a:xfrm>
            <a:off x="5260504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59" name="Google Shape;5159;p24"/>
          <p:cNvSpPr/>
          <p:nvPr/>
        </p:nvSpPr>
        <p:spPr>
          <a:xfrm>
            <a:off x="5403562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60" name="Google Shape;5160;p24"/>
          <p:cNvSpPr/>
          <p:nvPr/>
        </p:nvSpPr>
        <p:spPr>
          <a:xfrm>
            <a:off x="554661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61" name="Google Shape;5161;p24"/>
          <p:cNvSpPr/>
          <p:nvPr/>
        </p:nvSpPr>
        <p:spPr>
          <a:xfrm>
            <a:off x="5689677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62" name="Google Shape;5162;p24"/>
          <p:cNvSpPr/>
          <p:nvPr/>
        </p:nvSpPr>
        <p:spPr>
          <a:xfrm>
            <a:off x="5832735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63" name="Google Shape;5163;p24"/>
          <p:cNvSpPr/>
          <p:nvPr/>
        </p:nvSpPr>
        <p:spPr>
          <a:xfrm>
            <a:off x="597579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64" name="Google Shape;5164;p24"/>
          <p:cNvSpPr/>
          <p:nvPr/>
        </p:nvSpPr>
        <p:spPr>
          <a:xfrm>
            <a:off x="6118851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65" name="Google Shape;5165;p24"/>
          <p:cNvSpPr/>
          <p:nvPr/>
        </p:nvSpPr>
        <p:spPr>
          <a:xfrm>
            <a:off x="626190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66" name="Google Shape;5166;p24"/>
          <p:cNvSpPr/>
          <p:nvPr/>
        </p:nvSpPr>
        <p:spPr>
          <a:xfrm>
            <a:off x="6404967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89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67" name="Google Shape;5167;p24"/>
          <p:cNvSpPr/>
          <p:nvPr/>
        </p:nvSpPr>
        <p:spPr>
          <a:xfrm>
            <a:off x="6548025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68" name="Google Shape;5168;p24"/>
          <p:cNvSpPr/>
          <p:nvPr/>
        </p:nvSpPr>
        <p:spPr>
          <a:xfrm>
            <a:off x="669108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69" name="Google Shape;5169;p24"/>
          <p:cNvSpPr/>
          <p:nvPr/>
        </p:nvSpPr>
        <p:spPr>
          <a:xfrm>
            <a:off x="6834140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70" name="Google Shape;5170;p24"/>
          <p:cNvSpPr/>
          <p:nvPr/>
        </p:nvSpPr>
        <p:spPr>
          <a:xfrm>
            <a:off x="6977203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71" name="Google Shape;5171;p24"/>
          <p:cNvSpPr/>
          <p:nvPr/>
        </p:nvSpPr>
        <p:spPr>
          <a:xfrm>
            <a:off x="7120261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72" name="Google Shape;5172;p24"/>
          <p:cNvSpPr/>
          <p:nvPr/>
        </p:nvSpPr>
        <p:spPr>
          <a:xfrm>
            <a:off x="7263319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73" name="Google Shape;5173;p24"/>
          <p:cNvSpPr/>
          <p:nvPr/>
        </p:nvSpPr>
        <p:spPr>
          <a:xfrm>
            <a:off x="7406378" y="233785"/>
            <a:ext cx="21590" cy="21590"/>
          </a:xfrm>
          <a:custGeom>
            <a:avLst/>
            <a:gdLst/>
            <a:ahLst/>
            <a:cxnLst/>
            <a:rect l="l" t="t" r="r" b="b"/>
            <a:pathLst>
              <a:path w="21590" h="21589" extrusionOk="0">
                <a:moveTo>
                  <a:pt x="0" y="0"/>
                </a:moveTo>
                <a:lnTo>
                  <a:pt x="0" y="21494"/>
                </a:lnTo>
                <a:lnTo>
                  <a:pt x="21458" y="21494"/>
                </a:lnTo>
                <a:lnTo>
                  <a:pt x="21458" y="0"/>
                </a:lnTo>
                <a:lnTo>
                  <a:pt x="0" y="0"/>
                </a:lnTo>
                <a:close/>
              </a:path>
            </a:pathLst>
          </a:custGeom>
          <a:solidFill>
            <a:srgbClr val="9F79CE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5174" name="Google Shape;5174;p24"/>
          <p:cNvPicPr preferRelativeResize="0"/>
          <p:nvPr/>
        </p:nvPicPr>
        <p:blipFill rotWithShape="1">
          <a:blip r:embed="rId1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2175" y="600075"/>
            <a:ext cx="1571625" cy="723900"/>
          </a:xfrm>
          <a:prstGeom prst="rect">
            <a:avLst/>
          </a:prstGeom>
          <a:noFill/>
          <a:ln>
            <a:noFill/>
          </a:ln>
        </p:spPr>
      </p:pic>
      <p:sp>
        <p:nvSpPr>
          <p:cNvPr id="5175" name="Google Shape;5175;p24"/>
          <p:cNvSpPr/>
          <p:nvPr/>
        </p:nvSpPr>
        <p:spPr>
          <a:xfrm>
            <a:off x="685800" y="1819275"/>
            <a:ext cx="3819525" cy="1057275"/>
          </a:xfrm>
          <a:custGeom>
            <a:avLst/>
            <a:gdLst/>
            <a:ahLst/>
            <a:cxnLst/>
            <a:rect l="l" t="t" r="r" b="b"/>
            <a:pathLst>
              <a:path w="3819525" h="1057275" extrusionOk="0">
                <a:moveTo>
                  <a:pt x="79425" y="0"/>
                </a:moveTo>
                <a:lnTo>
                  <a:pt x="3740150" y="0"/>
                </a:lnTo>
                <a:lnTo>
                  <a:pt x="3771036" y="6264"/>
                </a:lnTo>
                <a:lnTo>
                  <a:pt x="3796268" y="23352"/>
                </a:lnTo>
                <a:lnTo>
                  <a:pt x="3813284" y="48702"/>
                </a:lnTo>
                <a:lnTo>
                  <a:pt x="3819525" y="79755"/>
                </a:lnTo>
                <a:lnTo>
                  <a:pt x="3819525" y="977519"/>
                </a:lnTo>
                <a:lnTo>
                  <a:pt x="3806184" y="1021738"/>
                </a:lnTo>
                <a:lnTo>
                  <a:pt x="3770503" y="1051210"/>
                </a:lnTo>
                <a:lnTo>
                  <a:pt x="3740150" y="1057275"/>
                </a:lnTo>
                <a:lnTo>
                  <a:pt x="79425" y="1057275"/>
                </a:lnTo>
                <a:lnTo>
                  <a:pt x="35363" y="1043880"/>
                </a:lnTo>
                <a:lnTo>
                  <a:pt x="6046" y="1007999"/>
                </a:lnTo>
                <a:lnTo>
                  <a:pt x="0" y="977519"/>
                </a:lnTo>
                <a:lnTo>
                  <a:pt x="0" y="79755"/>
                </a:lnTo>
                <a:lnTo>
                  <a:pt x="13346" y="35536"/>
                </a:lnTo>
                <a:lnTo>
                  <a:pt x="49031" y="6064"/>
                </a:lnTo>
                <a:lnTo>
                  <a:pt x="79425" y="0"/>
                </a:lnTo>
                <a:close/>
              </a:path>
            </a:pathLst>
          </a:custGeom>
          <a:noFill/>
          <a:ln w="57150" cap="flat" cmpd="sng">
            <a:solidFill>
              <a:srgbClr val="0CC0D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5176" name="Google Shape;5176;p24"/>
          <p:cNvGrpSpPr/>
          <p:nvPr/>
        </p:nvGrpSpPr>
        <p:grpSpPr>
          <a:xfrm>
            <a:off x="5895975" y="1800225"/>
            <a:ext cx="5457825" cy="1085850"/>
            <a:chOff x="5895975" y="1800225"/>
            <a:chExt cx="5457825" cy="1085850"/>
          </a:xfrm>
        </p:grpSpPr>
        <p:sp>
          <p:nvSpPr>
            <p:cNvPr id="5177" name="Google Shape;5177;p24"/>
            <p:cNvSpPr/>
            <p:nvPr/>
          </p:nvSpPr>
          <p:spPr>
            <a:xfrm>
              <a:off x="5895975" y="1800225"/>
              <a:ext cx="5457825" cy="1085850"/>
            </a:xfrm>
            <a:custGeom>
              <a:avLst/>
              <a:gdLst/>
              <a:ahLst/>
              <a:cxnLst/>
              <a:rect l="l" t="t" r="r" b="b"/>
              <a:pathLst>
                <a:path w="5457825" h="1085850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39"/>
                  </a:lnTo>
                  <a:lnTo>
                    <a:pt x="21018" y="21018"/>
                  </a:lnTo>
                  <a:lnTo>
                    <a:pt x="5639" y="43826"/>
                  </a:lnTo>
                  <a:lnTo>
                    <a:pt x="0" y="71754"/>
                  </a:lnTo>
                  <a:lnTo>
                    <a:pt x="0" y="1014095"/>
                  </a:lnTo>
                  <a:lnTo>
                    <a:pt x="5639" y="1042023"/>
                  </a:lnTo>
                  <a:lnTo>
                    <a:pt x="21018" y="1064831"/>
                  </a:lnTo>
                  <a:lnTo>
                    <a:pt x="43826" y="1080210"/>
                  </a:lnTo>
                  <a:lnTo>
                    <a:pt x="71754" y="1085850"/>
                  </a:lnTo>
                  <a:lnTo>
                    <a:pt x="5386070" y="1085850"/>
                  </a:lnTo>
                  <a:lnTo>
                    <a:pt x="5413998" y="1080210"/>
                  </a:lnTo>
                  <a:lnTo>
                    <a:pt x="5436806" y="1064831"/>
                  </a:lnTo>
                  <a:lnTo>
                    <a:pt x="5452185" y="1042023"/>
                  </a:lnTo>
                  <a:lnTo>
                    <a:pt x="5457825" y="1014095"/>
                  </a:lnTo>
                  <a:lnTo>
                    <a:pt x="5457825" y="71754"/>
                  </a:lnTo>
                  <a:lnTo>
                    <a:pt x="5452185" y="43826"/>
                  </a:lnTo>
                  <a:lnTo>
                    <a:pt x="5436806" y="21018"/>
                  </a:lnTo>
                  <a:lnTo>
                    <a:pt x="5413998" y="5639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4373A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178" name="Google Shape;5178;p24"/>
            <p:cNvSpPr/>
            <p:nvPr/>
          </p:nvSpPr>
          <p:spPr>
            <a:xfrm>
              <a:off x="7038975" y="2038350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5179" name="Google Shape;5179;p24"/>
          <p:cNvSpPr/>
          <p:nvPr/>
        </p:nvSpPr>
        <p:spPr>
          <a:xfrm>
            <a:off x="685800" y="3343275"/>
            <a:ext cx="3819525" cy="1047750"/>
          </a:xfrm>
          <a:custGeom>
            <a:avLst/>
            <a:gdLst/>
            <a:ahLst/>
            <a:cxnLst/>
            <a:rect l="l" t="t" r="r" b="b"/>
            <a:pathLst>
              <a:path w="3819525" h="1047750" extrusionOk="0">
                <a:moveTo>
                  <a:pt x="79425" y="0"/>
                </a:moveTo>
                <a:lnTo>
                  <a:pt x="3740150" y="0"/>
                </a:lnTo>
                <a:lnTo>
                  <a:pt x="3771036" y="6219"/>
                </a:lnTo>
                <a:lnTo>
                  <a:pt x="3796268" y="23177"/>
                </a:lnTo>
                <a:lnTo>
                  <a:pt x="3813284" y="48327"/>
                </a:lnTo>
                <a:lnTo>
                  <a:pt x="3819525" y="79121"/>
                </a:lnTo>
                <a:lnTo>
                  <a:pt x="3819525" y="968629"/>
                </a:lnTo>
                <a:lnTo>
                  <a:pt x="3806184" y="1012563"/>
                </a:lnTo>
                <a:lnTo>
                  <a:pt x="3770503" y="1041717"/>
                </a:lnTo>
                <a:lnTo>
                  <a:pt x="3740150" y="1047750"/>
                </a:lnTo>
                <a:lnTo>
                  <a:pt x="79425" y="1047750"/>
                </a:lnTo>
                <a:lnTo>
                  <a:pt x="35363" y="1034462"/>
                </a:lnTo>
                <a:lnTo>
                  <a:pt x="6046" y="998918"/>
                </a:lnTo>
                <a:lnTo>
                  <a:pt x="0" y="968629"/>
                </a:lnTo>
                <a:lnTo>
                  <a:pt x="0" y="79121"/>
                </a:lnTo>
                <a:lnTo>
                  <a:pt x="13346" y="35186"/>
                </a:lnTo>
                <a:lnTo>
                  <a:pt x="49031" y="6032"/>
                </a:lnTo>
                <a:lnTo>
                  <a:pt x="79425" y="0"/>
                </a:lnTo>
                <a:close/>
              </a:path>
            </a:pathLst>
          </a:custGeom>
          <a:noFill/>
          <a:ln w="57150" cap="flat" cmpd="sng">
            <a:solidFill>
              <a:srgbClr val="8299C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80" name="Google Shape;5180;p24"/>
          <p:cNvSpPr/>
          <p:nvPr/>
        </p:nvSpPr>
        <p:spPr>
          <a:xfrm>
            <a:off x="666750" y="5086350"/>
            <a:ext cx="3819525" cy="1057275"/>
          </a:xfrm>
          <a:custGeom>
            <a:avLst/>
            <a:gdLst/>
            <a:ahLst/>
            <a:cxnLst/>
            <a:rect l="l" t="t" r="r" b="b"/>
            <a:pathLst>
              <a:path w="3819525" h="1057275" extrusionOk="0">
                <a:moveTo>
                  <a:pt x="79425" y="0"/>
                </a:moveTo>
                <a:lnTo>
                  <a:pt x="3740150" y="0"/>
                </a:lnTo>
                <a:lnTo>
                  <a:pt x="3771036" y="6264"/>
                </a:lnTo>
                <a:lnTo>
                  <a:pt x="3796268" y="23352"/>
                </a:lnTo>
                <a:lnTo>
                  <a:pt x="3813284" y="48702"/>
                </a:lnTo>
                <a:lnTo>
                  <a:pt x="3819525" y="79756"/>
                </a:lnTo>
                <a:lnTo>
                  <a:pt x="3819525" y="977480"/>
                </a:lnTo>
                <a:lnTo>
                  <a:pt x="3806184" y="1021748"/>
                </a:lnTo>
                <a:lnTo>
                  <a:pt x="3770503" y="1051201"/>
                </a:lnTo>
                <a:lnTo>
                  <a:pt x="3740150" y="1057275"/>
                </a:lnTo>
                <a:lnTo>
                  <a:pt x="79425" y="1057275"/>
                </a:lnTo>
                <a:lnTo>
                  <a:pt x="35363" y="1043869"/>
                </a:lnTo>
                <a:lnTo>
                  <a:pt x="6046" y="1008013"/>
                </a:lnTo>
                <a:lnTo>
                  <a:pt x="0" y="977480"/>
                </a:lnTo>
                <a:lnTo>
                  <a:pt x="0" y="79756"/>
                </a:lnTo>
                <a:lnTo>
                  <a:pt x="13346" y="35536"/>
                </a:lnTo>
                <a:lnTo>
                  <a:pt x="49031" y="6064"/>
                </a:lnTo>
                <a:lnTo>
                  <a:pt x="79425" y="0"/>
                </a:lnTo>
                <a:close/>
              </a:path>
            </a:pathLst>
          </a:custGeom>
          <a:noFill/>
          <a:ln w="57150" cap="flat" cmpd="sng">
            <a:solidFill>
              <a:srgbClr val="BC429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181" name="Google Shape;5181;p24"/>
          <p:cNvSpPr/>
          <p:nvPr/>
        </p:nvSpPr>
        <p:spPr>
          <a:xfrm>
            <a:off x="5895975" y="4800600"/>
            <a:ext cx="1485900" cy="0"/>
          </a:xfrm>
          <a:custGeom>
            <a:avLst/>
            <a:gdLst/>
            <a:ahLst/>
            <a:cxnLst/>
            <a:rect l="l" t="t" r="r" b="b"/>
            <a:pathLst>
              <a:path w="1485900" h="120000" extrusionOk="0">
                <a:moveTo>
                  <a:pt x="0" y="0"/>
                </a:moveTo>
                <a:lnTo>
                  <a:pt x="1485900" y="0"/>
                </a:lnTo>
              </a:path>
            </a:pathLst>
          </a:custGeom>
          <a:noFill/>
          <a:ln w="381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5182" name="Google Shape;5182;p24"/>
          <p:cNvPicPr preferRelativeResize="0"/>
          <p:nvPr/>
        </p:nvPicPr>
        <p:blipFill rotWithShape="1">
          <a:blip r:embed="rId1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59025" y="601275"/>
            <a:ext cx="1055062" cy="106450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183" name="Google Shape;5183;p24"/>
          <p:cNvGrpSpPr/>
          <p:nvPr/>
        </p:nvGrpSpPr>
        <p:grpSpPr>
          <a:xfrm>
            <a:off x="5934075" y="3324225"/>
            <a:ext cx="5457825" cy="1085850"/>
            <a:chOff x="5934075" y="3324225"/>
            <a:chExt cx="5457825" cy="1085850"/>
          </a:xfrm>
        </p:grpSpPr>
        <p:sp>
          <p:nvSpPr>
            <p:cNvPr id="5184" name="Google Shape;5184;p24"/>
            <p:cNvSpPr/>
            <p:nvPr/>
          </p:nvSpPr>
          <p:spPr>
            <a:xfrm>
              <a:off x="5934075" y="3324225"/>
              <a:ext cx="5457825" cy="1085850"/>
            </a:xfrm>
            <a:custGeom>
              <a:avLst/>
              <a:gdLst/>
              <a:ahLst/>
              <a:cxnLst/>
              <a:rect l="l" t="t" r="r" b="b"/>
              <a:pathLst>
                <a:path w="5457825" h="1085850" extrusionOk="0">
                  <a:moveTo>
                    <a:pt x="5386070" y="0"/>
                  </a:moveTo>
                  <a:lnTo>
                    <a:pt x="71754" y="0"/>
                  </a:lnTo>
                  <a:lnTo>
                    <a:pt x="43826" y="5639"/>
                  </a:lnTo>
                  <a:lnTo>
                    <a:pt x="21018" y="21018"/>
                  </a:lnTo>
                  <a:lnTo>
                    <a:pt x="5639" y="43826"/>
                  </a:lnTo>
                  <a:lnTo>
                    <a:pt x="0" y="71754"/>
                  </a:lnTo>
                  <a:lnTo>
                    <a:pt x="0" y="1014094"/>
                  </a:lnTo>
                  <a:lnTo>
                    <a:pt x="5639" y="1042023"/>
                  </a:lnTo>
                  <a:lnTo>
                    <a:pt x="21018" y="1064831"/>
                  </a:lnTo>
                  <a:lnTo>
                    <a:pt x="43826" y="1080210"/>
                  </a:lnTo>
                  <a:lnTo>
                    <a:pt x="71754" y="1085850"/>
                  </a:lnTo>
                  <a:lnTo>
                    <a:pt x="5386070" y="1085850"/>
                  </a:lnTo>
                  <a:lnTo>
                    <a:pt x="5413998" y="1080210"/>
                  </a:lnTo>
                  <a:lnTo>
                    <a:pt x="5436806" y="1064831"/>
                  </a:lnTo>
                  <a:lnTo>
                    <a:pt x="5452185" y="1042023"/>
                  </a:lnTo>
                  <a:lnTo>
                    <a:pt x="5457825" y="1014094"/>
                  </a:lnTo>
                  <a:lnTo>
                    <a:pt x="5457825" y="71754"/>
                  </a:lnTo>
                  <a:lnTo>
                    <a:pt x="5452185" y="43826"/>
                  </a:lnTo>
                  <a:lnTo>
                    <a:pt x="5436806" y="21018"/>
                  </a:lnTo>
                  <a:lnTo>
                    <a:pt x="5413998" y="5639"/>
                  </a:lnTo>
                  <a:lnTo>
                    <a:pt x="5386070" y="0"/>
                  </a:lnTo>
                  <a:close/>
                </a:path>
              </a:pathLst>
            </a:custGeom>
            <a:solidFill>
              <a:srgbClr val="FF914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185" name="Google Shape;5185;p24"/>
            <p:cNvSpPr/>
            <p:nvPr/>
          </p:nvSpPr>
          <p:spPr>
            <a:xfrm>
              <a:off x="7029450" y="3552825"/>
              <a:ext cx="0" cy="571500"/>
            </a:xfrm>
            <a:custGeom>
              <a:avLst/>
              <a:gdLst/>
              <a:ahLst/>
              <a:cxnLst/>
              <a:rect l="l" t="t" r="r" b="b"/>
              <a:pathLst>
                <a:path w="120000" h="571500" extrusionOk="0">
                  <a:moveTo>
                    <a:pt x="0" y="571500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186" name="Google Shape;5186;p24"/>
            <p:cNvPicPr preferRelativeResize="0"/>
            <p:nvPr/>
          </p:nvPicPr>
          <p:blipFill rotWithShape="1">
            <a:blip r:embed="rId17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0" y="3429000"/>
              <a:ext cx="857250" cy="8763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187" name="Google Shape;5187;p24"/>
          <p:cNvGrpSpPr/>
          <p:nvPr/>
        </p:nvGrpSpPr>
        <p:grpSpPr>
          <a:xfrm>
            <a:off x="6203075" y="1897161"/>
            <a:ext cx="653400" cy="901667"/>
            <a:chOff x="6203075" y="1897161"/>
            <a:chExt cx="653400" cy="901667"/>
          </a:xfrm>
        </p:grpSpPr>
        <p:pic>
          <p:nvPicPr>
            <p:cNvPr id="5188" name="Google Shape;5188;p24"/>
            <p:cNvPicPr preferRelativeResize="0"/>
            <p:nvPr/>
          </p:nvPicPr>
          <p:blipFill rotWithShape="1">
            <a:blip r:embed="rId18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03075" y="1897161"/>
              <a:ext cx="652701" cy="90160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189" name="Google Shape;5189;p24"/>
            <p:cNvPicPr preferRelativeResize="0"/>
            <p:nvPr/>
          </p:nvPicPr>
          <p:blipFill rotWithShape="1">
            <a:blip r:embed="rId19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13114" y="2309898"/>
              <a:ext cx="443361" cy="48893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190" name="Google Shape;5190;p24"/>
          <p:cNvGrpSpPr/>
          <p:nvPr/>
        </p:nvGrpSpPr>
        <p:grpSpPr>
          <a:xfrm>
            <a:off x="6165126" y="5278957"/>
            <a:ext cx="757555" cy="700845"/>
            <a:chOff x="6165126" y="5278957"/>
            <a:chExt cx="757555" cy="700845"/>
          </a:xfrm>
        </p:grpSpPr>
        <p:sp>
          <p:nvSpPr>
            <p:cNvPr id="5191" name="Google Shape;5191;p24"/>
            <p:cNvSpPr/>
            <p:nvPr/>
          </p:nvSpPr>
          <p:spPr>
            <a:xfrm>
              <a:off x="6165126" y="5278957"/>
              <a:ext cx="757555" cy="626745"/>
            </a:xfrm>
            <a:custGeom>
              <a:avLst/>
              <a:gdLst/>
              <a:ahLst/>
              <a:cxnLst/>
              <a:rect l="l" t="t" r="r" b="b"/>
              <a:pathLst>
                <a:path w="757554" h="626745" extrusionOk="0">
                  <a:moveTo>
                    <a:pt x="757339" y="209296"/>
                  </a:moveTo>
                  <a:lnTo>
                    <a:pt x="751624" y="167119"/>
                  </a:lnTo>
                  <a:lnTo>
                    <a:pt x="735241" y="127825"/>
                  </a:lnTo>
                  <a:lnTo>
                    <a:pt x="709320" y="92278"/>
                  </a:lnTo>
                  <a:lnTo>
                    <a:pt x="674992" y="61302"/>
                  </a:lnTo>
                  <a:lnTo>
                    <a:pt x="633387" y="35737"/>
                  </a:lnTo>
                  <a:lnTo>
                    <a:pt x="585635" y="16446"/>
                  </a:lnTo>
                  <a:lnTo>
                    <a:pt x="532866" y="4254"/>
                  </a:lnTo>
                  <a:lnTo>
                    <a:pt x="476224" y="0"/>
                  </a:lnTo>
                  <a:lnTo>
                    <a:pt x="419569" y="4254"/>
                  </a:lnTo>
                  <a:lnTo>
                    <a:pt x="366801" y="16446"/>
                  </a:lnTo>
                  <a:lnTo>
                    <a:pt x="319062" y="35737"/>
                  </a:lnTo>
                  <a:lnTo>
                    <a:pt x="277456" y="61302"/>
                  </a:lnTo>
                  <a:lnTo>
                    <a:pt x="243128" y="92278"/>
                  </a:lnTo>
                  <a:lnTo>
                    <a:pt x="217220" y="127825"/>
                  </a:lnTo>
                  <a:lnTo>
                    <a:pt x="200837" y="167119"/>
                  </a:lnTo>
                  <a:lnTo>
                    <a:pt x="196215" y="201282"/>
                  </a:lnTo>
                  <a:lnTo>
                    <a:pt x="155181" y="210756"/>
                  </a:lnTo>
                  <a:lnTo>
                    <a:pt x="112026" y="228193"/>
                  </a:lnTo>
                  <a:lnTo>
                    <a:pt x="74422" y="251294"/>
                  </a:lnTo>
                  <a:lnTo>
                    <a:pt x="43395" y="279298"/>
                  </a:lnTo>
                  <a:lnTo>
                    <a:pt x="19964" y="311429"/>
                  </a:lnTo>
                  <a:lnTo>
                    <a:pt x="5156" y="346938"/>
                  </a:lnTo>
                  <a:lnTo>
                    <a:pt x="0" y="385076"/>
                  </a:lnTo>
                  <a:lnTo>
                    <a:pt x="5156" y="423202"/>
                  </a:lnTo>
                  <a:lnTo>
                    <a:pt x="19964" y="458711"/>
                  </a:lnTo>
                  <a:lnTo>
                    <a:pt x="43395" y="490855"/>
                  </a:lnTo>
                  <a:lnTo>
                    <a:pt x="74422" y="518858"/>
                  </a:lnTo>
                  <a:lnTo>
                    <a:pt x="87401" y="526834"/>
                  </a:lnTo>
                  <a:lnTo>
                    <a:pt x="41287" y="626681"/>
                  </a:lnTo>
                  <a:lnTo>
                    <a:pt x="151765" y="558025"/>
                  </a:lnTo>
                  <a:lnTo>
                    <a:pt x="155181" y="559396"/>
                  </a:lnTo>
                  <a:lnTo>
                    <a:pt x="202869" y="570420"/>
                  </a:lnTo>
                  <a:lnTo>
                    <a:pt x="254076" y="574268"/>
                  </a:lnTo>
                  <a:lnTo>
                    <a:pt x="305282" y="570420"/>
                  </a:lnTo>
                  <a:lnTo>
                    <a:pt x="352983" y="559396"/>
                  </a:lnTo>
                  <a:lnTo>
                    <a:pt x="396151" y="541959"/>
                  </a:lnTo>
                  <a:lnTo>
                    <a:pt x="433755" y="518858"/>
                  </a:lnTo>
                  <a:lnTo>
                    <a:pt x="464794" y="490855"/>
                  </a:lnTo>
                  <a:lnTo>
                    <a:pt x="488226" y="458711"/>
                  </a:lnTo>
                  <a:lnTo>
                    <a:pt x="503034" y="423202"/>
                  </a:lnTo>
                  <a:lnTo>
                    <a:pt x="503936" y="416471"/>
                  </a:lnTo>
                  <a:lnTo>
                    <a:pt x="532879" y="414299"/>
                  </a:lnTo>
                  <a:lnTo>
                    <a:pt x="585635" y="402107"/>
                  </a:lnTo>
                  <a:lnTo>
                    <a:pt x="589394" y="400583"/>
                  </a:lnTo>
                  <a:lnTo>
                    <a:pt x="711644" y="476542"/>
                  </a:lnTo>
                  <a:lnTo>
                    <a:pt x="660615" y="366077"/>
                  </a:lnTo>
                  <a:lnTo>
                    <a:pt x="674992" y="357251"/>
                  </a:lnTo>
                  <a:lnTo>
                    <a:pt x="709320" y="326288"/>
                  </a:lnTo>
                  <a:lnTo>
                    <a:pt x="735241" y="290741"/>
                  </a:lnTo>
                  <a:lnTo>
                    <a:pt x="751624" y="251472"/>
                  </a:lnTo>
                  <a:lnTo>
                    <a:pt x="757339" y="209296"/>
                  </a:lnTo>
                  <a:close/>
                </a:path>
              </a:pathLst>
            </a:custGeom>
            <a:solidFill>
              <a:srgbClr val="F58511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192" name="Google Shape;5192;p24"/>
            <p:cNvSpPr/>
            <p:nvPr/>
          </p:nvSpPr>
          <p:spPr>
            <a:xfrm>
              <a:off x="6413590" y="5520379"/>
              <a:ext cx="334010" cy="421640"/>
            </a:xfrm>
            <a:custGeom>
              <a:avLst/>
              <a:gdLst/>
              <a:ahLst/>
              <a:cxnLst/>
              <a:rect l="l" t="t" r="r" b="b"/>
              <a:pathLst>
                <a:path w="334009" h="421639" extrusionOk="0">
                  <a:moveTo>
                    <a:pt x="166713" y="0"/>
                  </a:moveTo>
                  <a:lnTo>
                    <a:pt x="123472" y="5906"/>
                  </a:lnTo>
                  <a:lnTo>
                    <a:pt x="76091" y="28361"/>
                  </a:lnTo>
                  <a:lnTo>
                    <a:pt x="21046" y="84808"/>
                  </a:lnTo>
                  <a:lnTo>
                    <a:pt x="2503" y="130144"/>
                  </a:lnTo>
                  <a:lnTo>
                    <a:pt x="0" y="175011"/>
                  </a:lnTo>
                  <a:lnTo>
                    <a:pt x="9668" y="217834"/>
                  </a:lnTo>
                  <a:lnTo>
                    <a:pt x="27643" y="257035"/>
                  </a:lnTo>
                  <a:lnTo>
                    <a:pt x="50057" y="291041"/>
                  </a:lnTo>
                  <a:lnTo>
                    <a:pt x="75437" y="320806"/>
                  </a:lnTo>
                  <a:lnTo>
                    <a:pt x="79950" y="325381"/>
                  </a:lnTo>
                  <a:lnTo>
                    <a:pt x="90724" y="338982"/>
                  </a:lnTo>
                  <a:lnTo>
                    <a:pt x="103562" y="359574"/>
                  </a:lnTo>
                  <a:lnTo>
                    <a:pt x="115979" y="387097"/>
                  </a:lnTo>
                  <a:lnTo>
                    <a:pt x="125495" y="421494"/>
                  </a:lnTo>
                  <a:lnTo>
                    <a:pt x="207973" y="421494"/>
                  </a:lnTo>
                  <a:lnTo>
                    <a:pt x="229906" y="359574"/>
                  </a:lnTo>
                  <a:lnTo>
                    <a:pt x="253518" y="325381"/>
                  </a:lnTo>
                  <a:lnTo>
                    <a:pt x="255715" y="323189"/>
                  </a:lnTo>
                  <a:lnTo>
                    <a:pt x="260424" y="318274"/>
                  </a:lnTo>
                  <a:lnTo>
                    <a:pt x="283406" y="291041"/>
                  </a:lnTo>
                  <a:lnTo>
                    <a:pt x="305816" y="257035"/>
                  </a:lnTo>
                  <a:lnTo>
                    <a:pt x="323787" y="217834"/>
                  </a:lnTo>
                  <a:lnTo>
                    <a:pt x="333453" y="175011"/>
                  </a:lnTo>
                  <a:lnTo>
                    <a:pt x="330948" y="130144"/>
                  </a:lnTo>
                  <a:lnTo>
                    <a:pt x="312404" y="84808"/>
                  </a:lnTo>
                  <a:lnTo>
                    <a:pt x="273957" y="40578"/>
                  </a:lnTo>
                  <a:lnTo>
                    <a:pt x="233224" y="14762"/>
                  </a:lnTo>
                  <a:lnTo>
                    <a:pt x="187784" y="1186"/>
                  </a:lnTo>
                  <a:lnTo>
                    <a:pt x="166713" y="0"/>
                  </a:lnTo>
                  <a:close/>
                </a:path>
              </a:pathLst>
            </a:custGeom>
            <a:solidFill>
              <a:srgbClr val="D6CE2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193" name="Google Shape;5193;p24"/>
            <p:cNvPicPr preferRelativeResize="0"/>
            <p:nvPr/>
          </p:nvPicPr>
          <p:blipFill rotWithShape="1">
            <a:blip r:embed="rId20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04438" y="5751013"/>
              <a:ext cx="151773" cy="22878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194" name="Google Shape;5194;p24"/>
            <p:cNvSpPr/>
            <p:nvPr/>
          </p:nvSpPr>
          <p:spPr>
            <a:xfrm>
              <a:off x="6397668" y="5447741"/>
              <a:ext cx="182880" cy="100965"/>
            </a:xfrm>
            <a:custGeom>
              <a:avLst/>
              <a:gdLst/>
              <a:ahLst/>
              <a:cxnLst/>
              <a:rect l="l" t="t" r="r" b="b"/>
              <a:pathLst>
                <a:path w="182879" h="100964" extrusionOk="0">
                  <a:moveTo>
                    <a:pt x="182635" y="0"/>
                  </a:moveTo>
                  <a:lnTo>
                    <a:pt x="182635" y="50309"/>
                  </a:lnTo>
                </a:path>
                <a:path w="182879" h="100964" extrusionOk="0">
                  <a:moveTo>
                    <a:pt x="0" y="65720"/>
                  </a:moveTo>
                  <a:lnTo>
                    <a:pt x="36086" y="100922"/>
                  </a:lnTo>
                </a:path>
              </a:pathLst>
            </a:custGeom>
            <a:noFill/>
            <a:ln w="13925" cap="flat" cmpd="sng">
              <a:solidFill>
                <a:srgbClr val="D6CE2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195" name="Google Shape;5195;p24"/>
            <p:cNvSpPr/>
            <p:nvPr/>
          </p:nvSpPr>
          <p:spPr>
            <a:xfrm>
              <a:off x="6481188" y="5462736"/>
              <a:ext cx="287020" cy="83185"/>
            </a:xfrm>
            <a:custGeom>
              <a:avLst/>
              <a:gdLst/>
              <a:ahLst/>
              <a:cxnLst/>
              <a:rect l="l" t="t" r="r" b="b"/>
              <a:pathLst>
                <a:path w="287020" h="83185" extrusionOk="0">
                  <a:moveTo>
                    <a:pt x="286558" y="47572"/>
                  </a:moveTo>
                  <a:lnTo>
                    <a:pt x="250507" y="82774"/>
                  </a:lnTo>
                </a:path>
                <a:path w="287020" h="83185" extrusionOk="0">
                  <a:moveTo>
                    <a:pt x="201305" y="3132"/>
                  </a:moveTo>
                  <a:lnTo>
                    <a:pt x="184879" y="50725"/>
                  </a:lnTo>
                </a:path>
                <a:path w="287020" h="83185" extrusionOk="0">
                  <a:moveTo>
                    <a:pt x="0" y="0"/>
                  </a:moveTo>
                  <a:lnTo>
                    <a:pt x="16441" y="47572"/>
                  </a:lnTo>
                </a:path>
              </a:pathLst>
            </a:custGeom>
            <a:noFill/>
            <a:ln w="15400" cap="flat" cmpd="sng">
              <a:solidFill>
                <a:srgbClr val="D6CE2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5196" name="Google Shape;5196;p24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559" cy="1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8975" rIns="0" bIns="0" anchor="t" anchorCtr="0">
            <a:spAutoFit/>
          </a:bodyPr>
          <a:lstStyle/>
          <a:p>
            <a:pPr marL="254634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>
                <a:solidFill>
                  <a:srgbClr val="000000"/>
                </a:solidFill>
                <a:latin typeface="Tahoma"/>
                <a:ea typeface="Tahoma"/>
                <a:cs typeface="Tahoma"/>
                <a:sym typeface="Tahoma"/>
              </a:rPr>
              <a:t>DRIVER 5:</a:t>
            </a:r>
            <a:endParaRPr sz="2600">
              <a:latin typeface="Tahoma"/>
              <a:ea typeface="Tahoma"/>
              <a:cs typeface="Tahoma"/>
              <a:sym typeface="Tahoma"/>
            </a:endParaRPr>
          </a:p>
          <a:p>
            <a:pPr marL="254634" lvl="0" indent="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None/>
            </a:pPr>
            <a:r>
              <a:rPr lang="en-US" sz="2600">
                <a:solidFill>
                  <a:srgbClr val="000000"/>
                </a:solidFill>
                <a:latin typeface="Tahoma"/>
                <a:ea typeface="Tahoma"/>
                <a:cs typeface="Tahoma"/>
                <a:sym typeface="Tahoma"/>
              </a:rPr>
              <a:t>HEALTHCARE DATA UTILIZATION</a:t>
            </a:r>
            <a:endParaRPr sz="260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5197" name="Google Shape;5197;p24"/>
          <p:cNvSpPr txBox="1"/>
          <p:nvPr/>
        </p:nvSpPr>
        <p:spPr>
          <a:xfrm>
            <a:off x="7177658" y="5362955"/>
            <a:ext cx="3716020" cy="502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12700" marR="5080" lvl="0" indent="0" algn="l" rtl="0">
              <a:lnSpc>
                <a:spcPct val="1252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Develop strategies to address bias, inequities, and disparities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98" name="Google Shape;5198;p24"/>
          <p:cNvSpPr txBox="1"/>
          <p:nvPr/>
        </p:nvSpPr>
        <p:spPr>
          <a:xfrm>
            <a:off x="970280" y="1994655"/>
            <a:ext cx="3210560" cy="578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2050" rIns="0" bIns="0" anchor="t" anchorCtr="0">
            <a:spAutoFit/>
          </a:bodyPr>
          <a:lstStyle/>
          <a:p>
            <a:pPr marL="0" marR="4699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1: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Accurate Healthcare Data Collection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99" name="Google Shape;5199;p24"/>
          <p:cNvSpPr txBox="1"/>
          <p:nvPr/>
        </p:nvSpPr>
        <p:spPr>
          <a:xfrm>
            <a:off x="1185862" y="3506152"/>
            <a:ext cx="2832100" cy="579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2050" rIns="0" bIns="0" anchor="t" anchorCtr="0">
            <a:spAutoFit/>
          </a:bodyPr>
          <a:lstStyle/>
          <a:p>
            <a:pPr marL="381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2: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Dissemination of Stratified Data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00" name="Google Shape;5200;p24"/>
          <p:cNvSpPr txBox="1"/>
          <p:nvPr/>
        </p:nvSpPr>
        <p:spPr>
          <a:xfrm>
            <a:off x="7177658" y="3444494"/>
            <a:ext cx="3916679" cy="750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975" rIns="0" bIns="0" anchor="t" anchorCtr="0">
            <a:spAutoFit/>
          </a:bodyPr>
          <a:lstStyle/>
          <a:p>
            <a:pPr marL="12700" marR="5080" lvl="0" indent="0" algn="l" rtl="0">
              <a:lnSpc>
                <a:spcPct val="12769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Develop and implement a process to review, analyze, and share data stratified by race, ethnicity and insurance status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01" name="Google Shape;5201;p24"/>
          <p:cNvSpPr txBox="1"/>
          <p:nvPr/>
        </p:nvSpPr>
        <p:spPr>
          <a:xfrm>
            <a:off x="7177658" y="1305813"/>
            <a:ext cx="3990975" cy="13773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6500" rIns="0" bIns="0" anchor="t" anchorCtr="0">
            <a:spAutoFit/>
          </a:bodyPr>
          <a:lstStyle/>
          <a:p>
            <a:pPr marL="259079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750" b="1">
                <a:latin typeface="Arial"/>
                <a:ea typeface="Arial"/>
                <a:cs typeface="Arial"/>
                <a:sym typeface="Arial"/>
              </a:rPr>
              <a:t>Change Ideas</a:t>
            </a:r>
            <a:endParaRPr sz="2750">
              <a:latin typeface="Arial"/>
              <a:ea typeface="Arial"/>
              <a:cs typeface="Arial"/>
              <a:sym typeface="Arial"/>
            </a:endParaRPr>
          </a:p>
          <a:p>
            <a:pPr marL="12700" marR="5080" lvl="0" indent="0" algn="just" rtl="0">
              <a:lnSpc>
                <a:spcPct val="127699"/>
              </a:lnSpc>
              <a:spcBef>
                <a:spcPts val="1560"/>
              </a:spcBef>
              <a:spcAft>
                <a:spcPts val="0"/>
              </a:spcAft>
              <a:buNone/>
            </a:pPr>
            <a:r>
              <a:rPr lang="en-US" sz="125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mplement processes and protocols for improving the collection and accuracy of reported race and ethnicity data</a:t>
            </a:r>
            <a:endParaRPr sz="12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02" name="Google Shape;5202;p24"/>
          <p:cNvSpPr txBox="1"/>
          <p:nvPr/>
        </p:nvSpPr>
        <p:spPr>
          <a:xfrm>
            <a:off x="769619" y="5144902"/>
            <a:ext cx="3639185" cy="579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2700" rIns="0" bIns="0" anchor="t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Secondary Driver 3: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None/>
            </a:pPr>
            <a:r>
              <a:rPr lang="en-US" sz="1550">
                <a:latin typeface="Calibri"/>
                <a:ea typeface="Calibri"/>
                <a:cs typeface="Calibri"/>
                <a:sym typeface="Calibri"/>
              </a:rPr>
              <a:t>Application of Data to Address Inequities</a:t>
            </a:r>
            <a:endParaRPr sz="1550"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07" name="Google Shape;5207;p25"/>
          <p:cNvGraphicFramePr/>
          <p:nvPr>
            <p:extLst>
              <p:ext uri="{D42A27DB-BD31-4B8C-83A1-F6EECF244321}">
                <p14:modId xmlns:p14="http://schemas.microsoft.com/office/powerpoint/2010/main" val="3500360291"/>
              </p:ext>
            </p:extLst>
          </p:nvPr>
        </p:nvGraphicFramePr>
        <p:xfrm>
          <a:off x="441045" y="337693"/>
          <a:ext cx="11073750" cy="3106400"/>
        </p:xfrm>
        <a:graphic>
          <a:graphicData uri="http://schemas.openxmlformats.org/drawingml/2006/table">
            <a:tbl>
              <a:tblPr firstRow="1" bandRow="1">
                <a:noFill/>
                <a:tableStyleId>{410EBB18-085E-4E12-99BB-723E436381A6}</a:tableStyleId>
              </a:tblPr>
              <a:tblGrid>
                <a:gridCol w="1381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794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04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Baseline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(%)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Current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(%)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tc>
                  <a:txBody>
                    <a:bodyPr/>
                    <a:lstStyle/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tructure Measure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09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1E4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04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38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86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standardized process for the collection of parent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reported newborn race and ethnicity data.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16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4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45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8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84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8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standardized process to stratify and share neonatal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  <a:p>
                      <a:pPr marL="93980" marR="0" lvl="0" indent="0" algn="l" rtl="0">
                        <a:lnSpc>
                          <a:spcPct val="100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data by birthing person’s race, ethnicity, and insurance status.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8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5200">
                <a:tc>
                  <a:txBody>
                    <a:bodyPr/>
                    <a:lstStyle/>
                    <a:p>
                      <a:pPr marL="9144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22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41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271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77</a:t>
                      </a:r>
                      <a:endParaRPr sz="200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41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93980" marR="13589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Hospital has a standardized process to address disparities based on review of neonatal outcomes stratified by birthing person’s race, ethnicity, and insurance status.</a:t>
                      </a:r>
                      <a:endParaRPr sz="200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41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208" name="Google Shape;5208;p25"/>
          <p:cNvSpPr txBox="1"/>
          <p:nvPr/>
        </p:nvSpPr>
        <p:spPr>
          <a:xfrm>
            <a:off x="78739" y="6613525"/>
            <a:ext cx="221805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latin typeface="DM Sans" pitchFamily="2" charset="77"/>
                <a:sym typeface="Arial"/>
              </a:rPr>
              <a:t>Baseline (Oct-Dec 2023), N=75</a:t>
            </a:r>
            <a:endParaRPr sz="1200">
              <a:latin typeface="DM Sans" pitchFamily="2" charset="77"/>
              <a:sym typeface="Arial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87E007C-1AA5-420B-A12F-1775D568774B}"/>
              </a:ext>
            </a:extLst>
          </p:cNvPr>
          <p:cNvSpPr/>
          <p:nvPr/>
        </p:nvSpPr>
        <p:spPr>
          <a:xfrm>
            <a:off x="356170" y="997041"/>
            <a:ext cx="11158625" cy="2447052"/>
          </a:xfrm>
          <a:prstGeom prst="roundRect">
            <a:avLst/>
          </a:prstGeom>
          <a:noFill/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atin typeface="DM Sans" pitchFamily="2" charset="77"/>
            </a:endParaRPr>
          </a:p>
        </p:txBody>
      </p:sp>
      <p:sp>
        <p:nvSpPr>
          <p:cNvPr id="2" name="Google Shape;4470;p13">
            <a:extLst>
              <a:ext uri="{FF2B5EF4-FFF2-40B4-BE49-F238E27FC236}">
                <a16:creationId xmlns:a16="http://schemas.microsoft.com/office/drawing/2014/main" id="{AF3EDC16-485B-CC4F-DF58-24508A8FF1A2}"/>
              </a:ext>
            </a:extLst>
          </p:cNvPr>
          <p:cNvSpPr txBox="1"/>
          <p:nvPr/>
        </p:nvSpPr>
        <p:spPr>
          <a:xfrm>
            <a:off x="2480945" y="6613525"/>
            <a:ext cx="190817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/>
                <a:ea typeface="Arial"/>
                <a:cs typeface="Arial"/>
                <a:sym typeface="Arial"/>
              </a:rPr>
              <a:t>Current (June 2025), N=</a:t>
            </a:r>
            <a:r>
              <a:rPr lang="en-US" sz="1200" dirty="0"/>
              <a:t>51</a:t>
            </a:r>
            <a:endParaRPr sz="12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4469;p13">
            <a:extLst>
              <a:ext uri="{FF2B5EF4-FFF2-40B4-BE49-F238E27FC236}">
                <a16:creationId xmlns:a16="http://schemas.microsoft.com/office/drawing/2014/main" id="{E6EA7CED-6FE4-874E-5E66-72E786833A45}"/>
              </a:ext>
            </a:extLst>
          </p:cNvPr>
          <p:cNvSpPr txBox="1"/>
          <p:nvPr/>
        </p:nvSpPr>
        <p:spPr>
          <a:xfrm>
            <a:off x="9895206" y="6613525"/>
            <a:ext cx="2218055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/>
                <a:ea typeface="Arial"/>
                <a:cs typeface="Arial"/>
                <a:sym typeface="Arial"/>
              </a:rPr>
              <a:t>8.15.2025</a:t>
            </a:r>
            <a:endParaRPr sz="1200" dirty="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5" name="Google Shape;5215;p27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5216" name="Google Shape;5216;p27"/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5217" name="Google Shape;5217;p27"/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218" name="Google Shape;5218;p27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219" name="Google Shape;5219;p27"/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220" name="Google Shape;5220;p27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21" name="Google Shape;5221;p27"/>
          <p:cNvSpPr txBox="1">
            <a:spLocks noGrp="1"/>
          </p:cNvSpPr>
          <p:nvPr>
            <p:ph type="title"/>
          </p:nvPr>
        </p:nvSpPr>
        <p:spPr>
          <a:xfrm>
            <a:off x="760760" y="2482045"/>
            <a:ext cx="10187400" cy="690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/>
          <a:p>
            <a:pPr marL="12700" marR="5080" lvl="0" indent="0" algn="l" rtl="0">
              <a:lnSpc>
                <a:spcPct val="11888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latin typeface="DM Sans"/>
                <a:ea typeface="DM Sans"/>
                <a:cs typeface="DM Sans"/>
                <a:sym typeface="DM Sans"/>
              </a:rPr>
              <a:t>Dissemination of Stratified Data</a:t>
            </a:r>
            <a:endParaRPr sz="3600" dirty="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5222" name="Google Shape;5222;p27"/>
          <p:cNvSpPr txBox="1"/>
          <p:nvPr/>
        </p:nvSpPr>
        <p:spPr>
          <a:xfrm>
            <a:off x="11927458" y="6434454"/>
            <a:ext cx="191135" cy="2082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Arial"/>
                <a:ea typeface="Arial"/>
                <a:cs typeface="Arial"/>
                <a:sym typeface="Arial"/>
              </a:rPr>
              <a:t>27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23" name="Google Shape;5223;p27"/>
          <p:cNvSpPr txBox="1"/>
          <p:nvPr/>
        </p:nvSpPr>
        <p:spPr>
          <a:xfrm>
            <a:off x="78739" y="6434454"/>
            <a:ext cx="2623820" cy="2082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Arial"/>
                <a:ea typeface="Arial"/>
                <a:cs typeface="Arial"/>
                <a:sym typeface="Arial"/>
              </a:rPr>
              <a:t>Illinois Perinatal Quality Collaborative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214">
          <a:extLst>
            <a:ext uri="{FF2B5EF4-FFF2-40B4-BE49-F238E27FC236}">
              <a16:creationId xmlns:a16="http://schemas.microsoft.com/office/drawing/2014/main" id="{72C5C90E-39EA-DD61-8104-6875A8BFC7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5" name="Google Shape;5215;p27">
            <a:extLst>
              <a:ext uri="{FF2B5EF4-FFF2-40B4-BE49-F238E27FC236}">
                <a16:creationId xmlns:a16="http://schemas.microsoft.com/office/drawing/2014/main" id="{3E23C883-1ED0-E21B-222F-935709F01E0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5216" name="Google Shape;5216;p27">
            <a:extLst>
              <a:ext uri="{FF2B5EF4-FFF2-40B4-BE49-F238E27FC236}">
                <a16:creationId xmlns:a16="http://schemas.microsoft.com/office/drawing/2014/main" id="{13A9178D-5AC0-A845-E82D-1E45B0CC2955}"/>
              </a:ext>
            </a:extLst>
          </p:cNvPr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5217" name="Google Shape;5217;p27">
              <a:extLst>
                <a:ext uri="{FF2B5EF4-FFF2-40B4-BE49-F238E27FC236}">
                  <a16:creationId xmlns:a16="http://schemas.microsoft.com/office/drawing/2014/main" id="{AFB1DAE6-599F-6570-627F-223D7C6A3263}"/>
                </a:ext>
              </a:extLst>
            </p:cNvPr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218" name="Google Shape;5218;p27">
              <a:extLst>
                <a:ext uri="{FF2B5EF4-FFF2-40B4-BE49-F238E27FC236}">
                  <a16:creationId xmlns:a16="http://schemas.microsoft.com/office/drawing/2014/main" id="{6DA14665-4D01-D00F-3EBD-EBA52A9AC5E2}"/>
                </a:ext>
              </a:extLst>
            </p:cNvPr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219" name="Google Shape;5219;p27">
              <a:extLst>
                <a:ext uri="{FF2B5EF4-FFF2-40B4-BE49-F238E27FC236}">
                  <a16:creationId xmlns:a16="http://schemas.microsoft.com/office/drawing/2014/main" id="{ED64184E-5118-39C3-D61F-0C1744871802}"/>
                </a:ext>
              </a:extLst>
            </p:cNvPr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220" name="Google Shape;5220;p27">
              <a:extLst>
                <a:ext uri="{FF2B5EF4-FFF2-40B4-BE49-F238E27FC236}">
                  <a16:creationId xmlns:a16="http://schemas.microsoft.com/office/drawing/2014/main" id="{ADAFD412-1BF3-124D-E098-A07F86C16274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21" name="Google Shape;5221;p27">
            <a:extLst>
              <a:ext uri="{FF2B5EF4-FFF2-40B4-BE49-F238E27FC236}">
                <a16:creationId xmlns:a16="http://schemas.microsoft.com/office/drawing/2014/main" id="{CE36C9CC-F568-B503-7A8F-7496D48B10C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02300" y="2413034"/>
            <a:ext cx="10187400" cy="690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/>
          <a:p>
            <a:pPr marL="12700" marR="5080" lvl="0" indent="0" algn="l" rtl="0">
              <a:lnSpc>
                <a:spcPct val="11888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latin typeface="DM Sans"/>
                <a:ea typeface="DM Sans"/>
                <a:cs typeface="DM Sans"/>
                <a:sym typeface="DM Sans"/>
              </a:rPr>
              <a:t>Why does stratified data matter for ESSI?</a:t>
            </a:r>
            <a:endParaRPr sz="3600" dirty="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5222" name="Google Shape;5222;p27">
            <a:extLst>
              <a:ext uri="{FF2B5EF4-FFF2-40B4-BE49-F238E27FC236}">
                <a16:creationId xmlns:a16="http://schemas.microsoft.com/office/drawing/2014/main" id="{6594CFAB-41DC-EB79-A093-1A1331580284}"/>
              </a:ext>
            </a:extLst>
          </p:cNvPr>
          <p:cNvSpPr txBox="1"/>
          <p:nvPr/>
        </p:nvSpPr>
        <p:spPr>
          <a:xfrm>
            <a:off x="11927458" y="6434454"/>
            <a:ext cx="191135" cy="2082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Arial"/>
                <a:ea typeface="Arial"/>
                <a:cs typeface="Arial"/>
                <a:sym typeface="Arial"/>
              </a:rPr>
              <a:t>27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23" name="Google Shape;5223;p27">
            <a:extLst>
              <a:ext uri="{FF2B5EF4-FFF2-40B4-BE49-F238E27FC236}">
                <a16:creationId xmlns:a16="http://schemas.microsoft.com/office/drawing/2014/main" id="{02591DB6-0508-924E-D750-4E5D2328D462}"/>
              </a:ext>
            </a:extLst>
          </p:cNvPr>
          <p:cNvSpPr txBox="1"/>
          <p:nvPr/>
        </p:nvSpPr>
        <p:spPr>
          <a:xfrm>
            <a:off x="78739" y="6434454"/>
            <a:ext cx="2623820" cy="2082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Arial"/>
                <a:ea typeface="Arial"/>
                <a:cs typeface="Arial"/>
                <a:sym typeface="Arial"/>
              </a:rPr>
              <a:t>Illinois Perinatal Quality Collaborative</a:t>
            </a:r>
            <a:endParaRPr sz="1200"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4286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8" name="Google Shape;5228;p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343650" y="857250"/>
            <a:ext cx="4152900" cy="403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229" name="Google Shape;5229;p28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876" y="5972175"/>
            <a:ext cx="1553921" cy="723898"/>
          </a:xfrm>
          <a:prstGeom prst="rect">
            <a:avLst/>
          </a:prstGeom>
          <a:noFill/>
          <a:ln>
            <a:noFill/>
          </a:ln>
        </p:spPr>
      </p:pic>
      <p:sp>
        <p:nvSpPr>
          <p:cNvPr id="5230" name="Google Shape;5230;p28"/>
          <p:cNvSpPr txBox="1"/>
          <p:nvPr/>
        </p:nvSpPr>
        <p:spPr>
          <a:xfrm>
            <a:off x="6764826" y="5347500"/>
            <a:ext cx="4414200" cy="3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DM Sans"/>
                <a:ea typeface="DM Sans"/>
                <a:cs typeface="DM Sans"/>
                <a:sym typeface="DM Sans"/>
              </a:rPr>
              <a:t>SUID Deaths by Race/Ethnicity</a:t>
            </a:r>
            <a:endParaRPr sz="2000" dirty="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5231" name="Google Shape;5231;p28"/>
          <p:cNvSpPr txBox="1"/>
          <p:nvPr/>
        </p:nvSpPr>
        <p:spPr>
          <a:xfrm>
            <a:off x="8345169" y="2707576"/>
            <a:ext cx="455295" cy="448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750" b="1">
                <a:latin typeface="Arial"/>
                <a:ea typeface="Arial"/>
                <a:cs typeface="Arial"/>
                <a:sym typeface="Arial"/>
              </a:rPr>
              <a:t>4x</a:t>
            </a:r>
            <a:endParaRPr sz="2750"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232" name="Google Shape;5232;p28"/>
          <p:cNvGrpSpPr/>
          <p:nvPr/>
        </p:nvGrpSpPr>
        <p:grpSpPr>
          <a:xfrm>
            <a:off x="8800476" y="1931926"/>
            <a:ext cx="342900" cy="2000250"/>
            <a:chOff x="8920226" y="1966976"/>
            <a:chExt cx="342900" cy="2000250"/>
          </a:xfrm>
        </p:grpSpPr>
        <p:sp>
          <p:nvSpPr>
            <p:cNvPr id="5233" name="Google Shape;5233;p28"/>
            <p:cNvSpPr/>
            <p:nvPr/>
          </p:nvSpPr>
          <p:spPr>
            <a:xfrm>
              <a:off x="8920226" y="1966976"/>
              <a:ext cx="342900" cy="2000250"/>
            </a:xfrm>
            <a:custGeom>
              <a:avLst/>
              <a:gdLst/>
              <a:ahLst/>
              <a:cxnLst/>
              <a:rect l="l" t="t" r="r" b="b"/>
              <a:pathLst>
                <a:path w="342900" h="2000250" extrusionOk="0">
                  <a:moveTo>
                    <a:pt x="171450" y="0"/>
                  </a:moveTo>
                  <a:lnTo>
                    <a:pt x="0" y="171323"/>
                  </a:lnTo>
                  <a:lnTo>
                    <a:pt x="85725" y="171323"/>
                  </a:lnTo>
                  <a:lnTo>
                    <a:pt x="85725" y="1828800"/>
                  </a:lnTo>
                  <a:lnTo>
                    <a:pt x="0" y="1828800"/>
                  </a:lnTo>
                  <a:lnTo>
                    <a:pt x="171450" y="2000123"/>
                  </a:lnTo>
                  <a:lnTo>
                    <a:pt x="342900" y="1828800"/>
                  </a:lnTo>
                  <a:lnTo>
                    <a:pt x="257175" y="1828800"/>
                  </a:lnTo>
                  <a:lnTo>
                    <a:pt x="257175" y="171323"/>
                  </a:lnTo>
                  <a:lnTo>
                    <a:pt x="342900" y="171323"/>
                  </a:lnTo>
                  <a:lnTo>
                    <a:pt x="171450" y="0"/>
                  </a:lnTo>
                  <a:close/>
                </a:path>
              </a:pathLst>
            </a:custGeom>
            <a:solidFill>
              <a:srgbClr val="1E35A0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5234" name="Google Shape;5234;p28"/>
            <p:cNvSpPr/>
            <p:nvPr/>
          </p:nvSpPr>
          <p:spPr>
            <a:xfrm>
              <a:off x="8920226" y="1966976"/>
              <a:ext cx="342900" cy="2000250"/>
            </a:xfrm>
            <a:custGeom>
              <a:avLst/>
              <a:gdLst/>
              <a:ahLst/>
              <a:cxnLst/>
              <a:rect l="l" t="t" r="r" b="b"/>
              <a:pathLst>
                <a:path w="342900" h="2000250" extrusionOk="0">
                  <a:moveTo>
                    <a:pt x="0" y="171323"/>
                  </a:moveTo>
                  <a:lnTo>
                    <a:pt x="171450" y="0"/>
                  </a:lnTo>
                  <a:lnTo>
                    <a:pt x="342900" y="171323"/>
                  </a:lnTo>
                  <a:lnTo>
                    <a:pt x="257175" y="171323"/>
                  </a:lnTo>
                  <a:lnTo>
                    <a:pt x="257175" y="1828800"/>
                  </a:lnTo>
                  <a:lnTo>
                    <a:pt x="342900" y="1828800"/>
                  </a:lnTo>
                  <a:lnTo>
                    <a:pt x="171450" y="2000123"/>
                  </a:lnTo>
                  <a:lnTo>
                    <a:pt x="0" y="1828800"/>
                  </a:lnTo>
                  <a:lnTo>
                    <a:pt x="85725" y="1828800"/>
                  </a:lnTo>
                  <a:lnTo>
                    <a:pt x="85725" y="171323"/>
                  </a:lnTo>
                  <a:lnTo>
                    <a:pt x="0" y="171323"/>
                  </a:lnTo>
                  <a:close/>
                </a:path>
              </a:pathLst>
            </a:custGeom>
            <a:noFill/>
            <a:ln w="25400" cap="flat" cmpd="sng">
              <a:solidFill>
                <a:srgbClr val="050F4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5235" name="Google Shape;5235;p28"/>
          <p:cNvSpPr txBox="1"/>
          <p:nvPr/>
        </p:nvSpPr>
        <p:spPr>
          <a:xfrm>
            <a:off x="538275" y="558174"/>
            <a:ext cx="5509200" cy="520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1885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latin typeface="DM Sans"/>
                <a:ea typeface="DM Sans"/>
                <a:cs typeface="DM Sans"/>
                <a:sym typeface="DM Sans"/>
              </a:rPr>
              <a:t>Reveals disparities in outcomes</a:t>
            </a:r>
            <a:endParaRPr sz="1800">
              <a:latin typeface="DM Sans"/>
              <a:ea typeface="DM Sans"/>
              <a:cs typeface="DM Sans"/>
              <a:sym typeface="DM Sans"/>
            </a:endParaRPr>
          </a:p>
          <a:p>
            <a:pPr marL="355600" marR="447675" lvl="0" indent="-368300" algn="l" rtl="0">
              <a:lnSpc>
                <a:spcPct val="123571"/>
              </a:lnSpc>
              <a:spcBef>
                <a:spcPts val="5"/>
              </a:spcBef>
              <a:spcAft>
                <a:spcPts val="0"/>
              </a:spcAft>
              <a:buSzPts val="1800"/>
              <a:buFont typeface="DM Sans"/>
              <a:buChar char="•"/>
            </a:pPr>
            <a:r>
              <a:rPr lang="en-US" sz="1800">
                <a:latin typeface="DM Sans"/>
                <a:ea typeface="DM Sans"/>
                <a:cs typeface="DM Sans"/>
                <a:sym typeface="DM Sans"/>
              </a:rPr>
              <a:t>Sleep-related infant deaths and missed opportunities for education disproportionately affect Black families.</a:t>
            </a:r>
            <a:endParaRPr sz="1800">
              <a:latin typeface="DM Sans"/>
              <a:ea typeface="DM Sans"/>
              <a:cs typeface="DM Sans"/>
              <a:sym typeface="DM Sans"/>
            </a:endParaRPr>
          </a:p>
          <a:p>
            <a:pPr marL="0" lvl="0" indent="0" algn="l" rtl="0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SzPts val="1400"/>
              <a:buFont typeface="Arial"/>
              <a:buNone/>
            </a:pPr>
            <a:endParaRPr sz="1800">
              <a:latin typeface="DM Sans"/>
              <a:ea typeface="DM Sans"/>
              <a:cs typeface="DM Sans"/>
              <a:sym typeface="DM Sans"/>
            </a:endParaRPr>
          </a:p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latin typeface="DM Sans"/>
                <a:ea typeface="DM Sans"/>
                <a:cs typeface="DM Sans"/>
                <a:sym typeface="DM Sans"/>
              </a:rPr>
              <a:t>Identifies System Barriers:</a:t>
            </a:r>
            <a:endParaRPr sz="1800">
              <a:latin typeface="DM Sans"/>
              <a:ea typeface="DM Sans"/>
              <a:cs typeface="DM Sans"/>
              <a:sym typeface="DM Sans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DM Sans"/>
              <a:ea typeface="DM Sans"/>
              <a:cs typeface="DM Sans"/>
              <a:sym typeface="DM Sans"/>
            </a:endParaRPr>
          </a:p>
          <a:p>
            <a:pPr marL="298450" marR="103504" lvl="0" indent="-311150" algn="l" rtl="0">
              <a:lnSpc>
                <a:spcPct val="100600"/>
              </a:lnSpc>
              <a:spcBef>
                <a:spcPts val="5"/>
              </a:spcBef>
              <a:spcAft>
                <a:spcPts val="0"/>
              </a:spcAft>
              <a:buSzPts val="1800"/>
              <a:buFont typeface="DM Sans"/>
              <a:buChar char="•"/>
            </a:pPr>
            <a:r>
              <a:rPr lang="en-US" sz="1800">
                <a:latin typeface="DM Sans"/>
                <a:ea typeface="DM Sans"/>
                <a:cs typeface="DM Sans"/>
                <a:sym typeface="DM Sans"/>
              </a:rPr>
              <a:t>Provides hospitals with tangible evidence to pinpoint and address barriers in policies, workflows, or communication that may limit equitable care.</a:t>
            </a:r>
            <a:endParaRPr sz="1800">
              <a:latin typeface="DM Sans"/>
              <a:ea typeface="DM Sans"/>
              <a:cs typeface="DM Sans"/>
              <a:sym typeface="DM Sans"/>
            </a:endParaRPr>
          </a:p>
          <a:p>
            <a:pPr marL="0" lvl="0" indent="0" algn="l" rtl="0">
              <a:lnSpc>
                <a:spcPct val="100000"/>
              </a:lnSpc>
              <a:spcBef>
                <a:spcPts val="85"/>
              </a:spcBef>
              <a:spcAft>
                <a:spcPts val="0"/>
              </a:spcAft>
              <a:buSzPts val="1400"/>
              <a:buFont typeface="Arial"/>
              <a:buNone/>
            </a:pPr>
            <a:endParaRPr sz="1800">
              <a:latin typeface="DM Sans"/>
              <a:ea typeface="DM Sans"/>
              <a:cs typeface="DM Sans"/>
              <a:sym typeface="DM Sans"/>
            </a:endParaRPr>
          </a:p>
          <a:p>
            <a:pPr marL="12700" lvl="0" indent="0" algn="l" rtl="0">
              <a:lnSpc>
                <a:spcPct val="118857"/>
              </a:lnSpc>
              <a:spcBef>
                <a:spcPts val="5"/>
              </a:spcBef>
              <a:spcAft>
                <a:spcPts val="0"/>
              </a:spcAft>
              <a:buNone/>
            </a:pPr>
            <a:r>
              <a:rPr lang="en-US" sz="1800" b="1">
                <a:latin typeface="DM Sans"/>
                <a:ea typeface="DM Sans"/>
                <a:cs typeface="DM Sans"/>
                <a:sym typeface="DM Sans"/>
              </a:rPr>
              <a:t>Drives targeted, equitable action</a:t>
            </a:r>
            <a:endParaRPr sz="1800">
              <a:latin typeface="DM Sans"/>
              <a:ea typeface="DM Sans"/>
              <a:cs typeface="DM Sans"/>
              <a:sym typeface="DM Sans"/>
            </a:endParaRPr>
          </a:p>
          <a:p>
            <a:pPr marL="297815" lvl="0" indent="-310515" algn="l" rtl="0">
              <a:lnSpc>
                <a:spcPct val="118857"/>
              </a:lnSpc>
              <a:spcBef>
                <a:spcPts val="0"/>
              </a:spcBef>
              <a:spcAft>
                <a:spcPts val="0"/>
              </a:spcAft>
              <a:buSzPts val="1800"/>
              <a:buFont typeface="DM Sans"/>
              <a:buChar char="•"/>
            </a:pPr>
            <a:r>
              <a:rPr lang="en-US" sz="1800">
                <a:latin typeface="DM Sans"/>
                <a:ea typeface="DM Sans"/>
                <a:cs typeface="DM Sans"/>
                <a:sym typeface="DM Sans"/>
              </a:rPr>
              <a:t>Allows teams to focus improvement strategies where they are most needed, ensuring all families receive consistent, culturally responsive newborn care and education.</a:t>
            </a:r>
            <a:endParaRPr sz="180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" name="Google Shape;5230;p28">
            <a:extLst>
              <a:ext uri="{FF2B5EF4-FFF2-40B4-BE49-F238E27FC236}">
                <a16:creationId xmlns:a16="http://schemas.microsoft.com/office/drawing/2014/main" id="{67D1D29D-A225-A338-7F0F-05269EBDC73A}"/>
              </a:ext>
            </a:extLst>
          </p:cNvPr>
          <p:cNvSpPr txBox="1"/>
          <p:nvPr/>
        </p:nvSpPr>
        <p:spPr>
          <a:xfrm>
            <a:off x="6764826" y="5663126"/>
            <a:ext cx="4049712" cy="2006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87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DM Sans"/>
                <a:ea typeface="DM Sans"/>
                <a:cs typeface="DM Sans"/>
                <a:sym typeface="DM Sans"/>
                <a:hlinkClick r:id="rId5"/>
              </a:rPr>
              <a:t>2024 IDPH Infant Mortality Report</a:t>
            </a:r>
            <a:endParaRPr sz="1200" dirty="0">
              <a:latin typeface="DM Sans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0" name="Google Shape;5240;g374a1498574_0_3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DM Sans" pitchFamily="2" charset="77"/>
            </a:endParaRPr>
          </a:p>
        </p:txBody>
      </p:sp>
      <p:grpSp>
        <p:nvGrpSpPr>
          <p:cNvPr id="5241" name="Google Shape;5241;g374a1498574_0_3"/>
          <p:cNvGrpSpPr/>
          <p:nvPr/>
        </p:nvGrpSpPr>
        <p:grpSpPr>
          <a:xfrm>
            <a:off x="0" y="5019724"/>
            <a:ext cx="12192000" cy="1838894"/>
            <a:chOff x="0" y="5019724"/>
            <a:chExt cx="12192000" cy="1838894"/>
          </a:xfrm>
        </p:grpSpPr>
        <p:sp>
          <p:nvSpPr>
            <p:cNvPr id="5242" name="Google Shape;5242;g374a1498574_0_3"/>
            <p:cNvSpPr/>
            <p:nvPr/>
          </p:nvSpPr>
          <p:spPr>
            <a:xfrm>
              <a:off x="0" y="5095859"/>
              <a:ext cx="7115175" cy="1762759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5243" name="Google Shape;5243;g374a1498574_0_3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244" name="Google Shape;5244;g374a1498574_0_3"/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5245" name="Google Shape;5245;g374a1498574_0_3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46" name="Google Shape;5246;g374a1498574_0_3"/>
          <p:cNvSpPr txBox="1">
            <a:spLocks noGrp="1"/>
          </p:cNvSpPr>
          <p:nvPr>
            <p:ph type="title"/>
          </p:nvPr>
        </p:nvSpPr>
        <p:spPr>
          <a:xfrm>
            <a:off x="783907" y="2238374"/>
            <a:ext cx="10187400" cy="1981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/>
          <a:p>
            <a:pPr marL="12700" marR="5080" lvl="0" indent="0" algn="l" rtl="0">
              <a:lnSpc>
                <a:spcPct val="11888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550" dirty="0">
                <a:latin typeface="DM Sans" pitchFamily="2" charset="77"/>
                <a:ea typeface="DM Sans"/>
                <a:cs typeface="DM Sans"/>
                <a:sym typeface="DM Sans"/>
              </a:rPr>
              <a:t>What’s the process for sharing ESSI data stratified by race, ethnicity, and insurance status?</a:t>
            </a:r>
          </a:p>
        </p:txBody>
      </p:sp>
      <p:sp>
        <p:nvSpPr>
          <p:cNvPr id="5247" name="Google Shape;5247;g374a1498574_0_3"/>
          <p:cNvSpPr txBox="1"/>
          <p:nvPr/>
        </p:nvSpPr>
        <p:spPr>
          <a:xfrm>
            <a:off x="11927458" y="6434454"/>
            <a:ext cx="191100" cy="19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sym typeface="Arial"/>
              </a:rPr>
              <a:t>27</a:t>
            </a:r>
            <a:endParaRPr sz="1200">
              <a:latin typeface="DM Sans" pitchFamily="2" charset="77"/>
              <a:sym typeface="Arial"/>
            </a:endParaRPr>
          </a:p>
        </p:txBody>
      </p:sp>
      <p:sp>
        <p:nvSpPr>
          <p:cNvPr id="5248" name="Google Shape;5248;g374a1498574_0_3"/>
          <p:cNvSpPr txBox="1"/>
          <p:nvPr/>
        </p:nvSpPr>
        <p:spPr>
          <a:xfrm>
            <a:off x="78739" y="6434454"/>
            <a:ext cx="2623800" cy="19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sym typeface="Arial"/>
              </a:rPr>
              <a:t>Illinois Perinatal Quality Collaborative</a:t>
            </a:r>
            <a:endParaRPr sz="1200">
              <a:latin typeface="DM Sans" pitchFamily="2" charset="77"/>
              <a:sym typeface="Arial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15247" y="2098962"/>
            <a:ext cx="10363552" cy="266007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b="0" dirty="0">
                <a:solidFill>
                  <a:schemeClr val="dk1"/>
                </a:solidFill>
                <a:latin typeface="DM Sans" pitchFamily="2" charset="77"/>
              </a:rPr>
              <a:t>Ensure the right people see the right data in the right way</a:t>
            </a:r>
          </a:p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b="0" dirty="0">
                <a:solidFill>
                  <a:schemeClr val="dk1"/>
                </a:solidFill>
                <a:latin typeface="DM Sans" pitchFamily="2" charset="77"/>
              </a:rPr>
              <a:t>Use stratified data to identify opportunities, drive change, and celebrate successes within our units and beyond</a:t>
            </a:r>
          </a:p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b="0" dirty="0">
                <a:solidFill>
                  <a:schemeClr val="dk1"/>
                </a:solidFill>
                <a:latin typeface="DM Sans" pitchFamily="2" charset="77"/>
              </a:rPr>
              <a:t>Match your data format and story to your audience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  <a:sym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415247" y="-879478"/>
            <a:ext cx="9795553" cy="2696322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Reaching the Right Audienc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with the Right Message</a:t>
            </a:r>
            <a:endParaRPr kumimoji="0" lang="en-US" sz="4200" b="1" i="0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DM Sans" pitchFamily="2" charset="7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668451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16532" y="1382837"/>
            <a:ext cx="11358936" cy="442512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r>
              <a:rPr lang="en-US" sz="2500" b="0" dirty="0">
                <a:solidFill>
                  <a:schemeClr val="dk1"/>
                </a:solidFill>
                <a:latin typeface="DM Sans" pitchFamily="2" charset="77"/>
              </a:rPr>
              <a:t>Target Audiences:</a:t>
            </a:r>
          </a:p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</a:rPr>
              <a:t>Frontline Providers </a:t>
            </a:r>
            <a:r>
              <a:rPr lang="en-US" sz="2500" b="0" dirty="0">
                <a:solidFill>
                  <a:schemeClr val="dk1"/>
                </a:solidFill>
                <a:latin typeface="DM Sans" pitchFamily="2" charset="77"/>
              </a:rPr>
              <a:t>– Unit-level results, trends, direct patient results, opportunities for improvement</a:t>
            </a:r>
          </a:p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</a:rPr>
              <a:t>Hospital Quality Team </a:t>
            </a:r>
            <a:r>
              <a:rPr lang="en-US" sz="2500" b="0" dirty="0">
                <a:solidFill>
                  <a:schemeClr val="dk1"/>
                </a:solidFill>
                <a:latin typeface="DM Sans" pitchFamily="2" charset="77"/>
              </a:rPr>
              <a:t>– Detailed process &amp; structure measures, deep dives into root causes</a:t>
            </a:r>
          </a:p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</a:rPr>
              <a:t>Hospital Leadership </a:t>
            </a:r>
            <a:r>
              <a:rPr lang="en-US" sz="2500" b="0" dirty="0">
                <a:solidFill>
                  <a:schemeClr val="dk1"/>
                </a:solidFill>
                <a:latin typeface="DM Sans" pitchFamily="2" charset="77"/>
              </a:rPr>
              <a:t>– Cost impact, alignment with vision/mission, big-picture success stories</a:t>
            </a:r>
          </a:p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</a:rPr>
              <a:t>Community and Parent Partners </a:t>
            </a:r>
            <a:r>
              <a:rPr lang="en-US" sz="2500" b="0" dirty="0">
                <a:solidFill>
                  <a:schemeClr val="dk1"/>
                </a:solidFill>
                <a:latin typeface="DM Sans" pitchFamily="2" charset="77"/>
              </a:rPr>
              <a:t>– Impact metric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  <a:sym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322780" y="-1492000"/>
            <a:ext cx="9795553" cy="2696322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Who Needs to See Your Data?</a:t>
            </a:r>
            <a:endParaRPr kumimoji="0" lang="en-US" sz="4200" b="1" i="0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DM Sans" pitchFamily="2" charset="7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799469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16532" y="711989"/>
            <a:ext cx="11358936" cy="520317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r>
              <a:rPr lang="en-US" sz="3200" dirty="0">
                <a:solidFill>
                  <a:schemeClr val="dk1"/>
                </a:solidFill>
                <a:latin typeface="DM Sans" pitchFamily="2" charset="77"/>
              </a:rPr>
              <a:t>Frontline Providers</a:t>
            </a:r>
          </a:p>
          <a:p>
            <a:pPr marL="457200" lvl="0" indent="-457200" fontAlgn="auto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800" b="0" dirty="0">
                <a:solidFill>
                  <a:schemeClr val="tx1"/>
                </a:solidFill>
                <a:latin typeface="DM Sans" pitchFamily="2" charset="77"/>
              </a:rPr>
              <a:t>Safe sleep audit results (e.g., crib audits 10/20 compliant, reflux precautions differences)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defRPr/>
            </a:pPr>
            <a:r>
              <a:rPr lang="en-US" altLang="en-US" sz="2800" b="0" dirty="0">
                <a:solidFill>
                  <a:schemeClr val="tx1"/>
                </a:solidFill>
                <a:latin typeface="DM Sans" pitchFamily="2" charset="77"/>
              </a:rPr>
              <a:t>Discharge ESSI bundle documentation differences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defRPr/>
            </a:pPr>
            <a:r>
              <a:rPr lang="en-US" altLang="en-US" sz="2800" b="0" dirty="0">
                <a:solidFill>
                  <a:schemeClr val="tx1"/>
                </a:solidFill>
                <a:latin typeface="DM Sans" pitchFamily="2" charset="77"/>
              </a:rPr>
              <a:t>Language interpreters use data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defRPr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lang="en-US" sz="2500" dirty="0">
              <a:solidFill>
                <a:schemeClr val="dk1"/>
              </a:solidFill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lang="en-US" sz="2500" dirty="0">
              <a:solidFill>
                <a:schemeClr val="dk1"/>
              </a:solidFill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  <a:sym typeface="Arial"/>
            </a:endParaRPr>
          </a:p>
        </p:txBody>
      </p:sp>
      <p:pic>
        <p:nvPicPr>
          <p:cNvPr id="7" name="Google Shape;5309;g374da0147aa_0_0" title="Bulletin board.png">
            <a:extLst>
              <a:ext uri="{FF2B5EF4-FFF2-40B4-BE49-F238E27FC236}">
                <a16:creationId xmlns:a16="http://schemas.microsoft.com/office/drawing/2014/main" id="{258B5D42-FA1D-427A-81FA-0FDD2610FF0B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6050" y="4137575"/>
            <a:ext cx="2899134" cy="1838731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5307;g374da0147aa_0_0">
            <a:extLst>
              <a:ext uri="{FF2B5EF4-FFF2-40B4-BE49-F238E27FC236}">
                <a16:creationId xmlns:a16="http://schemas.microsoft.com/office/drawing/2014/main" id="{B43583B4-9E40-4AEE-9808-E247C7832E8D}"/>
              </a:ext>
            </a:extLst>
          </p:cNvPr>
          <p:cNvSpPr txBox="1"/>
          <p:nvPr/>
        </p:nvSpPr>
        <p:spPr>
          <a:xfrm>
            <a:off x="8906286" y="5935823"/>
            <a:ext cx="2609027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Staff Bulletin boards 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11" name="Google Shape;5307;g374da0147aa_0_0">
            <a:extLst>
              <a:ext uri="{FF2B5EF4-FFF2-40B4-BE49-F238E27FC236}">
                <a16:creationId xmlns:a16="http://schemas.microsoft.com/office/drawing/2014/main" id="{431C31BE-24BF-4F59-B998-EFBE64978738}"/>
              </a:ext>
            </a:extLst>
          </p:cNvPr>
          <p:cNvSpPr txBox="1"/>
          <p:nvPr/>
        </p:nvSpPr>
        <p:spPr>
          <a:xfrm>
            <a:off x="944002" y="5904906"/>
            <a:ext cx="2461932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Run Charts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12" name="Google Shape;5307;g374da0147aa_0_0">
            <a:extLst>
              <a:ext uri="{FF2B5EF4-FFF2-40B4-BE49-F238E27FC236}">
                <a16:creationId xmlns:a16="http://schemas.microsoft.com/office/drawing/2014/main" id="{5B5A0B0E-6D34-41C8-9AA6-6657A03004EA}"/>
              </a:ext>
            </a:extLst>
          </p:cNvPr>
          <p:cNvSpPr txBox="1"/>
          <p:nvPr/>
        </p:nvSpPr>
        <p:spPr>
          <a:xfrm>
            <a:off x="5062576" y="5915162"/>
            <a:ext cx="2461932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Unit dashboards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pic>
        <p:nvPicPr>
          <p:cNvPr id="13" name="Google Shape;5283;g374a1498574_0_96" title="Screenshot 2025-08-13 at 11.36.17 AM.png">
            <a:extLst>
              <a:ext uri="{FF2B5EF4-FFF2-40B4-BE49-F238E27FC236}">
                <a16:creationId xmlns:a16="http://schemas.microsoft.com/office/drawing/2014/main" id="{4508078A-ECA3-492C-972B-D913616DE95F}"/>
              </a:ext>
            </a:extLst>
          </p:cNvPr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437"/>
          <a:stretch/>
        </p:blipFill>
        <p:spPr>
          <a:xfrm>
            <a:off x="643422" y="4307280"/>
            <a:ext cx="2394604" cy="149932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5" name="Picture 4" descr="A computer screen with graphics on it&#10;&#10;AI-generated content may be incorrect.">
            <a:extLst>
              <a:ext uri="{FF2B5EF4-FFF2-40B4-BE49-F238E27FC236}">
                <a16:creationId xmlns:a16="http://schemas.microsoft.com/office/drawing/2014/main" id="{D1EEC0C8-54AF-8781-BE68-257E3DD5D79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3690" y="4124011"/>
            <a:ext cx="2394604" cy="2082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5826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DM Sans" pitchFamily="2" charset="77"/>
                <a:ea typeface="Lato Medium"/>
                <a:cs typeface="Lato Medium"/>
              </a:rPr>
              <a:t>Upcoming ILPQC 13th Annual Conference</a:t>
            </a:r>
            <a:endParaRPr lang="en-US" dirty="0">
              <a:latin typeface="DM Sans" pitchFamily="2" charset="77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3310" y="2800286"/>
            <a:ext cx="9365380" cy="986569"/>
          </a:xfrm>
        </p:spPr>
        <p:txBody>
          <a:bodyPr/>
          <a:lstStyle/>
          <a:p>
            <a:r>
              <a:rPr lang="en-US" dirty="0">
                <a:latin typeface="DM Sans" pitchFamily="2" charset="77"/>
              </a:rPr>
              <a:t>The Westin Lombard, IL </a:t>
            </a:r>
          </a:p>
        </p:txBody>
      </p:sp>
    </p:spTree>
    <p:extLst>
      <p:ext uri="{BB962C8B-B14F-4D97-AF65-F5344CB8AC3E}">
        <p14:creationId xmlns:p14="http://schemas.microsoft.com/office/powerpoint/2010/main" val="280977574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16532" y="136526"/>
            <a:ext cx="11358936" cy="579914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r>
              <a:rPr lang="en-US" sz="3200" dirty="0">
                <a:solidFill>
                  <a:schemeClr val="dk1"/>
                </a:solidFill>
                <a:latin typeface="DM Sans" pitchFamily="2" charset="77"/>
              </a:rPr>
              <a:t>Hospital Quality Team</a:t>
            </a:r>
          </a:p>
          <a:p>
            <a:pPr marL="457200" lvl="0" indent="-457200" fontAlgn="auto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800" b="0" dirty="0">
                <a:solidFill>
                  <a:schemeClr val="tx1"/>
                </a:solidFill>
                <a:latin typeface="DM Sans" pitchFamily="2" charset="77"/>
              </a:rPr>
              <a:t>Process &amp; Structure Measures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defRPr/>
            </a:pPr>
            <a:r>
              <a:rPr lang="en-US" altLang="en-US" sz="2800" b="0" dirty="0">
                <a:solidFill>
                  <a:schemeClr val="tx1"/>
                </a:solidFill>
                <a:latin typeface="DM Sans" pitchFamily="2" charset="77"/>
              </a:rPr>
              <a:t>Audit Breakdowns (i.e. none had burp clothes, but all had ….) 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defRPr/>
            </a:pPr>
            <a:r>
              <a:rPr lang="en-US" altLang="en-US" sz="2800" b="0" dirty="0">
                <a:solidFill>
                  <a:schemeClr val="tx1"/>
                </a:solidFill>
                <a:latin typeface="DM Sans" pitchFamily="2" charset="77"/>
              </a:rPr>
              <a:t>Identify and plan PDSAs based on findings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defRPr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lang="en-US" sz="2500" dirty="0">
              <a:solidFill>
                <a:schemeClr val="dk1"/>
              </a:solidFill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lang="en-US" sz="2500" dirty="0">
              <a:solidFill>
                <a:schemeClr val="dk1"/>
              </a:solidFill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  <a:sym typeface="Arial"/>
            </a:endParaRPr>
          </a:p>
        </p:txBody>
      </p:sp>
      <p:sp>
        <p:nvSpPr>
          <p:cNvPr id="9" name="Google Shape;5307;g374da0147aa_0_0">
            <a:extLst>
              <a:ext uri="{FF2B5EF4-FFF2-40B4-BE49-F238E27FC236}">
                <a16:creationId xmlns:a16="http://schemas.microsoft.com/office/drawing/2014/main" id="{B43583B4-9E40-4AEE-9808-E247C7832E8D}"/>
              </a:ext>
            </a:extLst>
          </p:cNvPr>
          <p:cNvSpPr txBox="1"/>
          <p:nvPr/>
        </p:nvSpPr>
        <p:spPr>
          <a:xfrm>
            <a:off x="9051339" y="5935673"/>
            <a:ext cx="2609027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Data tables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11" name="Google Shape;5307;g374da0147aa_0_0">
            <a:extLst>
              <a:ext uri="{FF2B5EF4-FFF2-40B4-BE49-F238E27FC236}">
                <a16:creationId xmlns:a16="http://schemas.microsoft.com/office/drawing/2014/main" id="{431C31BE-24BF-4F59-B998-EFBE64978738}"/>
              </a:ext>
            </a:extLst>
          </p:cNvPr>
          <p:cNvSpPr txBox="1"/>
          <p:nvPr/>
        </p:nvSpPr>
        <p:spPr>
          <a:xfrm>
            <a:off x="892160" y="5935673"/>
            <a:ext cx="2855724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Detailed REDCap charts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12" name="Google Shape;5307;g374da0147aa_0_0">
            <a:extLst>
              <a:ext uri="{FF2B5EF4-FFF2-40B4-BE49-F238E27FC236}">
                <a16:creationId xmlns:a16="http://schemas.microsoft.com/office/drawing/2014/main" id="{5B5A0B0E-6D34-41C8-9AA6-6657A03004EA}"/>
              </a:ext>
            </a:extLst>
          </p:cNvPr>
          <p:cNvSpPr txBox="1"/>
          <p:nvPr/>
        </p:nvSpPr>
        <p:spPr>
          <a:xfrm>
            <a:off x="5062576" y="5935673"/>
            <a:ext cx="2800108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ESSI Dashboard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pic>
        <p:nvPicPr>
          <p:cNvPr id="14" name="Google Shape;5283;g374a1498574_0_96" title="Screenshot 2025-08-13 at 11.36.17 AM.png">
            <a:extLst>
              <a:ext uri="{FF2B5EF4-FFF2-40B4-BE49-F238E27FC236}">
                <a16:creationId xmlns:a16="http://schemas.microsoft.com/office/drawing/2014/main" id="{ED622FBF-B26A-4C2B-BCA7-9635A4000DB1}"/>
              </a:ext>
            </a:extLst>
          </p:cNvPr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437"/>
          <a:stretch/>
        </p:blipFill>
        <p:spPr>
          <a:xfrm>
            <a:off x="1107675" y="3983776"/>
            <a:ext cx="2424694" cy="171707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5" name="Google Shape;5277;g374a1498574_0_35" title="Screenshot 2025-08-13 at 11.35.25 AM.png">
            <a:extLst>
              <a:ext uri="{FF2B5EF4-FFF2-40B4-BE49-F238E27FC236}">
                <a16:creationId xmlns:a16="http://schemas.microsoft.com/office/drawing/2014/main" id="{39102961-A225-4D39-A933-93DC71BDA4E4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8444" y="3869380"/>
            <a:ext cx="3785779" cy="20156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oogle Shape;5270;g374a1498574_0_74" title="Data clipboard color.png">
            <a:extLst>
              <a:ext uri="{FF2B5EF4-FFF2-40B4-BE49-F238E27FC236}">
                <a16:creationId xmlns:a16="http://schemas.microsoft.com/office/drawing/2014/main" id="{ADDA467E-ADAF-4BFD-9474-2613A3CA8DEC}"/>
              </a:ext>
            </a:extLst>
          </p:cNvPr>
          <p:cNvPicPr preferRelativeResize="0"/>
          <p:nvPr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33811">
            <a:off x="8468672" y="3460029"/>
            <a:ext cx="2652392" cy="28911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96736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16532" y="258792"/>
            <a:ext cx="11358936" cy="597060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r>
              <a:rPr lang="en-US" sz="3200" dirty="0">
                <a:solidFill>
                  <a:schemeClr val="dk1"/>
                </a:solidFill>
                <a:latin typeface="DM Sans" pitchFamily="2" charset="77"/>
              </a:rPr>
              <a:t>Hospital Leadership/Administrators:</a:t>
            </a:r>
          </a:p>
          <a:p>
            <a:pPr marL="457200" lvl="0" indent="-457200" fontAlgn="auto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800" b="0" dirty="0">
                <a:solidFill>
                  <a:schemeClr val="tx1"/>
                </a:solidFill>
                <a:latin typeface="DM Sans" pitchFamily="2" charset="77"/>
              </a:rPr>
              <a:t>Cost implications of adverse events or improvement strategies</a:t>
            </a:r>
          </a:p>
          <a:p>
            <a:pPr marL="457200" lvl="0" indent="-457200" fontAlgn="auto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2800" b="0" dirty="0">
                <a:solidFill>
                  <a:schemeClr val="tx1"/>
                </a:solidFill>
                <a:latin typeface="DM Sans" pitchFamily="2" charset="77"/>
              </a:rPr>
              <a:t>Alignment with mission, vision of the unit/organization’s goals</a:t>
            </a:r>
          </a:p>
          <a:p>
            <a:pPr marL="457200" lvl="0" indent="-457200" fontAlgn="auto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2800" b="0" dirty="0">
                <a:solidFill>
                  <a:schemeClr val="tx1"/>
                </a:solidFill>
                <a:latin typeface="DM Sans" pitchFamily="2" charset="77"/>
              </a:rPr>
              <a:t>Unit promotion to secure resources for ILPQC initiatives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defRPr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lang="en-US" sz="2500" dirty="0">
              <a:solidFill>
                <a:schemeClr val="dk1"/>
              </a:solidFill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lang="en-US" sz="2500" dirty="0">
              <a:solidFill>
                <a:schemeClr val="dk1"/>
              </a:solidFill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  <a:sym typeface="Arial"/>
            </a:endParaRPr>
          </a:p>
        </p:txBody>
      </p:sp>
      <p:sp>
        <p:nvSpPr>
          <p:cNvPr id="9" name="Google Shape;5307;g374da0147aa_0_0">
            <a:extLst>
              <a:ext uri="{FF2B5EF4-FFF2-40B4-BE49-F238E27FC236}">
                <a16:creationId xmlns:a16="http://schemas.microsoft.com/office/drawing/2014/main" id="{B43583B4-9E40-4AEE-9808-E247C7832E8D}"/>
              </a:ext>
            </a:extLst>
          </p:cNvPr>
          <p:cNvSpPr txBox="1"/>
          <p:nvPr/>
        </p:nvSpPr>
        <p:spPr>
          <a:xfrm>
            <a:off x="9095287" y="5894715"/>
            <a:ext cx="2855724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Leadership dashboards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11" name="Google Shape;5307;g374da0147aa_0_0">
            <a:extLst>
              <a:ext uri="{FF2B5EF4-FFF2-40B4-BE49-F238E27FC236}">
                <a16:creationId xmlns:a16="http://schemas.microsoft.com/office/drawing/2014/main" id="{431C31BE-24BF-4F59-B998-EFBE64978738}"/>
              </a:ext>
            </a:extLst>
          </p:cNvPr>
          <p:cNvSpPr txBox="1"/>
          <p:nvPr/>
        </p:nvSpPr>
        <p:spPr>
          <a:xfrm>
            <a:off x="892160" y="5935673"/>
            <a:ext cx="2855724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One-pagers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12" name="Google Shape;5307;g374da0147aa_0_0">
            <a:extLst>
              <a:ext uri="{FF2B5EF4-FFF2-40B4-BE49-F238E27FC236}">
                <a16:creationId xmlns:a16="http://schemas.microsoft.com/office/drawing/2014/main" id="{5B5A0B0E-6D34-41C8-9AA6-6657A03004EA}"/>
              </a:ext>
            </a:extLst>
          </p:cNvPr>
          <p:cNvSpPr txBox="1"/>
          <p:nvPr/>
        </p:nvSpPr>
        <p:spPr>
          <a:xfrm>
            <a:off x="4787419" y="5935672"/>
            <a:ext cx="2800108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Email snapshots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pic>
        <p:nvPicPr>
          <p:cNvPr id="4" name="Google Shape;5310;g374da0147aa_0_0" title="Untitled design.png">
            <a:extLst>
              <a:ext uri="{FF2B5EF4-FFF2-40B4-BE49-F238E27FC236}">
                <a16:creationId xmlns:a16="http://schemas.microsoft.com/office/drawing/2014/main" id="{B8DEE384-C412-6E9D-15D3-1E51D0B89EFA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7639" y="4564814"/>
            <a:ext cx="1762168" cy="1363673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A close-up of a document&#10;&#10;AI-generated content may be incorrect.">
            <a:extLst>
              <a:ext uri="{FF2B5EF4-FFF2-40B4-BE49-F238E27FC236}">
                <a16:creationId xmlns:a16="http://schemas.microsoft.com/office/drawing/2014/main" id="{458A8BD3-8200-123F-C46D-BEC5D07AEFD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7380" y="4052294"/>
            <a:ext cx="2016540" cy="2339186"/>
          </a:xfrm>
          <a:prstGeom prst="rect">
            <a:avLst/>
          </a:prstGeom>
        </p:spPr>
      </p:pic>
      <p:pic>
        <p:nvPicPr>
          <p:cNvPr id="7" name="Picture 6" descr="A colorful pie chart and bar graph&#10;&#10;AI-generated content may be incorrect.">
            <a:extLst>
              <a:ext uri="{FF2B5EF4-FFF2-40B4-BE49-F238E27FC236}">
                <a16:creationId xmlns:a16="http://schemas.microsoft.com/office/drawing/2014/main" id="{BA237964-2DC2-D48A-759F-F9E4393420E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5789" y="4129515"/>
            <a:ext cx="2855724" cy="199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73098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16532" y="509931"/>
            <a:ext cx="11040621" cy="602898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r>
              <a:rPr lang="en-US" sz="3200" dirty="0">
                <a:solidFill>
                  <a:schemeClr val="dk1"/>
                </a:solidFill>
                <a:latin typeface="DM Sans" pitchFamily="2" charset="77"/>
              </a:rPr>
              <a:t>External Stakeholders:</a:t>
            </a:r>
          </a:p>
          <a:p>
            <a:pPr marL="457200" lvl="0" indent="-457200" fontAlgn="auto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800" b="0" dirty="0">
                <a:solidFill>
                  <a:schemeClr val="tx1"/>
                </a:solidFill>
                <a:latin typeface="DM Sans" pitchFamily="2" charset="77"/>
              </a:rPr>
              <a:t>Community Partners: Impact metrics (i.e.“20 families needed cribs, 15 provided by Cribs for Kids”)</a:t>
            </a:r>
          </a:p>
          <a:p>
            <a:pPr marL="457200" lvl="0" indent="-457200" fontAlgn="auto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2800" b="0" dirty="0">
                <a:solidFill>
                  <a:schemeClr val="tx1"/>
                </a:solidFill>
                <a:latin typeface="DM Sans" pitchFamily="2" charset="77"/>
              </a:rPr>
              <a:t>Parent/Family Partners: Bulletin boards in neonatal spaces (NICU), updates during QI meetings</a:t>
            </a:r>
          </a:p>
          <a:p>
            <a:pPr lvl="0" fontAlgn="auto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tabLst/>
              <a:defRPr/>
            </a:pPr>
            <a:endParaRPr lang="en-US" altLang="en-US" sz="2800" b="0" dirty="0">
              <a:solidFill>
                <a:schemeClr val="tx1"/>
              </a:solidFill>
              <a:latin typeface="DM Sans" pitchFamily="2" charset="77"/>
            </a:endParaRP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defRPr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lang="en-US" sz="2500" dirty="0">
              <a:solidFill>
                <a:schemeClr val="dk1"/>
              </a:solidFill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lang="en-US" sz="2500" dirty="0">
              <a:solidFill>
                <a:schemeClr val="dk1"/>
              </a:solidFill>
              <a:latin typeface="DM Sans" pitchFamily="2" charset="77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  <a:sym typeface="Arial"/>
            </a:endParaRPr>
          </a:p>
        </p:txBody>
      </p:sp>
      <p:sp>
        <p:nvSpPr>
          <p:cNvPr id="9" name="Google Shape;5307;g374da0147aa_0_0">
            <a:extLst>
              <a:ext uri="{FF2B5EF4-FFF2-40B4-BE49-F238E27FC236}">
                <a16:creationId xmlns:a16="http://schemas.microsoft.com/office/drawing/2014/main" id="{B43583B4-9E40-4AEE-9808-E247C7832E8D}"/>
              </a:ext>
            </a:extLst>
          </p:cNvPr>
          <p:cNvSpPr txBox="1"/>
          <p:nvPr/>
        </p:nvSpPr>
        <p:spPr>
          <a:xfrm>
            <a:off x="8944501" y="5886435"/>
            <a:ext cx="2855724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Thank you Emails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11" name="Google Shape;5307;g374da0147aa_0_0">
            <a:extLst>
              <a:ext uri="{FF2B5EF4-FFF2-40B4-BE49-F238E27FC236}">
                <a16:creationId xmlns:a16="http://schemas.microsoft.com/office/drawing/2014/main" id="{431C31BE-24BF-4F59-B998-EFBE64978738}"/>
              </a:ext>
            </a:extLst>
          </p:cNvPr>
          <p:cNvSpPr txBox="1"/>
          <p:nvPr/>
        </p:nvSpPr>
        <p:spPr>
          <a:xfrm>
            <a:off x="892160" y="5935673"/>
            <a:ext cx="2855724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Newsletters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12" name="Google Shape;5307;g374da0147aa_0_0">
            <a:extLst>
              <a:ext uri="{FF2B5EF4-FFF2-40B4-BE49-F238E27FC236}">
                <a16:creationId xmlns:a16="http://schemas.microsoft.com/office/drawing/2014/main" id="{5B5A0B0E-6D34-41C8-9AA6-6657A03004EA}"/>
              </a:ext>
            </a:extLst>
          </p:cNvPr>
          <p:cNvSpPr txBox="1"/>
          <p:nvPr/>
        </p:nvSpPr>
        <p:spPr>
          <a:xfrm>
            <a:off x="4893488" y="5935697"/>
            <a:ext cx="2800108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Unit Bulletin Boards</a:t>
            </a:r>
            <a:endParaRPr sz="1800" b="1" dirty="0">
              <a:solidFill>
                <a:schemeClr val="accent3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pic>
        <p:nvPicPr>
          <p:cNvPr id="13" name="Google Shape;5309;g374da0147aa_0_0" title="Bulletin board.png">
            <a:extLst>
              <a:ext uri="{FF2B5EF4-FFF2-40B4-BE49-F238E27FC236}">
                <a16:creationId xmlns:a16="http://schemas.microsoft.com/office/drawing/2014/main" id="{0193AF08-4ADF-47B9-B374-180699655D3E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3488" y="4366517"/>
            <a:ext cx="2619297" cy="1569156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5310;g374da0147aa_0_0" title="Untitled design.png">
            <a:extLst>
              <a:ext uri="{FF2B5EF4-FFF2-40B4-BE49-F238E27FC236}">
                <a16:creationId xmlns:a16="http://schemas.microsoft.com/office/drawing/2014/main" id="{431F391E-26A5-4C39-D708-E919A2EB60F5}"/>
              </a:ext>
            </a:extLst>
          </p:cNvPr>
          <p:cNvPicPr preferRelativeResize="0"/>
          <p:nvPr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846" y="4185138"/>
            <a:ext cx="1973847" cy="1750535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A yellow envelope with a red circle and white text&#10;&#10;AI-generated content may be incorrect.">
            <a:extLst>
              <a:ext uri="{FF2B5EF4-FFF2-40B4-BE49-F238E27FC236}">
                <a16:creationId xmlns:a16="http://schemas.microsoft.com/office/drawing/2014/main" id="{40C35F3B-8B8D-ABF4-CADE-C8C5CCA3989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5577" y="4185138"/>
            <a:ext cx="2391576" cy="1750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49666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16532" y="1186735"/>
            <a:ext cx="11358936" cy="442512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Presentations at QI committee meeting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b="0" dirty="0">
                <a:solidFill>
                  <a:srgbClr val="444C55"/>
                </a:solidFill>
                <a:latin typeface="DM Sans" pitchFamily="2" charset="77"/>
              </a:rPr>
              <a:t>Bulletin boards (staff &amp; families)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Bathroom/Locker room postings (quick visual wins!)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b="0" dirty="0">
                <a:solidFill>
                  <a:srgbClr val="444C55"/>
                </a:solidFill>
                <a:latin typeface="DM Sans" pitchFamily="2" charset="77"/>
              </a:rPr>
              <a:t>Targeted leadership email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b="0" dirty="0">
                <a:solidFill>
                  <a:srgbClr val="444C55"/>
                </a:solidFill>
                <a:latin typeface="DM Sans" pitchFamily="2" charset="77"/>
              </a:rPr>
              <a:t>Unit Newsletter Columns</a:t>
            </a: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b="0" dirty="0">
                <a:solidFill>
                  <a:srgbClr val="444C55"/>
                </a:solidFill>
                <a:latin typeface="DM Sans" pitchFamily="2" charset="77"/>
              </a:rPr>
              <a:t>REDCap run char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Data with a patient story for impact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  <a:sym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415247" y="-1509587"/>
            <a:ext cx="9795553" cy="2696322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Choose the Right Format</a:t>
            </a:r>
            <a:endParaRPr kumimoji="0" lang="en-US" sz="4200" b="1" i="0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DM Sans" pitchFamily="2" charset="7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7080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8392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09600" y="6492875"/>
            <a:ext cx="41148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16532" y="1190589"/>
            <a:ext cx="8054608" cy="442512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Hospital dashboard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b="0" dirty="0">
                <a:solidFill>
                  <a:srgbClr val="444C55"/>
                </a:solidFill>
                <a:latin typeface="DM Sans" pitchFamily="2" charset="77"/>
              </a:rPr>
              <a:t>REDCap run char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Bar charts </a:t>
            </a:r>
            <a:r>
              <a:rPr lang="en-US" sz="2500" b="0" dirty="0">
                <a:solidFill>
                  <a:srgbClr val="444C55"/>
                </a:solidFill>
                <a:latin typeface="DM Sans" pitchFamily="2" charset="77"/>
                <a:ea typeface="Lato Medium"/>
                <a:cs typeface="Lato Medium"/>
              </a:rPr>
              <a:t>&amp; pie char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b="0" dirty="0">
                <a:solidFill>
                  <a:srgbClr val="444C55"/>
                </a:solidFill>
                <a:latin typeface="DM Sans" pitchFamily="2" charset="77"/>
                <a:ea typeface="Lato Medium"/>
                <a:cs typeface="Lato Medium"/>
              </a:rPr>
              <a:t>“Days since last adverse outcome” counters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  <a:sym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415247" y="-1075111"/>
            <a:ext cx="9795553" cy="2696322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How to Present the Data</a:t>
            </a:r>
            <a:endParaRPr kumimoji="0" lang="en-US" sz="4200" b="1" i="0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DM Sans" pitchFamily="2" charset="77"/>
              <a:sym typeface="Arial"/>
            </a:endParaRPr>
          </a:p>
        </p:txBody>
      </p:sp>
      <p:pic>
        <p:nvPicPr>
          <p:cNvPr id="7" name="Google Shape;5291;g374a1498574_0_90" title="Screenshot 2025-08-13 at 11.37.31 AM.png">
            <a:extLst>
              <a:ext uri="{FF2B5EF4-FFF2-40B4-BE49-F238E27FC236}">
                <a16:creationId xmlns:a16="http://schemas.microsoft.com/office/drawing/2014/main" id="{E3EC88B9-C8FD-4853-93FB-A64B4D045DEE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9368" y="3495567"/>
            <a:ext cx="4525626" cy="261366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5292;g374a1498574_0_90" title="Screenshot 2025-08-13 at 11.37.56 AM.png">
            <a:extLst>
              <a:ext uri="{FF2B5EF4-FFF2-40B4-BE49-F238E27FC236}">
                <a16:creationId xmlns:a16="http://schemas.microsoft.com/office/drawing/2014/main" id="{444C2BA1-51AA-40DE-9FB3-D89EF1321B93}"/>
              </a:ext>
            </a:extLst>
          </p:cNvPr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26" t="9113" r="1052" b="4746"/>
          <a:stretch/>
        </p:blipFill>
        <p:spPr>
          <a:xfrm>
            <a:off x="8246701" y="1493160"/>
            <a:ext cx="3335699" cy="190999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98892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274">
          <a:extLst>
            <a:ext uri="{FF2B5EF4-FFF2-40B4-BE49-F238E27FC236}">
              <a16:creationId xmlns:a16="http://schemas.microsoft.com/office/drawing/2014/main" id="{71EA5677-DADA-9AAB-E7AB-46067A7F82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6" name="Google Shape;5276;g374a1498574_0_35">
            <a:extLst>
              <a:ext uri="{FF2B5EF4-FFF2-40B4-BE49-F238E27FC236}">
                <a16:creationId xmlns:a16="http://schemas.microsoft.com/office/drawing/2014/main" id="{783498A2-6141-E462-343B-1AF58837085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35053" y="0"/>
            <a:ext cx="11310000" cy="340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/>
          <a:p>
            <a:pPr marL="139700" lvl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</a:pPr>
            <a:r>
              <a:rPr lang="en-US" sz="24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Hospital dashboards (ex: ESSI Driver Dashboard)</a:t>
            </a:r>
            <a:endParaRPr sz="24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92075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700"/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What they show: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 A high-level snapshot of multiple measures in one place</a:t>
            </a:r>
            <a:endParaRPr sz="22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93345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Why use them: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 Quick overview for leadership, unit leads, or committees; easy to track progress at a glance.</a:t>
            </a:r>
            <a:b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</a:br>
            <a:r>
              <a:rPr lang="en-US" sz="2200" dirty="0" err="1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rEMINDER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: </a:t>
            </a:r>
            <a:r>
              <a:rPr lang="en-US" sz="2200" dirty="0" err="1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aCCESS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 THE </a:t>
            </a:r>
            <a:r>
              <a:rPr lang="en-US" sz="2200" dirty="0" err="1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essi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2200" dirty="0" err="1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dRIVER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2200" dirty="0" err="1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dASHBOARD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2200" dirty="0" err="1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uSER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 guide ON OUR </a:t>
            </a:r>
            <a:r>
              <a:rPr lang="en-US" sz="2200" dirty="0" err="1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essi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 PAGE!</a:t>
            </a:r>
            <a:br>
              <a:rPr lang="en-US" sz="24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</a:br>
            <a:br>
              <a:rPr lang="en-US" sz="24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</a:br>
            <a:endParaRPr sz="24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5277" name="Google Shape;5277;g374a1498574_0_35" title="Screenshot 2025-08-13 at 11.35.25 AM.png">
            <a:extLst>
              <a:ext uri="{FF2B5EF4-FFF2-40B4-BE49-F238E27FC236}">
                <a16:creationId xmlns:a16="http://schemas.microsoft.com/office/drawing/2014/main" id="{4C73EE78-171E-7321-109F-BDEF7E684720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075" y="1849580"/>
            <a:ext cx="10910276" cy="47618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11818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274">
          <a:extLst>
            <a:ext uri="{FF2B5EF4-FFF2-40B4-BE49-F238E27FC236}">
              <a16:creationId xmlns:a16="http://schemas.microsoft.com/office/drawing/2014/main" id="{66D97CB9-01B1-32AE-0377-090CACF927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6" name="Google Shape;5276;g374a1498574_0_35">
            <a:extLst>
              <a:ext uri="{FF2B5EF4-FFF2-40B4-BE49-F238E27FC236}">
                <a16:creationId xmlns:a16="http://schemas.microsoft.com/office/drawing/2014/main" id="{7DC912E9-4475-09B9-95C2-5B9842F0DA9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35053" y="394326"/>
            <a:ext cx="11310000" cy="610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/>
          <a:p>
            <a:pPr marL="139700" lvl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</a:pPr>
            <a:r>
              <a:rPr lang="en-US" sz="2400" u="sng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Reminder:</a:t>
            </a:r>
            <a:endParaRPr sz="2400" u="sng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3" name="Picture 2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DB141483-E39B-A55D-3113-F7B0283BBD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5347" y="165100"/>
            <a:ext cx="5181600" cy="6692900"/>
          </a:xfrm>
          <a:prstGeom prst="rect">
            <a:avLst/>
          </a:prstGeom>
        </p:spPr>
      </p:pic>
      <p:pic>
        <p:nvPicPr>
          <p:cNvPr id="5" name="Picture 4" descr="A screenshot of a web page&#10;&#10;AI-generated content may be incorrect.">
            <a:extLst>
              <a:ext uri="{FF2B5EF4-FFF2-40B4-BE49-F238E27FC236}">
                <a16:creationId xmlns:a16="http://schemas.microsoft.com/office/drawing/2014/main" id="{7B7356A0-72D7-F82F-21C4-21B7951101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3142" y="3830127"/>
            <a:ext cx="4087011" cy="2381490"/>
          </a:xfrm>
          <a:prstGeom prst="rect">
            <a:avLst/>
          </a:prstGeom>
        </p:spPr>
      </p:pic>
      <p:sp>
        <p:nvSpPr>
          <p:cNvPr id="6" name="Google Shape;5276;g374a1498574_0_35">
            <a:extLst>
              <a:ext uri="{FF2B5EF4-FFF2-40B4-BE49-F238E27FC236}">
                <a16:creationId xmlns:a16="http://schemas.microsoft.com/office/drawing/2014/main" id="{96631DAB-6A05-1FA4-3ED7-B98FEED2A2D8}"/>
              </a:ext>
            </a:extLst>
          </p:cNvPr>
          <p:cNvSpPr txBox="1">
            <a:spLocks/>
          </p:cNvSpPr>
          <p:nvPr/>
        </p:nvSpPr>
        <p:spPr>
          <a:xfrm>
            <a:off x="235053" y="1338619"/>
            <a:ext cx="3319030" cy="1884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3970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</a:pPr>
            <a:r>
              <a:rPr lang="en-US" sz="2400" b="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Access our ESSI Driver Dashboard Guide to walk through how to use this report :) </a:t>
            </a:r>
          </a:p>
        </p:txBody>
      </p:sp>
    </p:spTree>
    <p:extLst>
      <p:ext uri="{BB962C8B-B14F-4D97-AF65-F5344CB8AC3E}">
        <p14:creationId xmlns:p14="http://schemas.microsoft.com/office/powerpoint/2010/main" val="240877194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281">
          <a:extLst>
            <a:ext uri="{FF2B5EF4-FFF2-40B4-BE49-F238E27FC236}">
              <a16:creationId xmlns:a16="http://schemas.microsoft.com/office/drawing/2014/main" id="{4F6042B1-C839-1E0C-A178-5AFB7691B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2" name="Google Shape;5282;g374a1498574_0_96">
            <a:extLst>
              <a:ext uri="{FF2B5EF4-FFF2-40B4-BE49-F238E27FC236}">
                <a16:creationId xmlns:a16="http://schemas.microsoft.com/office/drawing/2014/main" id="{8E3AE038-DEE6-7D88-11C6-33EC51BB90E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1000" y="22556"/>
            <a:ext cx="11310000" cy="1990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/>
          <a:p>
            <a:pPr marL="120650" lvl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700"/>
            </a:pPr>
            <a:r>
              <a:rPr lang="en-US" sz="24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Run charts</a:t>
            </a:r>
            <a:endParaRPr sz="24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92075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700"/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What they show: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 Trends in performance over time, point-by-point</a:t>
            </a:r>
            <a:endParaRPr sz="22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93345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Why use them: 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Helps identify improvements, dips, or sustained changes</a:t>
            </a:r>
            <a:br>
              <a:rPr lang="en-US" sz="15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</a:br>
            <a:br>
              <a:rPr lang="en-US" sz="17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</a:br>
            <a:endParaRPr sz="17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5283" name="Google Shape;5283;g374a1498574_0_96" title="Screenshot 2025-08-13 at 11.36.17 AM.png">
            <a:extLst>
              <a:ext uri="{FF2B5EF4-FFF2-40B4-BE49-F238E27FC236}">
                <a16:creationId xmlns:a16="http://schemas.microsoft.com/office/drawing/2014/main" id="{D97D11E8-18B2-9A4B-EE8E-D57D73BBA1D7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528" y="1897811"/>
            <a:ext cx="11889021" cy="4937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6373899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9" name="Google Shape;5289;g374a1498574_0_90"/>
          <p:cNvSpPr txBox="1">
            <a:spLocks noGrp="1"/>
          </p:cNvSpPr>
          <p:nvPr>
            <p:ph type="title"/>
          </p:nvPr>
        </p:nvSpPr>
        <p:spPr>
          <a:xfrm>
            <a:off x="441000" y="86690"/>
            <a:ext cx="11310000" cy="3342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/>
          <a:p>
            <a:pPr marL="120650" lvl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700"/>
            </a:pPr>
            <a:r>
              <a:rPr lang="en-US" sz="24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Bar &amp; pie charts</a:t>
            </a:r>
            <a:endParaRPr sz="24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914400" lvl="1" indent="-3365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700"/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What they show: 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Comparisons between groups or categories (e.g., race/ethnicity, units, insurance types)</a:t>
            </a:r>
            <a:endParaRPr sz="22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914400" lvl="1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Why use them: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 Visually highlight differences or gaps; great for presentations and staff education</a:t>
            </a:r>
            <a:endParaRPr sz="22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None/>
            </a:pPr>
            <a:br>
              <a:rPr lang="en-US" sz="15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</a:br>
            <a:br>
              <a:rPr lang="en-US" sz="17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</a:br>
            <a:endParaRPr sz="17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5291" name="Google Shape;5291;g374a1498574_0_90" title="Screenshot 2025-08-13 at 11.37.31 AM.png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563" y="2454319"/>
            <a:ext cx="6190754" cy="4045996"/>
          </a:xfrm>
          <a:prstGeom prst="rect">
            <a:avLst/>
          </a:prstGeom>
          <a:noFill/>
          <a:ln>
            <a:noFill/>
          </a:ln>
        </p:spPr>
      </p:pic>
      <p:pic>
        <p:nvPicPr>
          <p:cNvPr id="5292" name="Google Shape;5292;g374a1498574_0_90" title="Screenshot 2025-08-13 at 11.37.56 AM.png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26" t="9113" r="1052" b="4746"/>
          <a:stretch/>
        </p:blipFill>
        <p:spPr>
          <a:xfrm>
            <a:off x="8344057" y="4477317"/>
            <a:ext cx="3406943" cy="206192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5289;g374a1498574_0_90">
            <a:extLst>
              <a:ext uri="{FF2B5EF4-FFF2-40B4-BE49-F238E27FC236}">
                <a16:creationId xmlns:a16="http://schemas.microsoft.com/office/drawing/2014/main" id="{8A463F6E-4695-A9A0-85C0-A019230186E2}"/>
              </a:ext>
            </a:extLst>
          </p:cNvPr>
          <p:cNvSpPr txBox="1">
            <a:spLocks/>
          </p:cNvSpPr>
          <p:nvPr/>
        </p:nvSpPr>
        <p:spPr>
          <a:xfrm>
            <a:off x="8995255" y="4278488"/>
            <a:ext cx="2883182" cy="3976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065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  <a:buSzPts val="1700"/>
            </a:pPr>
            <a:r>
              <a:rPr lang="en-US" sz="1200" b="0" i="1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How do we hit our goal?</a:t>
            </a:r>
          </a:p>
        </p:txBody>
      </p:sp>
      <p:sp>
        <p:nvSpPr>
          <p:cNvPr id="3" name="Google Shape;5289;g374a1498574_0_90">
            <a:extLst>
              <a:ext uri="{FF2B5EF4-FFF2-40B4-BE49-F238E27FC236}">
                <a16:creationId xmlns:a16="http://schemas.microsoft.com/office/drawing/2014/main" id="{D19FEE4C-D426-FB36-8EB6-A8232C3822A8}"/>
              </a:ext>
            </a:extLst>
          </p:cNvPr>
          <p:cNvSpPr txBox="1">
            <a:spLocks/>
          </p:cNvSpPr>
          <p:nvPr/>
        </p:nvSpPr>
        <p:spPr>
          <a:xfrm>
            <a:off x="6631754" y="2584836"/>
            <a:ext cx="2883182" cy="610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065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  <a:buSzPts val="1700"/>
            </a:pPr>
            <a:r>
              <a:rPr lang="en-US" sz="1200" b="0" i="1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Can we work on a strategy to address education in this group?</a:t>
            </a:r>
          </a:p>
        </p:txBody>
      </p:sp>
    </p:spTree>
    <p:extLst>
      <p:ext uri="{BB962C8B-B14F-4D97-AF65-F5344CB8AC3E}">
        <p14:creationId xmlns:p14="http://schemas.microsoft.com/office/powerpoint/2010/main" val="136128655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7" name="Google Shape;5297;g374a1498574_0_102"/>
          <p:cNvSpPr txBox="1">
            <a:spLocks noGrp="1"/>
          </p:cNvSpPr>
          <p:nvPr>
            <p:ph type="title"/>
          </p:nvPr>
        </p:nvSpPr>
        <p:spPr>
          <a:xfrm>
            <a:off x="269558" y="248877"/>
            <a:ext cx="11310000" cy="2786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/>
          <a:p>
            <a:pPr marL="457200" lvl="0" indent="-33655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700"/>
              <a:buFont typeface="DM Sans"/>
              <a:buChar char="●"/>
            </a:pPr>
            <a:r>
              <a:rPr lang="en-US" sz="25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Absolute numbers</a:t>
            </a:r>
            <a:endParaRPr sz="25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92075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700"/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What they show: 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Raw counts of events, actions, or outcomes (e.g., number of safe sleep audits completed)</a:t>
            </a:r>
            <a:endParaRPr sz="22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95885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Why use them: </a:t>
            </a:r>
            <a:r>
              <a:rPr lang="en-US" sz="22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Keeps the focus on scale and magnitude; important for context alongside percentages</a:t>
            </a:r>
            <a:br>
              <a:rPr lang="en-US" sz="15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</a:br>
            <a:br>
              <a:rPr lang="en-US" sz="17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</a:br>
            <a:endParaRPr sz="1700" dirty="0">
              <a:solidFill>
                <a:schemeClr val="dk2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" name="Google Shape;5289;g374a1498574_0_90">
            <a:extLst>
              <a:ext uri="{FF2B5EF4-FFF2-40B4-BE49-F238E27FC236}">
                <a16:creationId xmlns:a16="http://schemas.microsoft.com/office/drawing/2014/main" id="{11654EB9-CB3A-4EB4-B0E3-43352269E77F}"/>
              </a:ext>
            </a:extLst>
          </p:cNvPr>
          <p:cNvSpPr txBox="1">
            <a:spLocks/>
          </p:cNvSpPr>
          <p:nvPr/>
        </p:nvSpPr>
        <p:spPr>
          <a:xfrm>
            <a:off x="269557" y="2841216"/>
            <a:ext cx="5826443" cy="4684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065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  <a:buSzPts val="1700"/>
            </a:pPr>
            <a:r>
              <a:rPr lang="en-US" sz="16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Percentage of infants audited in a safe sleep environment </a:t>
            </a:r>
          </a:p>
        </p:txBody>
      </p:sp>
      <p:sp>
        <p:nvSpPr>
          <p:cNvPr id="3" name="Google Shape;5289;g374a1498574_0_90">
            <a:extLst>
              <a:ext uri="{FF2B5EF4-FFF2-40B4-BE49-F238E27FC236}">
                <a16:creationId xmlns:a16="http://schemas.microsoft.com/office/drawing/2014/main" id="{00A20025-BC06-5EB1-32FB-7A16FBE64482}"/>
              </a:ext>
            </a:extLst>
          </p:cNvPr>
          <p:cNvSpPr txBox="1">
            <a:spLocks/>
          </p:cNvSpPr>
          <p:nvPr/>
        </p:nvSpPr>
        <p:spPr>
          <a:xfrm>
            <a:off x="269557" y="3475244"/>
            <a:ext cx="2801447" cy="177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065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  <a:buSzPts val="1700"/>
            </a:pPr>
            <a:r>
              <a:rPr lang="en-US" sz="16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Month: </a:t>
            </a:r>
            <a:r>
              <a:rPr lang="en-US" sz="1600" b="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June 2024</a:t>
            </a:r>
          </a:p>
          <a:p>
            <a:pPr marL="12065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  <a:buSzPts val="1700"/>
            </a:pPr>
            <a:r>
              <a:rPr lang="en-US" sz="16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Numerator: </a:t>
            </a:r>
            <a:r>
              <a:rPr lang="en-US" sz="1600" b="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1279</a:t>
            </a:r>
          </a:p>
          <a:p>
            <a:pPr marL="12065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  <a:buSzPts val="1700"/>
            </a:pPr>
            <a:r>
              <a:rPr lang="en-US" sz="16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Denominator</a:t>
            </a:r>
            <a:r>
              <a:rPr lang="en-US" sz="1600" b="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: 1639</a:t>
            </a:r>
          </a:p>
          <a:p>
            <a:pPr marL="12065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  <a:buSzPts val="1700"/>
            </a:pPr>
            <a:r>
              <a:rPr lang="en-US" sz="16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Percentage</a:t>
            </a:r>
            <a:r>
              <a:rPr lang="en-US" sz="1600" b="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: 78%</a:t>
            </a:r>
          </a:p>
        </p:txBody>
      </p:sp>
      <p:sp>
        <p:nvSpPr>
          <p:cNvPr id="4" name="Google Shape;5289;g374a1498574_0_90">
            <a:extLst>
              <a:ext uri="{FF2B5EF4-FFF2-40B4-BE49-F238E27FC236}">
                <a16:creationId xmlns:a16="http://schemas.microsoft.com/office/drawing/2014/main" id="{74AF7370-539A-3872-28D9-41709685ABA0}"/>
              </a:ext>
            </a:extLst>
          </p:cNvPr>
          <p:cNvSpPr txBox="1">
            <a:spLocks/>
          </p:cNvSpPr>
          <p:nvPr/>
        </p:nvSpPr>
        <p:spPr>
          <a:xfrm>
            <a:off x="5924558" y="3475243"/>
            <a:ext cx="2801447" cy="177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10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065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  <a:buSzPts val="1700"/>
            </a:pPr>
            <a:r>
              <a:rPr lang="en-US" sz="16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Month: </a:t>
            </a:r>
            <a:r>
              <a:rPr lang="en-US" sz="1600" b="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June 2025</a:t>
            </a:r>
          </a:p>
          <a:p>
            <a:pPr marL="12065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  <a:buSzPts val="1700"/>
            </a:pPr>
            <a:r>
              <a:rPr lang="en-US" sz="16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Numerator: </a:t>
            </a:r>
            <a:r>
              <a:rPr lang="en-US" sz="1600" b="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1041</a:t>
            </a:r>
          </a:p>
          <a:p>
            <a:pPr marL="12065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  <a:buSzPts val="1700"/>
            </a:pPr>
            <a:r>
              <a:rPr lang="en-US" sz="16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Denominator: </a:t>
            </a:r>
            <a:r>
              <a:rPr lang="en-US" sz="1600" b="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1259</a:t>
            </a:r>
          </a:p>
          <a:p>
            <a:pPr marL="120650">
              <a:lnSpc>
                <a:spcPct val="115000"/>
              </a:lnSpc>
              <a:spcBef>
                <a:spcPts val="1200"/>
              </a:spcBef>
              <a:buClr>
                <a:schemeClr val="dk2"/>
              </a:buClr>
              <a:buSzPts val="1700"/>
            </a:pPr>
            <a:r>
              <a:rPr lang="en-US" sz="160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Percentage: </a:t>
            </a:r>
            <a:r>
              <a:rPr lang="en-US" sz="1600" b="0" dirty="0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82.7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A6165D-4230-3BC2-3D67-366C8F91C328}"/>
              </a:ext>
            </a:extLst>
          </p:cNvPr>
          <p:cNvSpPr txBox="1"/>
          <p:nvPr/>
        </p:nvSpPr>
        <p:spPr>
          <a:xfrm>
            <a:off x="8765189" y="4270642"/>
            <a:ext cx="29329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Table view of numerators and denominator values are available for all </a:t>
            </a:r>
            <a:r>
              <a:rPr lang="en-US" i="1" dirty="0" err="1"/>
              <a:t>REDCap</a:t>
            </a:r>
            <a:r>
              <a:rPr lang="en-US" i="1" dirty="0"/>
              <a:t> line graph visualizations. </a:t>
            </a:r>
          </a:p>
        </p:txBody>
      </p:sp>
      <p:pic>
        <p:nvPicPr>
          <p:cNvPr id="7" name="Picture 6" descr="A screenshot of a calendar&#10;&#10;AI-generated content may be incorrect.">
            <a:extLst>
              <a:ext uri="{FF2B5EF4-FFF2-40B4-BE49-F238E27FC236}">
                <a16:creationId xmlns:a16="http://schemas.microsoft.com/office/drawing/2014/main" id="{0571880A-0BE0-1F60-3F5D-F1246CDB6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038" y="5821723"/>
            <a:ext cx="4635500" cy="787400"/>
          </a:xfrm>
          <a:prstGeom prst="rect">
            <a:avLst/>
          </a:prstGeom>
        </p:spPr>
      </p:pic>
      <p:pic>
        <p:nvPicPr>
          <p:cNvPr id="9" name="Picture 8" descr="A screenshot of a calendar&#10;&#10;AI-generated content may be incorrect.">
            <a:extLst>
              <a:ext uri="{FF2B5EF4-FFF2-40B4-BE49-F238E27FC236}">
                <a16:creationId xmlns:a16="http://schemas.microsoft.com/office/drawing/2014/main" id="{EA1A69FC-109D-2DE4-D3D3-A18B679111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1580" y="5825557"/>
            <a:ext cx="4610100" cy="762000"/>
          </a:xfrm>
          <a:prstGeom prst="rect">
            <a:avLst/>
          </a:prstGeom>
        </p:spPr>
      </p:pic>
      <p:sp>
        <p:nvSpPr>
          <p:cNvPr id="10" name="Down Arrow 9">
            <a:extLst>
              <a:ext uri="{FF2B5EF4-FFF2-40B4-BE49-F238E27FC236}">
                <a16:creationId xmlns:a16="http://schemas.microsoft.com/office/drawing/2014/main" id="{E7F3156A-8824-BF8B-9E23-99E34F7EBF71}"/>
              </a:ext>
            </a:extLst>
          </p:cNvPr>
          <p:cNvSpPr/>
          <p:nvPr/>
        </p:nvSpPr>
        <p:spPr>
          <a:xfrm rot="10800000">
            <a:off x="5053538" y="3891844"/>
            <a:ext cx="429780" cy="1362974"/>
          </a:xfrm>
          <a:prstGeom prst="downArrow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367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16"/>
          <p:cNvSpPr txBox="1">
            <a:spLocks noGrp="1"/>
          </p:cNvSpPr>
          <p:nvPr>
            <p:ph type="sldNum" sz="quarter" idx="4294967295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M Sans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EB3B7"/>
                </a:buClr>
                <a:buSzPts val="1200"/>
                <a:buFont typeface="Calibri"/>
                <a:buNone/>
                <a:tabLst/>
                <a:defRPr/>
              </a:pPr>
              <a:t>5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368;p16">
            <a:extLst>
              <a:ext uri="{FF2B5EF4-FFF2-40B4-BE49-F238E27FC236}">
                <a16:creationId xmlns:a16="http://schemas.microsoft.com/office/drawing/2014/main" id="{4861B0C5-5C0A-19EB-150E-E95303EA0BBC}"/>
              </a:ext>
            </a:extLst>
          </p:cNvPr>
          <p:cNvSpPr txBox="1">
            <a:spLocks/>
          </p:cNvSpPr>
          <p:nvPr/>
        </p:nvSpPr>
        <p:spPr>
          <a:xfrm>
            <a:off x="8194273" y="3705015"/>
            <a:ext cx="4402346" cy="132556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The Westin Lombard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F58366"/>
              </a:solidFill>
              <a:effectLst/>
              <a:uLnTx/>
              <a:uFillTx/>
              <a:latin typeface="DM Sans" pitchFamily="2" charset="7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Hotel Room Block</a:t>
            </a:r>
            <a:b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</a:br>
            <a:r>
              <a:rPr lang="en-US" sz="2600" dirty="0">
                <a:solidFill>
                  <a:srgbClr val="F58366"/>
                </a:solidFill>
                <a:latin typeface="DM Sans" pitchFamily="2" charset="77"/>
                <a:ea typeface="Lato Medium"/>
                <a:cs typeface="Lato Medium"/>
              </a:rPr>
              <a:t>will be available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F58366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368" name="Google Shape;368;p16"/>
          <p:cNvSpPr txBox="1">
            <a:spLocks noGrp="1"/>
          </p:cNvSpPr>
          <p:nvPr>
            <p:ph type="title" idx="4294967295"/>
          </p:nvPr>
        </p:nvSpPr>
        <p:spPr>
          <a:xfrm>
            <a:off x="8524951" y="2114695"/>
            <a:ext cx="3740990" cy="1325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algn="ctr"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4400" dirty="0">
                <a:latin typeface="DM Sans" pitchFamily="2" charset="77"/>
                <a:ea typeface="Lato Medium"/>
                <a:cs typeface="Lato Medium"/>
              </a:rPr>
              <a:t>Registration </a:t>
            </a:r>
            <a:br>
              <a:rPr lang="en-US" sz="4400" dirty="0">
                <a:latin typeface="DM Sans" pitchFamily="2" charset="77"/>
                <a:ea typeface="Lato Medium"/>
                <a:cs typeface="Lato Medium"/>
              </a:rPr>
            </a:br>
            <a:r>
              <a:rPr lang="en-US" sz="4400" dirty="0">
                <a:latin typeface="DM Sans" pitchFamily="2" charset="77"/>
                <a:ea typeface="Lato Medium"/>
                <a:cs typeface="Lato Medium"/>
              </a:rPr>
              <a:t>Coming So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194FC7-204E-107F-23FB-A58A3461F076}"/>
              </a:ext>
            </a:extLst>
          </p:cNvPr>
          <p:cNvSpPr txBox="1"/>
          <p:nvPr/>
        </p:nvSpPr>
        <p:spPr>
          <a:xfrm>
            <a:off x="353246" y="5472501"/>
            <a:ext cx="10510848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Make sure at least </a:t>
            </a:r>
            <a:r>
              <a:rPr kumimoji="0" lang="en-US" sz="2800" b="1" i="0" u="sng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one </a:t>
            </a:r>
            <a:r>
              <a:rPr kumimoji="0" lang="en-US" sz="2800" b="1" i="1" u="sng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physician champio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, </a:t>
            </a:r>
            <a:r>
              <a:rPr kumimoji="0" lang="en-US" sz="2800" b="1" i="0" u="sng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one </a:t>
            </a:r>
            <a:r>
              <a:rPr kumimoji="0" lang="en-US" sz="2800" b="1" i="1" u="sng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nurse champio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, and </a:t>
            </a:r>
            <a:r>
              <a:rPr kumimoji="0" lang="en-US" sz="2800" b="1" i="0" u="sng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a </a:t>
            </a:r>
            <a:r>
              <a:rPr kumimoji="0" lang="en-US" sz="2800" b="1" i="1" u="sng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parent partner</a:t>
            </a: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are there to represent your hospital.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Calibri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2983540-6166-4BCF-9F31-9418A76A54B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031" y="765463"/>
            <a:ext cx="8078920" cy="4554638"/>
          </a:xfrm>
          <a:prstGeom prst="rect">
            <a:avLst/>
          </a:prstGeom>
        </p:spPr>
      </p:pic>
      <p:sp>
        <p:nvSpPr>
          <p:cNvPr id="5" name="Rectangle 1">
            <a:extLst>
              <a:ext uri="{FF2B5EF4-FFF2-40B4-BE49-F238E27FC236}">
                <a16:creationId xmlns:a16="http://schemas.microsoft.com/office/drawing/2014/main" id="{82229051-FB6A-4F95-9ED5-8D19A1E311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1127417D-B58F-4038-AF6F-26FEFD2231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22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11FD2BB5-BA35-4DB4-B4E2-A80B1F806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0" y="1201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6" name="Freeform 2">
            <a:extLst>
              <a:ext uri="{FF2B5EF4-FFF2-40B4-BE49-F238E27FC236}">
                <a16:creationId xmlns:a16="http://schemas.microsoft.com/office/drawing/2014/main" id="{6A83F34B-CE53-462A-9330-9765AA5E8CB3}"/>
              </a:ext>
            </a:extLst>
          </p:cNvPr>
          <p:cNvSpPr/>
          <p:nvPr/>
        </p:nvSpPr>
        <p:spPr>
          <a:xfrm>
            <a:off x="3272117" y="3236259"/>
            <a:ext cx="1801577" cy="2194045"/>
          </a:xfrm>
          <a:custGeom>
            <a:avLst/>
            <a:gdLst/>
            <a:ahLst/>
            <a:cxnLst/>
            <a:rect l="l" t="t" r="r" b="b"/>
            <a:pathLst>
              <a:path w="4407761" h="4369193">
                <a:moveTo>
                  <a:pt x="0" y="0"/>
                </a:moveTo>
                <a:lnTo>
                  <a:pt x="4407761" y="0"/>
                </a:lnTo>
                <a:lnTo>
                  <a:pt x="4407761" y="4369193"/>
                </a:lnTo>
                <a:lnTo>
                  <a:pt x="0" y="4369193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937614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16532" y="1676136"/>
            <a:ext cx="11358936" cy="442512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lang="en-US" sz="2500" b="0" dirty="0">
                <a:solidFill>
                  <a:srgbClr val="444C55"/>
                </a:solidFill>
                <a:latin typeface="DM Sans" pitchFamily="2" charset="77"/>
              </a:rPr>
              <a:t>Pair</a:t>
            </a: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 your message </a:t>
            </a:r>
            <a:r>
              <a:rPr lang="en-US" sz="2500" b="0" dirty="0">
                <a:solidFill>
                  <a:srgbClr val="444C55"/>
                </a:solidFill>
                <a:latin typeface="DM Sans" pitchFamily="2" charset="77"/>
              </a:rPr>
              <a:t>with</a:t>
            </a: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 your audience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Keep visuals relevant and straightforward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defRPr/>
            </a:pPr>
            <a:r>
              <a:rPr lang="en-US" sz="2500" b="0" dirty="0">
                <a:solidFill>
                  <a:srgbClr val="444C55"/>
                </a:solidFill>
                <a:latin typeface="DM Sans" pitchFamily="2" charset="77"/>
              </a:rPr>
              <a:t>Use consistent, reliable formats so your team knows where to look for updates</a:t>
            </a:r>
            <a:endParaRPr lang="en-US" sz="2200" b="0" dirty="0">
              <a:solidFill>
                <a:srgbClr val="444C55"/>
              </a:solidFill>
              <a:latin typeface="DM Sans" pitchFamily="2" charset="77"/>
              <a:ea typeface="Lato Medium"/>
              <a:cs typeface="Lato Medium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Goal for September webinar: Combine data with stories to inspire actio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416532" y="-855002"/>
            <a:ext cx="9795553" cy="2696322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ESSI Data Disseminatio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  <a:sym typeface="Arial"/>
              </a:rPr>
              <a:t>Key Takeaways</a:t>
            </a:r>
            <a:endParaRPr kumimoji="0" lang="en-US" sz="4200" b="1" i="0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DM Sans" pitchFamily="2" charset="77"/>
              <a:sym typeface="Arial"/>
            </a:endParaRPr>
          </a:p>
        </p:txBody>
      </p:sp>
      <p:pic>
        <p:nvPicPr>
          <p:cNvPr id="6" name="Google Shape;5186;p24">
            <a:extLst>
              <a:ext uri="{FF2B5EF4-FFF2-40B4-BE49-F238E27FC236}">
                <a16:creationId xmlns:a16="http://schemas.microsoft.com/office/drawing/2014/main" id="{EBE15A42-E18C-4919-B9F2-BB8F25C09637}"/>
              </a:ext>
            </a:extLst>
          </p:cNvPr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81160" y="1515431"/>
            <a:ext cx="1856096" cy="17485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8105262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8" name="Google Shape;5328;p30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DM Sans" pitchFamily="2" charset="77"/>
            </a:endParaRPr>
          </a:p>
        </p:txBody>
      </p:sp>
      <p:grpSp>
        <p:nvGrpSpPr>
          <p:cNvPr id="5329" name="Google Shape;5329;p30"/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5330" name="Google Shape;5330;p30"/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5331" name="Google Shape;5331;p30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332" name="Google Shape;5332;p30"/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  <p:pic>
          <p:nvPicPr>
            <p:cNvPr id="5333" name="Google Shape;5333;p3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34" name="Google Shape;5334;p30"/>
          <p:cNvSpPr txBox="1">
            <a:spLocks noGrp="1"/>
          </p:cNvSpPr>
          <p:nvPr>
            <p:ph type="title"/>
          </p:nvPr>
        </p:nvSpPr>
        <p:spPr>
          <a:xfrm>
            <a:off x="750341" y="1337944"/>
            <a:ext cx="10520409" cy="1121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latin typeface="DM Sans" pitchFamily="2" charset="77"/>
                <a:ea typeface="DM Sans"/>
                <a:cs typeface="DM Sans"/>
                <a:sym typeface="DM Sans"/>
              </a:rPr>
              <a:t>Introduction &amp; Walkthrough of </a:t>
            </a:r>
            <a:br>
              <a:rPr lang="en-US" sz="3600" dirty="0">
                <a:latin typeface="DM Sans" pitchFamily="2" charset="77"/>
                <a:ea typeface="DM Sans"/>
                <a:cs typeface="DM Sans"/>
                <a:sym typeface="DM Sans"/>
              </a:rPr>
            </a:br>
            <a:r>
              <a:rPr lang="en-US" sz="3600" dirty="0">
                <a:latin typeface="DM Sans" pitchFamily="2" charset="77"/>
                <a:ea typeface="DM Sans"/>
                <a:cs typeface="DM Sans"/>
                <a:sym typeface="DM Sans"/>
              </a:rPr>
              <a:t>New REDCap Reports:</a:t>
            </a:r>
          </a:p>
        </p:txBody>
      </p:sp>
      <p:sp>
        <p:nvSpPr>
          <p:cNvPr id="5335" name="Google Shape;5335;p30"/>
          <p:cNvSpPr txBox="1"/>
          <p:nvPr/>
        </p:nvSpPr>
        <p:spPr>
          <a:xfrm>
            <a:off x="1328737" y="2481570"/>
            <a:ext cx="8922900" cy="22788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6500" rIns="0" bIns="0" anchor="t" anchorCtr="0">
            <a:spAutoFit/>
          </a:bodyPr>
          <a:lstStyle/>
          <a:p>
            <a:pPr marL="1270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50" i="1" dirty="0">
                <a:solidFill>
                  <a:srgbClr val="1C488A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Three stratified reports are available quarterly</a:t>
            </a:r>
            <a:r>
              <a:rPr lang="en-US" sz="2450" i="1" dirty="0">
                <a:solidFill>
                  <a:schemeClr val="bg2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:</a:t>
            </a:r>
          </a:p>
          <a:p>
            <a:pPr marL="527050" lvl="3" indent="-514350">
              <a:lnSpc>
                <a:spcPct val="150000"/>
              </a:lnSpc>
              <a:buFont typeface="+mj-lt"/>
              <a:buAutoNum type="romanLcPeriod"/>
            </a:pPr>
            <a:r>
              <a:rPr lang="en-US" sz="2450" i="1" dirty="0">
                <a:solidFill>
                  <a:schemeClr val="bg2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Birthing Person Race/Ethnicity, </a:t>
            </a:r>
          </a:p>
          <a:p>
            <a:pPr marL="527050" lvl="3" indent="-514350">
              <a:lnSpc>
                <a:spcPct val="150000"/>
              </a:lnSpc>
              <a:buFont typeface="+mj-lt"/>
              <a:buAutoNum type="romanLcPeriod"/>
            </a:pPr>
            <a:r>
              <a:rPr lang="en-US" sz="2450" i="1" dirty="0">
                <a:solidFill>
                  <a:schemeClr val="bg2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Infant Race/Ethnicity</a:t>
            </a:r>
          </a:p>
          <a:p>
            <a:pPr marL="527050" lvl="3" indent="-514350">
              <a:lnSpc>
                <a:spcPct val="150000"/>
              </a:lnSpc>
              <a:buFont typeface="+mj-lt"/>
              <a:buAutoNum type="romanLcPeriod"/>
            </a:pPr>
            <a:r>
              <a:rPr lang="en-US" sz="2450" i="1" dirty="0">
                <a:solidFill>
                  <a:schemeClr val="bg2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Insurance</a:t>
            </a:r>
            <a:endParaRPr sz="2450" dirty="0">
              <a:solidFill>
                <a:schemeClr val="bg2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5336" name="Google Shape;5336;p30"/>
          <p:cNvSpPr txBox="1"/>
          <p:nvPr/>
        </p:nvSpPr>
        <p:spPr>
          <a:xfrm>
            <a:off x="11900534" y="6434454"/>
            <a:ext cx="213360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sym typeface="Arial"/>
              </a:rPr>
              <a:t>30</a:t>
            </a:r>
            <a:endParaRPr sz="1200">
              <a:latin typeface="DM Sans" pitchFamily="2" charset="77"/>
              <a:sym typeface="Arial"/>
            </a:endParaRPr>
          </a:p>
        </p:txBody>
      </p:sp>
      <p:sp>
        <p:nvSpPr>
          <p:cNvPr id="5337" name="Google Shape;5337;p30"/>
          <p:cNvSpPr txBox="1"/>
          <p:nvPr/>
        </p:nvSpPr>
        <p:spPr>
          <a:xfrm>
            <a:off x="78739" y="6434454"/>
            <a:ext cx="2623820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919396"/>
                </a:solidFill>
                <a:latin typeface="DM Sans" pitchFamily="2" charset="77"/>
                <a:sym typeface="Arial"/>
              </a:rPr>
              <a:t>Illinois Perinatal Quality Collaborative</a:t>
            </a:r>
            <a:endParaRPr sz="1200">
              <a:latin typeface="DM Sans" pitchFamily="2" charset="77"/>
              <a:sym typeface="Arial"/>
            </a:endParaRPr>
          </a:p>
        </p:txBody>
      </p:sp>
      <p:pic>
        <p:nvPicPr>
          <p:cNvPr id="12" name="Google Shape;5344;g374a1498574_0_23" title="Data computer color.png">
            <a:extLst>
              <a:ext uri="{FF2B5EF4-FFF2-40B4-BE49-F238E27FC236}">
                <a16:creationId xmlns:a16="http://schemas.microsoft.com/office/drawing/2014/main" id="{F0079039-A0C2-479A-A1EB-E664BBCEA9CE}"/>
              </a:ext>
            </a:extLst>
          </p:cNvPr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354513">
            <a:off x="7628403" y="3240067"/>
            <a:ext cx="3276599" cy="273717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98299CD-F807-4334-A1EC-D05CFAEA5D9B}"/>
              </a:ext>
            </a:extLst>
          </p:cNvPr>
          <p:cNvSpPr/>
          <p:nvPr/>
        </p:nvSpPr>
        <p:spPr>
          <a:xfrm rot="21079183">
            <a:off x="8089362" y="4579664"/>
            <a:ext cx="2354678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DM Sans" pitchFamily="2" charset="77"/>
              </a:rPr>
              <a:t>DEMO</a:t>
            </a: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1" name="Google Shape;5361;p34"/>
          <p:cNvSpPr/>
          <p:nvPr/>
        </p:nvSpPr>
        <p:spPr>
          <a:xfrm>
            <a:off x="0" y="-1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5362" name="Google Shape;5362;p34"/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5363" name="Google Shape;5363;p34"/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4" name="Google Shape;5364;p34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365" name="Google Shape;5365;p34"/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6" name="Google Shape;5366;p3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67" name="Google Shape;5367;p34"/>
          <p:cNvSpPr txBox="1">
            <a:spLocks noGrp="1"/>
          </p:cNvSpPr>
          <p:nvPr>
            <p:ph type="title"/>
          </p:nvPr>
        </p:nvSpPr>
        <p:spPr>
          <a:xfrm>
            <a:off x="1493277" y="2074175"/>
            <a:ext cx="10010400" cy="5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latin typeface="DM Sans"/>
                <a:ea typeface="DM Sans"/>
                <a:cs typeface="DM Sans"/>
                <a:sym typeface="DM Sans"/>
              </a:rPr>
              <a:t>Goal with Stratified REDCap Reports</a:t>
            </a:r>
          </a:p>
        </p:txBody>
      </p:sp>
    </p:spTree>
    <p:extLst>
      <p:ext uri="{BB962C8B-B14F-4D97-AF65-F5344CB8AC3E}">
        <p14:creationId xmlns:p14="http://schemas.microsoft.com/office/powerpoint/2010/main" val="344730833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sym typeface="Arial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16532" y="1841320"/>
            <a:ext cx="11675384" cy="442512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Share findings with the broader hospital team to identify opportunities for additional engagement and support.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Use stratified data to identify disparities/ highlight areas for improvement</a:t>
            </a:r>
          </a:p>
          <a:p>
            <a:pPr marR="0" lvl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r>
              <a:rPr kumimoji="0" lang="en-US" sz="2500" b="0" i="1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Are ESSI education and conversations reaching all populations equitably? </a:t>
            </a:r>
          </a:p>
          <a:p>
            <a:pPr marR="0" lvl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Get ready to dive deeper into</a:t>
            </a:r>
          </a:p>
          <a:p>
            <a:pPr marR="0" lvl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 </a:t>
            </a:r>
            <a:r>
              <a:rPr kumimoji="0" lang="en-US" sz="2500" i="1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M Sans" pitchFamily="2" charset="77"/>
                <a:sym typeface="Arial"/>
              </a:rPr>
              <a:t>September’s “Application of Data to Address Inequities” webinar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415247" y="-944904"/>
            <a:ext cx="9795553" cy="2696322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latin typeface="DM Sans"/>
                <a:ea typeface="DM Sans"/>
                <a:cs typeface="DM Sans"/>
                <a:sym typeface="DM Sans"/>
              </a:rPr>
              <a:t>Acting on Stratified Data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latin typeface="DM Sans"/>
                <a:ea typeface="DM Sans"/>
                <a:cs typeface="DM Sans"/>
                <a:sym typeface="DM Sans"/>
              </a:rPr>
              <a:t>After Dissemination</a:t>
            </a:r>
            <a:endParaRPr kumimoji="0" lang="en-US" sz="4200" b="1" i="0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DM Sans" pitchFamily="2" charset="7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349519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1" name="Google Shape;5361;p3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/>
          </a:p>
        </p:txBody>
      </p:sp>
      <p:grpSp>
        <p:nvGrpSpPr>
          <p:cNvPr id="5362" name="Google Shape;5362;p34"/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5363" name="Google Shape;5363;p34"/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4" name="Google Shape;5364;p34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365" name="Google Shape;5365;p34"/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6" name="Google Shape;5366;p3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67" name="Google Shape;5367;p34"/>
          <p:cNvSpPr txBox="1">
            <a:spLocks noGrp="1"/>
          </p:cNvSpPr>
          <p:nvPr>
            <p:ph type="title"/>
          </p:nvPr>
        </p:nvSpPr>
        <p:spPr>
          <a:xfrm>
            <a:off x="440855" y="590431"/>
            <a:ext cx="10010400" cy="1121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latin typeface="DM Sans"/>
                <a:ea typeface="DM Sans"/>
                <a:cs typeface="DM Sans"/>
                <a:sym typeface="DM Sans"/>
              </a:rPr>
              <a:t>Poll: Are you excited to see your data stratified?</a:t>
            </a:r>
            <a:endParaRPr sz="3600" dirty="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" name="Google Shape;5367;p34">
            <a:extLst>
              <a:ext uri="{FF2B5EF4-FFF2-40B4-BE49-F238E27FC236}">
                <a16:creationId xmlns:a16="http://schemas.microsoft.com/office/drawing/2014/main" id="{E5F47713-E657-DC04-4B97-893605407B73}"/>
              </a:ext>
            </a:extLst>
          </p:cNvPr>
          <p:cNvSpPr txBox="1">
            <a:spLocks/>
          </p:cNvSpPr>
          <p:nvPr/>
        </p:nvSpPr>
        <p:spPr>
          <a:xfrm>
            <a:off x="659382" y="2178622"/>
            <a:ext cx="10010400" cy="1306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42950" indent="-742950">
              <a:buSzPct val="99000"/>
              <a:buFont typeface="+mj-lt"/>
              <a:buAutoNum type="arabicPeriod"/>
            </a:pPr>
            <a:r>
              <a:rPr lang="en-US" sz="2800" b="0" dirty="0">
                <a:latin typeface="DM Sans" pitchFamily="2" charset="77"/>
              </a:rPr>
              <a:t>Duh, let’s get into it! </a:t>
            </a:r>
          </a:p>
          <a:p>
            <a:pPr marL="742950" indent="-742950">
              <a:buSzPct val="99000"/>
              <a:buFont typeface="+mj-lt"/>
              <a:buAutoNum type="arabicPeriod"/>
            </a:pPr>
            <a:r>
              <a:rPr lang="en-US" sz="2800" b="0" dirty="0">
                <a:latin typeface="DM Sans" pitchFamily="2" charset="77"/>
              </a:rPr>
              <a:t>Hm, yes but I’ll need guidance </a:t>
            </a:r>
          </a:p>
          <a:p>
            <a:pPr marL="742950" indent="-742950">
              <a:buSzPct val="99000"/>
              <a:buFont typeface="+mj-lt"/>
              <a:buAutoNum type="arabicPeriod"/>
            </a:pPr>
            <a:r>
              <a:rPr lang="en-US" sz="2800" b="0" dirty="0">
                <a:latin typeface="DM Sans" pitchFamily="2" charset="77"/>
              </a:rPr>
              <a:t>Not sure, but open</a:t>
            </a:r>
          </a:p>
        </p:txBody>
      </p:sp>
    </p:spTree>
    <p:extLst>
      <p:ext uri="{BB962C8B-B14F-4D97-AF65-F5344CB8AC3E}">
        <p14:creationId xmlns:p14="http://schemas.microsoft.com/office/powerpoint/2010/main" val="427325401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360">
          <a:extLst>
            <a:ext uri="{FF2B5EF4-FFF2-40B4-BE49-F238E27FC236}">
              <a16:creationId xmlns:a16="http://schemas.microsoft.com/office/drawing/2014/main" id="{2614930B-3E09-C7F4-3189-19DA6A20B9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1" name="Google Shape;5361;p34">
            <a:extLst>
              <a:ext uri="{FF2B5EF4-FFF2-40B4-BE49-F238E27FC236}">
                <a16:creationId xmlns:a16="http://schemas.microsoft.com/office/drawing/2014/main" id="{0B8CA914-FF91-58B0-333B-28825D01077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/>
          </a:p>
        </p:txBody>
      </p:sp>
      <p:grpSp>
        <p:nvGrpSpPr>
          <p:cNvPr id="5362" name="Google Shape;5362;p34">
            <a:extLst>
              <a:ext uri="{FF2B5EF4-FFF2-40B4-BE49-F238E27FC236}">
                <a16:creationId xmlns:a16="http://schemas.microsoft.com/office/drawing/2014/main" id="{95328075-8795-DF1C-FB1E-C91439805C1F}"/>
              </a:ext>
            </a:extLst>
          </p:cNvPr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5363" name="Google Shape;5363;p34">
              <a:extLst>
                <a:ext uri="{FF2B5EF4-FFF2-40B4-BE49-F238E27FC236}">
                  <a16:creationId xmlns:a16="http://schemas.microsoft.com/office/drawing/2014/main" id="{744A7D6A-4B64-5ED3-9E63-4E2D899E8B8C}"/>
                </a:ext>
              </a:extLst>
            </p:cNvPr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4" name="Google Shape;5364;p34">
              <a:extLst>
                <a:ext uri="{FF2B5EF4-FFF2-40B4-BE49-F238E27FC236}">
                  <a16:creationId xmlns:a16="http://schemas.microsoft.com/office/drawing/2014/main" id="{4D32E58D-1213-9A64-3A8F-21754D63D597}"/>
                </a:ext>
              </a:extLst>
            </p:cNvPr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365" name="Google Shape;5365;p34">
              <a:extLst>
                <a:ext uri="{FF2B5EF4-FFF2-40B4-BE49-F238E27FC236}">
                  <a16:creationId xmlns:a16="http://schemas.microsoft.com/office/drawing/2014/main" id="{A3032008-CD59-FA11-A362-2CD4E120BB47}"/>
                </a:ext>
              </a:extLst>
            </p:cNvPr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6" name="Google Shape;5366;p34">
              <a:extLst>
                <a:ext uri="{FF2B5EF4-FFF2-40B4-BE49-F238E27FC236}">
                  <a16:creationId xmlns:a16="http://schemas.microsoft.com/office/drawing/2014/main" id="{2D7C9362-3B62-8315-342E-F65836547C4B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67" name="Google Shape;5367;p34">
            <a:extLst>
              <a:ext uri="{FF2B5EF4-FFF2-40B4-BE49-F238E27FC236}">
                <a16:creationId xmlns:a16="http://schemas.microsoft.com/office/drawing/2014/main" id="{41163E35-BF6F-8808-9489-83C7F8ABB8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0855" y="590431"/>
            <a:ext cx="10010400" cy="5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latin typeface="DM Sans"/>
                <a:ea typeface="DM Sans"/>
                <a:cs typeface="DM Sans"/>
                <a:sym typeface="DM Sans"/>
              </a:rPr>
              <a:t>Pause and Share!</a:t>
            </a:r>
            <a:endParaRPr sz="3600" dirty="0"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" name="Google Shape;5367;p34">
            <a:extLst>
              <a:ext uri="{FF2B5EF4-FFF2-40B4-BE49-F238E27FC236}">
                <a16:creationId xmlns:a16="http://schemas.microsoft.com/office/drawing/2014/main" id="{A9C76785-4B04-4FD0-130F-ECD8CC85A575}"/>
              </a:ext>
            </a:extLst>
          </p:cNvPr>
          <p:cNvSpPr txBox="1">
            <a:spLocks/>
          </p:cNvSpPr>
          <p:nvPr/>
        </p:nvSpPr>
        <p:spPr>
          <a:xfrm>
            <a:off x="440855" y="1942262"/>
            <a:ext cx="10010400" cy="1675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250" b="1" i="0" u="none" strike="noStrike" cap="none">
                <a:solidFill>
                  <a:srgbClr val="1C488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600" dirty="0">
                <a:latin typeface="DM Sans" pitchFamily="2" charset="77"/>
              </a:rPr>
              <a:t>Let’s think about our homework last month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b="0" dirty="0">
                <a:latin typeface="DM Sans" pitchFamily="2" charset="77"/>
              </a:rPr>
              <a:t>What’s working well at your hospital?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b="0" dirty="0">
                <a:latin typeface="DM Sans" pitchFamily="2" charset="77"/>
              </a:rPr>
              <a:t>What’s one step you’d like to try next?</a:t>
            </a:r>
          </a:p>
        </p:txBody>
      </p:sp>
    </p:spTree>
    <p:extLst>
      <p:ext uri="{BB962C8B-B14F-4D97-AF65-F5344CB8AC3E}">
        <p14:creationId xmlns:p14="http://schemas.microsoft.com/office/powerpoint/2010/main" val="357866447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360">
          <a:extLst>
            <a:ext uri="{FF2B5EF4-FFF2-40B4-BE49-F238E27FC236}">
              <a16:creationId xmlns:a16="http://schemas.microsoft.com/office/drawing/2014/main" id="{E1352EA7-806C-1DC5-4DC2-6216653A4E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1" name="Google Shape;5361;p34">
            <a:extLst>
              <a:ext uri="{FF2B5EF4-FFF2-40B4-BE49-F238E27FC236}">
                <a16:creationId xmlns:a16="http://schemas.microsoft.com/office/drawing/2014/main" id="{0FB0FB2C-D867-9A3C-6E07-06A18E5C50A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5362" name="Google Shape;5362;p34">
            <a:extLst>
              <a:ext uri="{FF2B5EF4-FFF2-40B4-BE49-F238E27FC236}">
                <a16:creationId xmlns:a16="http://schemas.microsoft.com/office/drawing/2014/main" id="{56DF5248-49B6-8C4B-1F4F-2582A0536C4B}"/>
              </a:ext>
            </a:extLst>
          </p:cNvPr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5363" name="Google Shape;5363;p34">
              <a:extLst>
                <a:ext uri="{FF2B5EF4-FFF2-40B4-BE49-F238E27FC236}">
                  <a16:creationId xmlns:a16="http://schemas.microsoft.com/office/drawing/2014/main" id="{6A367679-656A-6DE1-048D-03BB79A9E7BB}"/>
                </a:ext>
              </a:extLst>
            </p:cNvPr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4" name="Google Shape;5364;p34">
              <a:extLst>
                <a:ext uri="{FF2B5EF4-FFF2-40B4-BE49-F238E27FC236}">
                  <a16:creationId xmlns:a16="http://schemas.microsoft.com/office/drawing/2014/main" id="{649A7AFD-EF22-95C2-464D-2442426817CA}"/>
                </a:ext>
              </a:extLst>
            </p:cNvPr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365" name="Google Shape;5365;p34">
              <a:extLst>
                <a:ext uri="{FF2B5EF4-FFF2-40B4-BE49-F238E27FC236}">
                  <a16:creationId xmlns:a16="http://schemas.microsoft.com/office/drawing/2014/main" id="{F64E04E3-9D3B-4FB8-EF1C-D668314C32A9}"/>
                </a:ext>
              </a:extLst>
            </p:cNvPr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6" name="Google Shape;5366;p34">
              <a:extLst>
                <a:ext uri="{FF2B5EF4-FFF2-40B4-BE49-F238E27FC236}">
                  <a16:creationId xmlns:a16="http://schemas.microsoft.com/office/drawing/2014/main" id="{2A585F45-3441-5214-31FC-DBCFBB57F6BF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67" name="Google Shape;5367;p34">
            <a:extLst>
              <a:ext uri="{FF2B5EF4-FFF2-40B4-BE49-F238E27FC236}">
                <a16:creationId xmlns:a16="http://schemas.microsoft.com/office/drawing/2014/main" id="{6A8D25FF-544C-6DB4-8128-2F531C9596A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93277" y="2074175"/>
            <a:ext cx="10010400" cy="5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latin typeface="DM Sans"/>
                <a:ea typeface="DM Sans"/>
                <a:cs typeface="DM Sans"/>
                <a:sym typeface="DM Sans"/>
              </a:rPr>
              <a:t>Next Steps for ESSI teams</a:t>
            </a:r>
            <a:endParaRPr sz="3600" dirty="0">
              <a:latin typeface="DM Sans"/>
              <a:ea typeface="DM Sans"/>
              <a:cs typeface="DM Sans"/>
              <a:sym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149726775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49" name="Google Shape;5349;p32"/>
          <p:cNvGrpSpPr/>
          <p:nvPr/>
        </p:nvGrpSpPr>
        <p:grpSpPr>
          <a:xfrm>
            <a:off x="7191375" y="0"/>
            <a:ext cx="5000625" cy="1428702"/>
            <a:chOff x="7191375" y="0"/>
            <a:chExt cx="5000625" cy="1428702"/>
          </a:xfrm>
        </p:grpSpPr>
        <p:pic>
          <p:nvPicPr>
            <p:cNvPr id="5350" name="Google Shape;5350;p3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9267825" y="228600"/>
              <a:ext cx="20193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51" name="Google Shape;5351;p32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91375" y="0"/>
              <a:ext cx="5000625" cy="142870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352" name="Google Shape;5352;p32"/>
            <p:cNvSpPr/>
            <p:nvPr/>
          </p:nvSpPr>
          <p:spPr>
            <a:xfrm>
              <a:off x="7334250" y="0"/>
              <a:ext cx="4857750" cy="1390650"/>
            </a:xfrm>
            <a:custGeom>
              <a:avLst/>
              <a:gdLst/>
              <a:ahLst/>
              <a:cxnLst/>
              <a:rect l="l" t="t" r="r" b="b"/>
              <a:pathLst>
                <a:path w="4857750" h="1390650" extrusionOk="0">
                  <a:moveTo>
                    <a:pt x="229743" y="0"/>
                  </a:moveTo>
                  <a:lnTo>
                    <a:pt x="0" y="0"/>
                  </a:lnTo>
                  <a:lnTo>
                    <a:pt x="294640" y="211963"/>
                  </a:lnTo>
                  <a:lnTo>
                    <a:pt x="336443" y="241649"/>
                  </a:lnTo>
                  <a:lnTo>
                    <a:pt x="462343" y="330215"/>
                  </a:lnTo>
                  <a:lnTo>
                    <a:pt x="546742" y="388717"/>
                  </a:lnTo>
                  <a:lnTo>
                    <a:pt x="631571" y="446659"/>
                  </a:lnTo>
                  <a:lnTo>
                    <a:pt x="716933" y="503920"/>
                  </a:lnTo>
                  <a:lnTo>
                    <a:pt x="759849" y="532257"/>
                  </a:lnTo>
                  <a:lnTo>
                    <a:pt x="802929" y="560377"/>
                  </a:lnTo>
                  <a:lnTo>
                    <a:pt x="846177" y="588268"/>
                  </a:lnTo>
                  <a:lnTo>
                    <a:pt x="889598" y="615914"/>
                  </a:lnTo>
                  <a:lnTo>
                    <a:pt x="933197" y="643302"/>
                  </a:lnTo>
                  <a:lnTo>
                    <a:pt x="976979" y="670417"/>
                  </a:lnTo>
                  <a:lnTo>
                    <a:pt x="1020948" y="697244"/>
                  </a:lnTo>
                  <a:lnTo>
                    <a:pt x="1065109" y="723770"/>
                  </a:lnTo>
                  <a:lnTo>
                    <a:pt x="1109468" y="749980"/>
                  </a:lnTo>
                  <a:lnTo>
                    <a:pt x="1154029" y="775860"/>
                  </a:lnTo>
                  <a:lnTo>
                    <a:pt x="1198796" y="801396"/>
                  </a:lnTo>
                  <a:lnTo>
                    <a:pt x="1243775" y="826572"/>
                  </a:lnTo>
                  <a:lnTo>
                    <a:pt x="1288971" y="851376"/>
                  </a:lnTo>
                  <a:lnTo>
                    <a:pt x="1334389" y="875791"/>
                  </a:lnTo>
                  <a:lnTo>
                    <a:pt x="1380041" y="899734"/>
                  </a:lnTo>
                  <a:lnTo>
                    <a:pt x="1425938" y="923260"/>
                  </a:lnTo>
                  <a:lnTo>
                    <a:pt x="1472075" y="946356"/>
                  </a:lnTo>
                  <a:lnTo>
                    <a:pt x="1518451" y="969006"/>
                  </a:lnTo>
                  <a:lnTo>
                    <a:pt x="1565062" y="991196"/>
                  </a:lnTo>
                  <a:lnTo>
                    <a:pt x="1611905" y="1012911"/>
                  </a:lnTo>
                  <a:lnTo>
                    <a:pt x="1658978" y="1034138"/>
                  </a:lnTo>
                  <a:lnTo>
                    <a:pt x="1706276" y="1054862"/>
                  </a:lnTo>
                  <a:lnTo>
                    <a:pt x="1753798" y="1075067"/>
                  </a:lnTo>
                  <a:lnTo>
                    <a:pt x="1801540" y="1094740"/>
                  </a:lnTo>
                  <a:lnTo>
                    <a:pt x="1849500" y="1113866"/>
                  </a:lnTo>
                  <a:lnTo>
                    <a:pt x="1897673" y="1132431"/>
                  </a:lnTo>
                  <a:lnTo>
                    <a:pt x="1946058" y="1150419"/>
                  </a:lnTo>
                  <a:lnTo>
                    <a:pt x="1994652" y="1167818"/>
                  </a:lnTo>
                  <a:lnTo>
                    <a:pt x="2043450" y="1184611"/>
                  </a:lnTo>
                  <a:lnTo>
                    <a:pt x="2092452" y="1200785"/>
                  </a:lnTo>
                  <a:lnTo>
                    <a:pt x="2141679" y="1216319"/>
                  </a:lnTo>
                  <a:lnTo>
                    <a:pt x="2191105" y="1231202"/>
                  </a:lnTo>
                  <a:lnTo>
                    <a:pt x="2240720" y="1245432"/>
                  </a:lnTo>
                  <a:lnTo>
                    <a:pt x="2290514" y="1259006"/>
                  </a:lnTo>
                  <a:lnTo>
                    <a:pt x="2340477" y="1271922"/>
                  </a:lnTo>
                  <a:lnTo>
                    <a:pt x="2390598" y="1284179"/>
                  </a:lnTo>
                  <a:lnTo>
                    <a:pt x="2440869" y="1295773"/>
                  </a:lnTo>
                  <a:lnTo>
                    <a:pt x="2491279" y="1306702"/>
                  </a:lnTo>
                  <a:lnTo>
                    <a:pt x="2541819" y="1316965"/>
                  </a:lnTo>
                  <a:lnTo>
                    <a:pt x="2592478" y="1326559"/>
                  </a:lnTo>
                  <a:lnTo>
                    <a:pt x="2643247" y="1335482"/>
                  </a:lnTo>
                  <a:lnTo>
                    <a:pt x="2694116" y="1343731"/>
                  </a:lnTo>
                  <a:lnTo>
                    <a:pt x="2745075" y="1351304"/>
                  </a:lnTo>
                  <a:lnTo>
                    <a:pt x="2796114" y="1358200"/>
                  </a:lnTo>
                  <a:lnTo>
                    <a:pt x="2847224" y="1364415"/>
                  </a:lnTo>
                  <a:lnTo>
                    <a:pt x="2898394" y="1369949"/>
                  </a:lnTo>
                  <a:lnTo>
                    <a:pt x="2949823" y="1374812"/>
                  </a:lnTo>
                  <a:lnTo>
                    <a:pt x="3001242" y="1379023"/>
                  </a:lnTo>
                  <a:lnTo>
                    <a:pt x="3052652" y="1382582"/>
                  </a:lnTo>
                  <a:lnTo>
                    <a:pt x="3104054" y="1385490"/>
                  </a:lnTo>
                  <a:lnTo>
                    <a:pt x="3155451" y="1387750"/>
                  </a:lnTo>
                  <a:lnTo>
                    <a:pt x="3206843" y="1389362"/>
                  </a:lnTo>
                  <a:lnTo>
                    <a:pt x="3258232" y="1390328"/>
                  </a:lnTo>
                  <a:lnTo>
                    <a:pt x="3309620" y="1390650"/>
                  </a:lnTo>
                  <a:lnTo>
                    <a:pt x="3464179" y="1387475"/>
                  </a:lnTo>
                  <a:lnTo>
                    <a:pt x="3515741" y="1384808"/>
                  </a:lnTo>
                  <a:lnTo>
                    <a:pt x="3618229" y="1378965"/>
                  </a:lnTo>
                  <a:lnTo>
                    <a:pt x="3771773" y="1364614"/>
                  </a:lnTo>
                  <a:lnTo>
                    <a:pt x="3912044" y="1346962"/>
                  </a:lnTo>
                  <a:lnTo>
                    <a:pt x="4051807" y="1324228"/>
                  </a:lnTo>
                  <a:lnTo>
                    <a:pt x="4127246" y="1309751"/>
                  </a:lnTo>
                  <a:lnTo>
                    <a:pt x="4202558" y="1294695"/>
                  </a:lnTo>
                  <a:lnTo>
                    <a:pt x="4327525" y="1266189"/>
                  </a:lnTo>
                  <a:lnTo>
                    <a:pt x="4451858" y="1234313"/>
                  </a:lnTo>
                  <a:lnTo>
                    <a:pt x="4476242" y="1227327"/>
                  </a:lnTo>
                  <a:lnTo>
                    <a:pt x="4525645" y="1213612"/>
                  </a:lnTo>
                  <a:lnTo>
                    <a:pt x="4574795" y="1199179"/>
                  </a:lnTo>
                  <a:lnTo>
                    <a:pt x="4623768" y="1184259"/>
                  </a:lnTo>
                  <a:lnTo>
                    <a:pt x="4672574" y="1168838"/>
                  </a:lnTo>
                  <a:lnTo>
                    <a:pt x="4721225" y="1152905"/>
                  </a:lnTo>
                  <a:lnTo>
                    <a:pt x="4857750" y="1104011"/>
                  </a:lnTo>
                  <a:lnTo>
                    <a:pt x="4857750" y="1092327"/>
                  </a:lnTo>
                  <a:lnTo>
                    <a:pt x="4717288" y="1139063"/>
                  </a:lnTo>
                  <a:lnTo>
                    <a:pt x="4668428" y="1153777"/>
                  </a:lnTo>
                  <a:lnTo>
                    <a:pt x="4619402" y="1168003"/>
                  </a:lnTo>
                  <a:lnTo>
                    <a:pt x="4570233" y="1181729"/>
                  </a:lnTo>
                  <a:lnTo>
                    <a:pt x="4520946" y="1194942"/>
                  </a:lnTo>
                  <a:lnTo>
                    <a:pt x="4447032" y="1214120"/>
                  </a:lnTo>
                  <a:lnTo>
                    <a:pt x="4322699" y="1242822"/>
                  </a:lnTo>
                  <a:lnTo>
                    <a:pt x="4197750" y="1268172"/>
                  </a:lnTo>
                  <a:lnTo>
                    <a:pt x="4072001" y="1289558"/>
                  </a:lnTo>
                  <a:lnTo>
                    <a:pt x="4055491" y="1292733"/>
                  </a:lnTo>
                  <a:lnTo>
                    <a:pt x="4021454" y="1297051"/>
                  </a:lnTo>
                  <a:lnTo>
                    <a:pt x="3914235" y="1311890"/>
                  </a:lnTo>
                  <a:lnTo>
                    <a:pt x="3768598" y="1327403"/>
                  </a:lnTo>
                  <a:lnTo>
                    <a:pt x="3666942" y="1334708"/>
                  </a:lnTo>
                  <a:lnTo>
                    <a:pt x="3616178" y="1337689"/>
                  </a:lnTo>
                  <a:lnTo>
                    <a:pt x="3565388" y="1340030"/>
                  </a:lnTo>
                  <a:lnTo>
                    <a:pt x="3514581" y="1341730"/>
                  </a:lnTo>
                  <a:lnTo>
                    <a:pt x="3463764" y="1342788"/>
                  </a:lnTo>
                  <a:lnTo>
                    <a:pt x="3412946" y="1343203"/>
                  </a:lnTo>
                  <a:lnTo>
                    <a:pt x="3362136" y="1342975"/>
                  </a:lnTo>
                  <a:lnTo>
                    <a:pt x="3311342" y="1342104"/>
                  </a:lnTo>
                  <a:lnTo>
                    <a:pt x="3260572" y="1340588"/>
                  </a:lnTo>
                  <a:lnTo>
                    <a:pt x="3209836" y="1338427"/>
                  </a:lnTo>
                  <a:lnTo>
                    <a:pt x="3159141" y="1335620"/>
                  </a:lnTo>
                  <a:lnTo>
                    <a:pt x="3108496" y="1332167"/>
                  </a:lnTo>
                  <a:lnTo>
                    <a:pt x="3057910" y="1328067"/>
                  </a:lnTo>
                  <a:lnTo>
                    <a:pt x="3007390" y="1323319"/>
                  </a:lnTo>
                  <a:lnTo>
                    <a:pt x="2956946" y="1317923"/>
                  </a:lnTo>
                  <a:lnTo>
                    <a:pt x="2906585" y="1311878"/>
                  </a:lnTo>
                  <a:lnTo>
                    <a:pt x="2856317" y="1305183"/>
                  </a:lnTo>
                  <a:lnTo>
                    <a:pt x="2806149" y="1297838"/>
                  </a:lnTo>
                  <a:lnTo>
                    <a:pt x="2756091" y="1289842"/>
                  </a:lnTo>
                  <a:lnTo>
                    <a:pt x="2706150" y="1281194"/>
                  </a:lnTo>
                  <a:lnTo>
                    <a:pt x="2656336" y="1271895"/>
                  </a:lnTo>
                  <a:lnTo>
                    <a:pt x="2606656" y="1261942"/>
                  </a:lnTo>
                  <a:lnTo>
                    <a:pt x="2557119" y="1251336"/>
                  </a:lnTo>
                  <a:lnTo>
                    <a:pt x="2507734" y="1240075"/>
                  </a:lnTo>
                  <a:lnTo>
                    <a:pt x="2458508" y="1228160"/>
                  </a:lnTo>
                  <a:lnTo>
                    <a:pt x="2409451" y="1215589"/>
                  </a:lnTo>
                  <a:lnTo>
                    <a:pt x="2360571" y="1202362"/>
                  </a:lnTo>
                  <a:lnTo>
                    <a:pt x="2311877" y="1188478"/>
                  </a:lnTo>
                  <a:lnTo>
                    <a:pt x="2263376" y="1173937"/>
                  </a:lnTo>
                  <a:lnTo>
                    <a:pt x="2215078" y="1158738"/>
                  </a:lnTo>
                  <a:lnTo>
                    <a:pt x="2166990" y="1142880"/>
                  </a:lnTo>
                  <a:lnTo>
                    <a:pt x="2119122" y="1126363"/>
                  </a:lnTo>
                  <a:lnTo>
                    <a:pt x="2071507" y="1109303"/>
                  </a:lnTo>
                  <a:lnTo>
                    <a:pt x="2024106" y="1091658"/>
                  </a:lnTo>
                  <a:lnTo>
                    <a:pt x="1976919" y="1073439"/>
                  </a:lnTo>
                  <a:lnTo>
                    <a:pt x="1929949" y="1054657"/>
                  </a:lnTo>
                  <a:lnTo>
                    <a:pt x="1883197" y="1035322"/>
                  </a:lnTo>
                  <a:lnTo>
                    <a:pt x="1836664" y="1015445"/>
                  </a:lnTo>
                  <a:lnTo>
                    <a:pt x="1790353" y="995036"/>
                  </a:lnTo>
                  <a:lnTo>
                    <a:pt x="1744265" y="974105"/>
                  </a:lnTo>
                  <a:lnTo>
                    <a:pt x="1698402" y="952665"/>
                  </a:lnTo>
                  <a:lnTo>
                    <a:pt x="1652765" y="930724"/>
                  </a:lnTo>
                  <a:lnTo>
                    <a:pt x="1607356" y="908294"/>
                  </a:lnTo>
                  <a:lnTo>
                    <a:pt x="1562177" y="885386"/>
                  </a:lnTo>
                  <a:lnTo>
                    <a:pt x="1517229" y="862009"/>
                  </a:lnTo>
                  <a:lnTo>
                    <a:pt x="1472515" y="838175"/>
                  </a:lnTo>
                  <a:lnTo>
                    <a:pt x="1428035" y="813895"/>
                  </a:lnTo>
                  <a:lnTo>
                    <a:pt x="1383792" y="789177"/>
                  </a:lnTo>
                  <a:lnTo>
                    <a:pt x="1339777" y="764138"/>
                  </a:lnTo>
                  <a:lnTo>
                    <a:pt x="1295980" y="738703"/>
                  </a:lnTo>
                  <a:lnTo>
                    <a:pt x="1252391" y="712887"/>
                  </a:lnTo>
                  <a:lnTo>
                    <a:pt x="1209006" y="686704"/>
                  </a:lnTo>
                  <a:lnTo>
                    <a:pt x="1165816" y="660171"/>
                  </a:lnTo>
                  <a:lnTo>
                    <a:pt x="1122815" y="633301"/>
                  </a:lnTo>
                  <a:lnTo>
                    <a:pt x="1079996" y="606109"/>
                  </a:lnTo>
                  <a:lnTo>
                    <a:pt x="1037351" y="578611"/>
                  </a:lnTo>
                  <a:lnTo>
                    <a:pt x="994875" y="550822"/>
                  </a:lnTo>
                  <a:lnTo>
                    <a:pt x="952561" y="522755"/>
                  </a:lnTo>
                  <a:lnTo>
                    <a:pt x="910401" y="494427"/>
                  </a:lnTo>
                  <a:lnTo>
                    <a:pt x="868388" y="465851"/>
                  </a:lnTo>
                  <a:lnTo>
                    <a:pt x="826516" y="437044"/>
                  </a:lnTo>
                  <a:lnTo>
                    <a:pt x="743166" y="378791"/>
                  </a:lnTo>
                  <a:lnTo>
                    <a:pt x="660293" y="319762"/>
                  </a:lnTo>
                  <a:lnTo>
                    <a:pt x="577822" y="260044"/>
                  </a:lnTo>
                  <a:lnTo>
                    <a:pt x="495690" y="199755"/>
                  </a:lnTo>
                  <a:lnTo>
                    <a:pt x="372999" y="108457"/>
                  </a:lnTo>
                  <a:lnTo>
                    <a:pt x="22974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DM Sans" pitchFamily="2" charset="77"/>
              </a:endParaRPr>
            </a:p>
          </p:txBody>
        </p:sp>
      </p:grpSp>
      <p:sp>
        <p:nvSpPr>
          <p:cNvPr id="5353" name="Google Shape;5353;p32"/>
          <p:cNvSpPr/>
          <p:nvPr/>
        </p:nvSpPr>
        <p:spPr>
          <a:xfrm>
            <a:off x="614362" y="6338887"/>
            <a:ext cx="10973435" cy="0"/>
          </a:xfrm>
          <a:custGeom>
            <a:avLst/>
            <a:gdLst/>
            <a:ahLst/>
            <a:cxnLst/>
            <a:rect l="l" t="t" r="r" b="b"/>
            <a:pathLst>
              <a:path w="10973435" h="120000" extrusionOk="0">
                <a:moveTo>
                  <a:pt x="0" y="0"/>
                </a:moveTo>
                <a:lnTo>
                  <a:pt x="10972863" y="0"/>
                </a:lnTo>
              </a:path>
            </a:pathLst>
          </a:custGeom>
          <a:noFill/>
          <a:ln w="9525" cap="flat" cmpd="sng">
            <a:solidFill>
              <a:srgbClr val="ADB3B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DM Sans" pitchFamily="2" charset="77"/>
            </a:endParaRPr>
          </a:p>
        </p:txBody>
      </p:sp>
      <p:sp>
        <p:nvSpPr>
          <p:cNvPr id="5354" name="Google Shape;5354;p32"/>
          <p:cNvSpPr txBox="1">
            <a:spLocks noGrp="1"/>
          </p:cNvSpPr>
          <p:nvPr>
            <p:ph type="title"/>
          </p:nvPr>
        </p:nvSpPr>
        <p:spPr>
          <a:xfrm>
            <a:off x="431165" y="373062"/>
            <a:ext cx="6131700" cy="634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525" rIns="0" bIns="0" anchor="t" anchorCtr="0">
            <a:spAutoFit/>
          </a:bodyPr>
          <a:lstStyle/>
          <a:p>
            <a:pPr marL="12700" marR="5080" lvl="0" indent="0" algn="l" rtl="0">
              <a:lnSpc>
                <a:spcPct val="12523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50">
                <a:latin typeface="DM Sans" pitchFamily="2" charset="77"/>
                <a:ea typeface="DM Sans"/>
                <a:cs typeface="DM Sans"/>
                <a:sym typeface="DM Sans"/>
              </a:rPr>
              <a:t>Next Steps for Hospital Teams</a:t>
            </a:r>
            <a:endParaRPr sz="325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pic>
        <p:nvPicPr>
          <p:cNvPr id="5355" name="Google Shape;5355;p32" title="Screenshot 2025-08-13 at 11.59.16 AM.png"/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1375" y="0"/>
            <a:ext cx="5000625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5356" name="Google Shape;5356;p32"/>
          <p:cNvSpPr txBox="1"/>
          <p:nvPr/>
        </p:nvSpPr>
        <p:spPr>
          <a:xfrm>
            <a:off x="614362" y="1550473"/>
            <a:ext cx="6131699" cy="2492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457200" lvl="0" indent="-3873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DM Sans"/>
              <a:buChar char="●"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Access your hospital team’s stratified data via REDCap</a:t>
            </a:r>
          </a:p>
          <a:p>
            <a:pPr marL="457200" lvl="0" indent="-3873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DM Sans"/>
              <a:buChar char="●"/>
            </a:pPr>
            <a:r>
              <a:rPr lang="en-US" sz="25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Attend the </a:t>
            </a:r>
            <a:r>
              <a:rPr lang="en-US" sz="2500" b="1" i="1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ESSI REDCap Reports </a:t>
            </a:r>
            <a:r>
              <a:rPr lang="en-US" sz="25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call on August 21</a:t>
            </a:r>
            <a:r>
              <a:rPr lang="en-US" sz="2500" baseline="300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st</a:t>
            </a:r>
            <a:r>
              <a:rPr lang="en-US" sz="2500" dirty="0">
                <a:solidFill>
                  <a:schemeClr val="dk1"/>
                </a:solidFill>
                <a:latin typeface="DM Sans" pitchFamily="2" charset="77"/>
                <a:ea typeface="DM Sans"/>
                <a:cs typeface="DM Sans"/>
                <a:sym typeface="DM Sans"/>
              </a:rPr>
              <a:t> at 12:00pm </a:t>
            </a:r>
            <a:endParaRPr sz="2500" dirty="0">
              <a:solidFill>
                <a:schemeClr val="dk1"/>
              </a:solidFill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pic>
        <p:nvPicPr>
          <p:cNvPr id="3" name="Picture 2" descr="A qr code on a black background&#10;&#10;AI-generated content may be incorrect.">
            <a:extLst>
              <a:ext uri="{FF2B5EF4-FFF2-40B4-BE49-F238E27FC236}">
                <a16:creationId xmlns:a16="http://schemas.microsoft.com/office/drawing/2014/main" id="{4F387390-080D-7891-1824-A7527ED3928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32" b="38462"/>
          <a:stretch>
            <a:fillRect/>
          </a:stretch>
        </p:blipFill>
        <p:spPr>
          <a:xfrm>
            <a:off x="1473959" y="3428999"/>
            <a:ext cx="3393743" cy="3349953"/>
          </a:xfrm>
          <a:prstGeom prst="rect">
            <a:avLst/>
          </a:prstGeom>
        </p:spPr>
      </p:pic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91">
          <a:extLst>
            <a:ext uri="{FF2B5EF4-FFF2-40B4-BE49-F238E27FC236}">
              <a16:creationId xmlns:a16="http://schemas.microsoft.com/office/drawing/2014/main" id="{C13EDB41-1720-3F52-C977-E605DDFC2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2" name="Google Shape;4192;g374da0147aa_0_4132">
            <a:extLst>
              <a:ext uri="{FF2B5EF4-FFF2-40B4-BE49-F238E27FC236}">
                <a16:creationId xmlns:a16="http://schemas.microsoft.com/office/drawing/2014/main" id="{591C4B34-0FA3-A097-F4AC-BA396733332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800"/>
              <a:buFont typeface="DM Sans"/>
              <a:buNone/>
            </a:pPr>
            <a:r>
              <a:rPr lang="en-US" sz="4800" dirty="0">
                <a:latin typeface="DM Sans" pitchFamily="2" charset="77"/>
                <a:sym typeface="DM Sans"/>
              </a:rPr>
              <a:t>Reminder:</a:t>
            </a:r>
            <a:endParaRPr dirty="0">
              <a:latin typeface="DM Sans" pitchFamily="2" charset="77"/>
            </a:endParaRPr>
          </a:p>
        </p:txBody>
      </p:sp>
      <p:sp>
        <p:nvSpPr>
          <p:cNvPr id="4193" name="Google Shape;4193;g374da0147aa_0_4132">
            <a:extLst>
              <a:ext uri="{FF2B5EF4-FFF2-40B4-BE49-F238E27FC236}">
                <a16:creationId xmlns:a16="http://schemas.microsoft.com/office/drawing/2014/main" id="{DB2E2E64-FEEB-421A-AABD-C1A044F943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4159" y="1720370"/>
            <a:ext cx="10371600" cy="31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50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endParaRPr sz="280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228600" lvl="0" indent="-508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800"/>
              <a:buNone/>
            </a:pPr>
            <a:endParaRPr sz="280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228600" lvl="0" indent="-889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200"/>
              <a:buNone/>
            </a:pPr>
            <a:endParaRPr sz="2200"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sp>
        <p:nvSpPr>
          <p:cNvPr id="4194" name="Google Shape;4194;g374da0147aa_0_4132">
            <a:extLst>
              <a:ext uri="{FF2B5EF4-FFF2-40B4-BE49-F238E27FC236}">
                <a16:creationId xmlns:a16="http://schemas.microsoft.com/office/drawing/2014/main" id="{50718433-4844-AA33-A71B-D1FFF04DD7F3}"/>
              </a:ext>
            </a:extLst>
          </p:cNvPr>
          <p:cNvSpPr txBox="1"/>
          <p:nvPr/>
        </p:nvSpPr>
        <p:spPr>
          <a:xfrm>
            <a:off x="397654" y="1686299"/>
            <a:ext cx="7410706" cy="48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Pts val="2800"/>
              <a:buFont typeface="Arial"/>
              <a:buNone/>
              <a:tabLst/>
              <a:defRPr/>
            </a:pPr>
            <a:r>
              <a:rPr kumimoji="0" lang="en-US" sz="2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" pitchFamily="2" charset="77"/>
                <a:ea typeface="DM Sans"/>
                <a:cs typeface="DM Sans"/>
                <a:sym typeface="DM Sans"/>
              </a:rPr>
              <a:t>Delving into Data Collection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Pts val="2800"/>
              <a:buFont typeface="Arial"/>
              <a:buNone/>
              <a:tabLst/>
              <a:defRPr/>
            </a:pPr>
            <a:r>
              <a:rPr kumimoji="0" lang="en-US" sz="2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" pitchFamily="2" charset="77"/>
                <a:ea typeface="DM Sans"/>
                <a:cs typeface="DM Sans"/>
                <a:sym typeface="DM Sans"/>
              </a:rPr>
              <a:t>Accurate Collection of Race and Ethnic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Pts val="2800"/>
              <a:buFont typeface="Arial"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457200" marR="0" lvl="0" indent="-387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2500"/>
              <a:buFont typeface="DM Sans"/>
              <a:buChar char="•"/>
              <a:tabLst/>
              <a:defRPr/>
            </a:pP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DM Sans"/>
                <a:cs typeface="DM Sans"/>
                <a:sym typeface="DM Sans"/>
              </a:rPr>
              <a:t>Locate the new tool on our website under “Driver 5: Healthcare Data Utilization”</a:t>
            </a:r>
          </a:p>
          <a:p>
            <a:pPr marL="457200" marR="0" lvl="1" indent="-387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2500"/>
              <a:buFont typeface="DM Sans"/>
              <a:buChar char="•"/>
              <a:tabLst/>
              <a:defRPr/>
            </a:pPr>
            <a:endParaRPr kumimoji="0" lang="en-US" sz="2500" b="1" i="0" u="none" strike="noStrike" kern="0" cap="none" spc="0" normalizeH="0" baseline="0" noProof="0" dirty="0">
              <a:ln>
                <a:noFill/>
              </a:ln>
              <a:solidFill>
                <a:srgbClr val="463A35"/>
              </a:solidFill>
              <a:effectLst/>
              <a:uLnTx/>
              <a:uFillTx/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457200" marR="0" lvl="0" indent="-387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25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cs typeface="Arial"/>
                <a:sym typeface="DM Sans"/>
              </a:rPr>
              <a:t>Collection of Race and Ethnicity Workflow Questionnaire</a:t>
            </a:r>
          </a:p>
          <a:p>
            <a:pPr marL="457200" marR="0" lvl="1" indent="-387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2500"/>
              <a:buFont typeface="DM Sans"/>
              <a:buChar char="•"/>
              <a:tabLst/>
              <a:defRPr/>
            </a:pPr>
            <a:endParaRPr kumimoji="0" lang="en-US" sz="2500" b="0" i="0" u="none" strike="noStrike" kern="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457200" marR="0" lvl="0" indent="-387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2500"/>
              <a:buFont typeface="DM Sans"/>
              <a:buChar char="•"/>
              <a:tabLst/>
              <a:defRPr/>
            </a:pP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DM Sans"/>
                <a:cs typeface="DM Sans"/>
                <a:sym typeface="DM Sans"/>
              </a:rPr>
              <a:t>Use this tool to understand how your team is currently collecting and using this data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Pts val="2800"/>
              <a:buFont typeface="Arial"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DM Sans"/>
              <a:cs typeface="DM Sans"/>
              <a:sym typeface="DM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Pts val="2800"/>
              <a:buFont typeface="Arial"/>
              <a:buNone/>
              <a:tabLst/>
              <a:defRPr/>
            </a:pPr>
            <a:endParaRPr kumimoji="0" sz="2800" b="0" i="0" u="none" strike="noStrike" kern="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DM Sans"/>
              <a:cs typeface="DM Sans"/>
              <a:sym typeface="DM Sans"/>
            </a:endParaRPr>
          </a:p>
        </p:txBody>
      </p:sp>
      <p:pic>
        <p:nvPicPr>
          <p:cNvPr id="7" name="Graphic 6" descr="Checklist with solid fill">
            <a:extLst>
              <a:ext uri="{FF2B5EF4-FFF2-40B4-BE49-F238E27FC236}">
                <a16:creationId xmlns:a16="http://schemas.microsoft.com/office/drawing/2014/main" id="{05ABD607-C7DB-A081-AF43-B63FCBF3BA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693546">
            <a:off x="4844446" y="221063"/>
            <a:ext cx="1375449" cy="1375449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FD17CF8-AFD2-F5CC-E854-85F6BE59A27B}"/>
              </a:ext>
            </a:extLst>
          </p:cNvPr>
          <p:cNvSpPr/>
          <p:nvPr/>
        </p:nvSpPr>
        <p:spPr>
          <a:xfrm>
            <a:off x="6657654" y="0"/>
            <a:ext cx="5534346" cy="770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" pitchFamily="2" charset="77"/>
              <a:ea typeface="+mn-ea"/>
              <a:cs typeface="+mn-cs"/>
              <a:sym typeface="Arial"/>
            </a:endParaRPr>
          </a:p>
        </p:txBody>
      </p:sp>
      <p:pic>
        <p:nvPicPr>
          <p:cNvPr id="11" name="Google Shape;21285;p8" title="Screenshot 2025-07-18 at 4.03.57 PM.png">
            <a:extLst>
              <a:ext uri="{FF2B5EF4-FFF2-40B4-BE49-F238E27FC236}">
                <a16:creationId xmlns:a16="http://schemas.microsoft.com/office/drawing/2014/main" id="{86ECEEE1-52F2-01F1-B4E5-0B3C2A7A78E8}"/>
              </a:ext>
            </a:extLst>
          </p:cNvPr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5344" y="413535"/>
            <a:ext cx="4496656" cy="60309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3151528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0E6"/>
        </a:solidFill>
        <a:effectLst/>
      </p:bgPr>
    </p:bg>
    <p:spTree>
      <p:nvGrpSpPr>
        <p:cNvPr id="1" name="Shape 6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76" name="Google Shape;6076;p238"/>
          <p:cNvSpPr/>
          <p:nvPr/>
        </p:nvSpPr>
        <p:spPr>
          <a:xfrm>
            <a:off x="4030419" y="6445349"/>
            <a:ext cx="4620060" cy="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</a:path>
            </a:pathLst>
          </a:custGeom>
          <a:noFill/>
          <a:ln w="47600" cap="flat" cmpd="sng">
            <a:solidFill>
              <a:srgbClr val="7F895E"/>
            </a:solidFill>
            <a:prstDash val="dashDot"/>
            <a:miter lim="8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609630">
              <a:buSzPts val="800"/>
            </a:pPr>
            <a:endParaRPr sz="800" kern="1200">
              <a:solidFill>
                <a:srgbClr val="444C55"/>
              </a:solidFill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6082" name="Google Shape;6082;p238"/>
          <p:cNvSpPr/>
          <p:nvPr/>
        </p:nvSpPr>
        <p:spPr>
          <a:xfrm>
            <a:off x="152403" y="-32242"/>
            <a:ext cx="12191996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defTabSz="609630">
              <a:buSzPts val="1800"/>
            </a:pPr>
            <a:endParaRPr sz="1800" kern="1200">
              <a:solidFill>
                <a:srgbClr val="444C55"/>
              </a:solidFill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6083" name="Google Shape;6083;p238"/>
          <p:cNvSpPr/>
          <p:nvPr/>
        </p:nvSpPr>
        <p:spPr>
          <a:xfrm>
            <a:off x="-152399" y="345253"/>
            <a:ext cx="12191996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defTabSz="609630">
              <a:buSzPts val="1800"/>
            </a:pPr>
            <a:endParaRPr sz="1800" kern="1200">
              <a:solidFill>
                <a:srgbClr val="444C55"/>
              </a:solidFill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6084" name="Google Shape;6084;p238"/>
          <p:cNvSpPr txBox="1"/>
          <p:nvPr/>
        </p:nvSpPr>
        <p:spPr>
          <a:xfrm>
            <a:off x="3707379" y="6255721"/>
            <a:ext cx="6111236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defTabSz="609630">
              <a:buSzPts val="1800"/>
            </a:pPr>
            <a:endParaRPr sz="1800" kern="1200">
              <a:solidFill>
                <a:srgbClr val="444C55"/>
              </a:solidFill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79F69E-1019-4DCB-A106-445A6688F0E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6998" y="16118"/>
            <a:ext cx="6858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430375" y="1794363"/>
            <a:ext cx="6364872" cy="486156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Each hospital can send: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1 bedside OB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an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 1-Neonatal nurs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 to attend this year’s Annual Conferenc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Discounte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registration available.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1-night hotel stay provided.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More details to come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728815" y="511612"/>
            <a:ext cx="7677403" cy="1217208"/>
          </a:xfrm>
          <a:prstGeom prst="rect">
            <a:avLst/>
          </a:prstGeom>
        </p:spPr>
        <p:txBody>
          <a:bodyPr lIns="91440" tIns="45720" rIns="91440" bIns="45720" anchor="b">
            <a:normAutofit fontScale="9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DHS/ILPQC Bedsid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Nurse Scholarship Opportunity</a:t>
            </a:r>
            <a:endParaRPr kumimoji="0" lang="en-US" sz="4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1" name="Freeform 3">
            <a:extLst>
              <a:ext uri="{FF2B5EF4-FFF2-40B4-BE49-F238E27FC236}">
                <a16:creationId xmlns:a16="http://schemas.microsoft.com/office/drawing/2014/main" id="{22E26A02-7672-4E62-B73A-F640E35AA816}"/>
              </a:ext>
            </a:extLst>
          </p:cNvPr>
          <p:cNvSpPr/>
          <p:nvPr/>
        </p:nvSpPr>
        <p:spPr>
          <a:xfrm>
            <a:off x="7005409" y="3400574"/>
            <a:ext cx="4576991" cy="2946438"/>
          </a:xfrm>
          <a:custGeom>
            <a:avLst/>
            <a:gdLst/>
            <a:ahLst/>
            <a:cxnLst/>
            <a:rect l="l" t="t" r="r" b="b"/>
            <a:pathLst>
              <a:path w="4576991" h="2946438">
                <a:moveTo>
                  <a:pt x="0" y="0"/>
                </a:moveTo>
                <a:lnTo>
                  <a:pt x="4576991" y="0"/>
                </a:lnTo>
                <a:lnTo>
                  <a:pt x="4576991" y="2946438"/>
                </a:lnTo>
                <a:lnTo>
                  <a:pt x="0" y="294643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12" name="Wave 11">
            <a:extLst>
              <a:ext uri="{FF2B5EF4-FFF2-40B4-BE49-F238E27FC236}">
                <a16:creationId xmlns:a16="http://schemas.microsoft.com/office/drawing/2014/main" id="{E25304B6-5871-4A86-991C-58856265E4E1}"/>
              </a:ext>
            </a:extLst>
          </p:cNvPr>
          <p:cNvSpPr/>
          <p:nvPr/>
        </p:nvSpPr>
        <p:spPr>
          <a:xfrm>
            <a:off x="188259" y="136524"/>
            <a:ext cx="8758517" cy="2077757"/>
          </a:xfrm>
          <a:prstGeom prst="wave">
            <a:avLst/>
          </a:prstGeom>
          <a:noFill/>
          <a:ln w="571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" pitchFamily="2" charset="77"/>
            </a:endParaRPr>
          </a:p>
        </p:txBody>
      </p:sp>
      <p:pic>
        <p:nvPicPr>
          <p:cNvPr id="5" name="Picture 4" descr="A logo with blue and yellow figures&#10;&#10;AI-generated content may be incorrect.">
            <a:extLst>
              <a:ext uri="{FF2B5EF4-FFF2-40B4-BE49-F238E27FC236}">
                <a16:creationId xmlns:a16="http://schemas.microsoft.com/office/drawing/2014/main" id="{B4481D26-FCE5-AC85-FADB-12AB0894F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78875" y="1651336"/>
            <a:ext cx="1682750" cy="173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56732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1" name="Google Shape;5361;p3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5362" name="Google Shape;5362;p34"/>
          <p:cNvGrpSpPr/>
          <p:nvPr/>
        </p:nvGrpSpPr>
        <p:grpSpPr>
          <a:xfrm>
            <a:off x="0" y="5019724"/>
            <a:ext cx="12192000" cy="1838895"/>
            <a:chOff x="0" y="5019724"/>
            <a:chExt cx="12192000" cy="1838895"/>
          </a:xfrm>
        </p:grpSpPr>
        <p:sp>
          <p:nvSpPr>
            <p:cNvPr id="5363" name="Google Shape;5363;p34"/>
            <p:cNvSpPr/>
            <p:nvPr/>
          </p:nvSpPr>
          <p:spPr>
            <a:xfrm>
              <a:off x="0" y="5095859"/>
              <a:ext cx="7115175" cy="1762760"/>
            </a:xfrm>
            <a:custGeom>
              <a:avLst/>
              <a:gdLst/>
              <a:ahLst/>
              <a:cxnLst/>
              <a:rect l="l" t="t" r="r" b="b"/>
              <a:pathLst>
                <a:path w="7115175" h="1762759" extrusionOk="0">
                  <a:moveTo>
                    <a:pt x="612604" y="79"/>
                  </a:moveTo>
                  <a:lnTo>
                    <a:pt x="558749" y="0"/>
                  </a:lnTo>
                  <a:lnTo>
                    <a:pt x="504757" y="343"/>
                  </a:lnTo>
                  <a:lnTo>
                    <a:pt x="450629" y="1113"/>
                  </a:lnTo>
                  <a:lnTo>
                    <a:pt x="396364" y="2315"/>
                  </a:lnTo>
                  <a:lnTo>
                    <a:pt x="341960" y="3952"/>
                  </a:lnTo>
                  <a:lnTo>
                    <a:pt x="293138" y="5835"/>
                  </a:lnTo>
                  <a:lnTo>
                    <a:pt x="244415" y="8110"/>
                  </a:lnTo>
                  <a:lnTo>
                    <a:pt x="195788" y="10784"/>
                  </a:lnTo>
                  <a:lnTo>
                    <a:pt x="147255" y="13859"/>
                  </a:lnTo>
                  <a:lnTo>
                    <a:pt x="98813" y="17341"/>
                  </a:lnTo>
                  <a:lnTo>
                    <a:pt x="50462" y="21234"/>
                  </a:lnTo>
                  <a:lnTo>
                    <a:pt x="0" y="25796"/>
                  </a:lnTo>
                  <a:lnTo>
                    <a:pt x="0" y="1762140"/>
                  </a:lnTo>
                  <a:lnTo>
                    <a:pt x="7115175" y="1762140"/>
                  </a:lnTo>
                  <a:lnTo>
                    <a:pt x="6704330" y="1640990"/>
                  </a:lnTo>
                  <a:lnTo>
                    <a:pt x="6611056" y="1611866"/>
                  </a:lnTo>
                  <a:lnTo>
                    <a:pt x="6471146" y="1567351"/>
                  </a:lnTo>
                  <a:lnTo>
                    <a:pt x="6331190" y="1521903"/>
                  </a:lnTo>
                  <a:lnTo>
                    <a:pt x="6191135" y="1475584"/>
                  </a:lnTo>
                  <a:lnTo>
                    <a:pt x="6004150" y="1412585"/>
                  </a:lnTo>
                  <a:lnTo>
                    <a:pt x="5769847" y="1332062"/>
                  </a:lnTo>
                  <a:lnTo>
                    <a:pt x="5487521" y="1233227"/>
                  </a:lnTo>
                  <a:lnTo>
                    <a:pt x="4288404" y="806749"/>
                  </a:lnTo>
                  <a:lnTo>
                    <a:pt x="3992903" y="703643"/>
                  </a:lnTo>
                  <a:lnTo>
                    <a:pt x="3743724" y="618298"/>
                  </a:lnTo>
                  <a:lnTo>
                    <a:pt x="3545715" y="551785"/>
                  </a:lnTo>
                  <a:lnTo>
                    <a:pt x="3451294" y="520764"/>
                  </a:lnTo>
                  <a:lnTo>
                    <a:pt x="3356611" y="490258"/>
                  </a:lnTo>
                  <a:lnTo>
                    <a:pt x="3261657" y="460304"/>
                  </a:lnTo>
                  <a:lnTo>
                    <a:pt x="3166423" y="430941"/>
                  </a:lnTo>
                  <a:lnTo>
                    <a:pt x="3070900" y="402207"/>
                  </a:lnTo>
                  <a:lnTo>
                    <a:pt x="2975079" y="374140"/>
                  </a:lnTo>
                  <a:lnTo>
                    <a:pt x="2878951" y="346778"/>
                  </a:lnTo>
                  <a:lnTo>
                    <a:pt x="2782506" y="320160"/>
                  </a:lnTo>
                  <a:lnTo>
                    <a:pt x="2685737" y="294324"/>
                  </a:lnTo>
                  <a:lnTo>
                    <a:pt x="2588633" y="269308"/>
                  </a:lnTo>
                  <a:lnTo>
                    <a:pt x="2491186" y="245151"/>
                  </a:lnTo>
                  <a:lnTo>
                    <a:pt x="2393387" y="221889"/>
                  </a:lnTo>
                  <a:lnTo>
                    <a:pt x="2295227" y="199563"/>
                  </a:lnTo>
                  <a:lnTo>
                    <a:pt x="2246009" y="188762"/>
                  </a:lnTo>
                  <a:lnTo>
                    <a:pt x="2196697" y="178209"/>
                  </a:lnTo>
                  <a:lnTo>
                    <a:pt x="2147290" y="167909"/>
                  </a:lnTo>
                  <a:lnTo>
                    <a:pt x="2097787" y="157866"/>
                  </a:lnTo>
                  <a:lnTo>
                    <a:pt x="2048188" y="148086"/>
                  </a:lnTo>
                  <a:lnTo>
                    <a:pt x="1998490" y="138573"/>
                  </a:lnTo>
                  <a:lnTo>
                    <a:pt x="1948692" y="129332"/>
                  </a:lnTo>
                  <a:lnTo>
                    <a:pt x="1898795" y="120368"/>
                  </a:lnTo>
                  <a:lnTo>
                    <a:pt x="1848796" y="111684"/>
                  </a:lnTo>
                  <a:lnTo>
                    <a:pt x="1798694" y="103288"/>
                  </a:lnTo>
                  <a:lnTo>
                    <a:pt x="1748488" y="95182"/>
                  </a:lnTo>
                  <a:lnTo>
                    <a:pt x="1698178" y="87372"/>
                  </a:lnTo>
                  <a:lnTo>
                    <a:pt x="1647761" y="79862"/>
                  </a:lnTo>
                  <a:lnTo>
                    <a:pt x="1597238" y="72658"/>
                  </a:lnTo>
                  <a:lnTo>
                    <a:pt x="1546606" y="65763"/>
                  </a:lnTo>
                  <a:lnTo>
                    <a:pt x="1495864" y="59184"/>
                  </a:lnTo>
                  <a:lnTo>
                    <a:pt x="1445012" y="52924"/>
                  </a:lnTo>
                  <a:lnTo>
                    <a:pt x="1394049" y="46989"/>
                  </a:lnTo>
                  <a:lnTo>
                    <a:pt x="1342972" y="41383"/>
                  </a:lnTo>
                  <a:lnTo>
                    <a:pt x="1291782" y="36111"/>
                  </a:lnTo>
                  <a:lnTo>
                    <a:pt x="1240477" y="31178"/>
                  </a:lnTo>
                  <a:lnTo>
                    <a:pt x="1189055" y="26588"/>
                  </a:lnTo>
                  <a:lnTo>
                    <a:pt x="1137516" y="22346"/>
                  </a:lnTo>
                  <a:lnTo>
                    <a:pt x="1085859" y="18458"/>
                  </a:lnTo>
                  <a:lnTo>
                    <a:pt x="1034082" y="14927"/>
                  </a:lnTo>
                  <a:lnTo>
                    <a:pt x="982185" y="11759"/>
                  </a:lnTo>
                  <a:lnTo>
                    <a:pt x="930166" y="8959"/>
                  </a:lnTo>
                  <a:lnTo>
                    <a:pt x="878024" y="6530"/>
                  </a:lnTo>
                  <a:lnTo>
                    <a:pt x="825757" y="4479"/>
                  </a:lnTo>
                  <a:lnTo>
                    <a:pt x="773366" y="2809"/>
                  </a:lnTo>
                  <a:lnTo>
                    <a:pt x="719912" y="1489"/>
                  </a:lnTo>
                  <a:lnTo>
                    <a:pt x="666325" y="577"/>
                  </a:lnTo>
                  <a:lnTo>
                    <a:pt x="61260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4" name="Google Shape;5364;p34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041899"/>
              <a:ext cx="12192000" cy="18161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365" name="Google Shape;5365;p34"/>
            <p:cNvSpPr/>
            <p:nvPr/>
          </p:nvSpPr>
          <p:spPr>
            <a:xfrm>
              <a:off x="0" y="5019724"/>
              <a:ext cx="12192000" cy="1838325"/>
            </a:xfrm>
            <a:custGeom>
              <a:avLst/>
              <a:gdLst/>
              <a:ahLst/>
              <a:cxnLst/>
              <a:rect l="l" t="t" r="r" b="b"/>
              <a:pathLst>
                <a:path w="12192000" h="1838325" extrusionOk="0">
                  <a:moveTo>
                    <a:pt x="682693" y="0"/>
                  </a:moveTo>
                  <a:lnTo>
                    <a:pt x="631977" y="203"/>
                  </a:lnTo>
                  <a:lnTo>
                    <a:pt x="584149" y="711"/>
                  </a:lnTo>
                  <a:lnTo>
                    <a:pt x="536385" y="1596"/>
                  </a:lnTo>
                  <a:lnTo>
                    <a:pt x="488688" y="2855"/>
                  </a:lnTo>
                  <a:lnTo>
                    <a:pt x="441056" y="4484"/>
                  </a:lnTo>
                  <a:lnTo>
                    <a:pt x="393493" y="6480"/>
                  </a:lnTo>
                  <a:lnTo>
                    <a:pt x="345998" y="8839"/>
                  </a:lnTo>
                  <a:lnTo>
                    <a:pt x="0" y="38176"/>
                  </a:lnTo>
                  <a:lnTo>
                    <a:pt x="0" y="105613"/>
                  </a:lnTo>
                  <a:lnTo>
                    <a:pt x="50435" y="101051"/>
                  </a:lnTo>
                  <a:lnTo>
                    <a:pt x="98760" y="97161"/>
                  </a:lnTo>
                  <a:lnTo>
                    <a:pt x="147174" y="93686"/>
                  </a:lnTo>
                  <a:lnTo>
                    <a:pt x="195680" y="90624"/>
                  </a:lnTo>
                  <a:lnTo>
                    <a:pt x="244279" y="87974"/>
                  </a:lnTo>
                  <a:lnTo>
                    <a:pt x="292975" y="85732"/>
                  </a:lnTo>
                  <a:lnTo>
                    <a:pt x="341769" y="83896"/>
                  </a:lnTo>
                  <a:lnTo>
                    <a:pt x="394500" y="82301"/>
                  </a:lnTo>
                  <a:lnTo>
                    <a:pt x="447100" y="81115"/>
                  </a:lnTo>
                  <a:lnTo>
                    <a:pt x="499570" y="80333"/>
                  </a:lnTo>
                  <a:lnTo>
                    <a:pt x="551912" y="79951"/>
                  </a:lnTo>
                  <a:lnTo>
                    <a:pt x="604125" y="79965"/>
                  </a:lnTo>
                  <a:lnTo>
                    <a:pt x="656212" y="80369"/>
                  </a:lnTo>
                  <a:lnTo>
                    <a:pt x="708174" y="81159"/>
                  </a:lnTo>
                  <a:lnTo>
                    <a:pt x="760011" y="82330"/>
                  </a:lnTo>
                  <a:lnTo>
                    <a:pt x="811724" y="83878"/>
                  </a:lnTo>
                  <a:lnTo>
                    <a:pt x="863316" y="85799"/>
                  </a:lnTo>
                  <a:lnTo>
                    <a:pt x="914786" y="88087"/>
                  </a:lnTo>
                  <a:lnTo>
                    <a:pt x="966136" y="90738"/>
                  </a:lnTo>
                  <a:lnTo>
                    <a:pt x="1017368" y="93748"/>
                  </a:lnTo>
                  <a:lnTo>
                    <a:pt x="1068481" y="97112"/>
                  </a:lnTo>
                  <a:lnTo>
                    <a:pt x="1119477" y="100826"/>
                  </a:lnTo>
                  <a:lnTo>
                    <a:pt x="1170358" y="104884"/>
                  </a:lnTo>
                  <a:lnTo>
                    <a:pt x="1221124" y="109282"/>
                  </a:lnTo>
                  <a:lnTo>
                    <a:pt x="1271777" y="114016"/>
                  </a:lnTo>
                  <a:lnTo>
                    <a:pt x="1322317" y="119081"/>
                  </a:lnTo>
                  <a:lnTo>
                    <a:pt x="1372746" y="124473"/>
                  </a:lnTo>
                  <a:lnTo>
                    <a:pt x="1423064" y="130186"/>
                  </a:lnTo>
                  <a:lnTo>
                    <a:pt x="1473274" y="136217"/>
                  </a:lnTo>
                  <a:lnTo>
                    <a:pt x="1523375" y="142560"/>
                  </a:lnTo>
                  <a:lnTo>
                    <a:pt x="1573369" y="149212"/>
                  </a:lnTo>
                  <a:lnTo>
                    <a:pt x="1623258" y="156167"/>
                  </a:lnTo>
                  <a:lnTo>
                    <a:pt x="1673041" y="163421"/>
                  </a:lnTo>
                  <a:lnTo>
                    <a:pt x="1722721" y="170970"/>
                  </a:lnTo>
                  <a:lnTo>
                    <a:pt x="1772298" y="178808"/>
                  </a:lnTo>
                  <a:lnTo>
                    <a:pt x="1821774" y="186932"/>
                  </a:lnTo>
                  <a:lnTo>
                    <a:pt x="1871149" y="195336"/>
                  </a:lnTo>
                  <a:lnTo>
                    <a:pt x="1920424" y="204016"/>
                  </a:lnTo>
                  <a:lnTo>
                    <a:pt x="1969602" y="212968"/>
                  </a:lnTo>
                  <a:lnTo>
                    <a:pt x="2018682" y="222187"/>
                  </a:lnTo>
                  <a:lnTo>
                    <a:pt x="2067666" y="231668"/>
                  </a:lnTo>
                  <a:lnTo>
                    <a:pt x="2116555" y="241407"/>
                  </a:lnTo>
                  <a:lnTo>
                    <a:pt x="2165350" y="251399"/>
                  </a:lnTo>
                  <a:lnTo>
                    <a:pt x="2214052" y="261639"/>
                  </a:lnTo>
                  <a:lnTo>
                    <a:pt x="2262663" y="272124"/>
                  </a:lnTo>
                  <a:lnTo>
                    <a:pt x="2359613" y="293806"/>
                  </a:lnTo>
                  <a:lnTo>
                    <a:pt x="2456209" y="316410"/>
                  </a:lnTo>
                  <a:lnTo>
                    <a:pt x="2552460" y="339898"/>
                  </a:lnTo>
                  <a:lnTo>
                    <a:pt x="2648374" y="364234"/>
                  </a:lnTo>
                  <a:lnTo>
                    <a:pt x="2743961" y="389381"/>
                  </a:lnTo>
                  <a:lnTo>
                    <a:pt x="2839228" y="415302"/>
                  </a:lnTo>
                  <a:lnTo>
                    <a:pt x="2934185" y="441961"/>
                  </a:lnTo>
                  <a:lnTo>
                    <a:pt x="3028841" y="469321"/>
                  </a:lnTo>
                  <a:lnTo>
                    <a:pt x="3123203" y="497346"/>
                  </a:lnTo>
                  <a:lnTo>
                    <a:pt x="3217281" y="525998"/>
                  </a:lnTo>
                  <a:lnTo>
                    <a:pt x="3311083" y="555241"/>
                  </a:lnTo>
                  <a:lnTo>
                    <a:pt x="3404619" y="585039"/>
                  </a:lnTo>
                  <a:lnTo>
                    <a:pt x="3497896" y="615354"/>
                  </a:lnTo>
                  <a:lnTo>
                    <a:pt x="3590925" y="646151"/>
                  </a:lnTo>
                  <a:lnTo>
                    <a:pt x="3791765" y="713839"/>
                  </a:lnTo>
                  <a:lnTo>
                    <a:pt x="4040248" y="799137"/>
                  </a:lnTo>
                  <a:lnTo>
                    <a:pt x="4334983" y="902103"/>
                  </a:lnTo>
                  <a:lnTo>
                    <a:pt x="5625855" y="1360072"/>
                  </a:lnTo>
                  <a:lnTo>
                    <a:pt x="5907361" y="1457546"/>
                  </a:lnTo>
                  <a:lnTo>
                    <a:pt x="6094434" y="1521066"/>
                  </a:lnTo>
                  <a:lnTo>
                    <a:pt x="6281174" y="1583235"/>
                  </a:lnTo>
                  <a:lnTo>
                    <a:pt x="6421086" y="1628884"/>
                  </a:lnTo>
                  <a:lnTo>
                    <a:pt x="6560935" y="1673621"/>
                  </a:lnTo>
                  <a:lnTo>
                    <a:pt x="6700774" y="1717382"/>
                  </a:lnTo>
                  <a:lnTo>
                    <a:pt x="7111365" y="1838274"/>
                  </a:lnTo>
                  <a:lnTo>
                    <a:pt x="12192000" y="1838274"/>
                  </a:lnTo>
                  <a:lnTo>
                    <a:pt x="12192000" y="1009003"/>
                  </a:lnTo>
                  <a:lnTo>
                    <a:pt x="12147974" y="1028041"/>
                  </a:lnTo>
                  <a:lnTo>
                    <a:pt x="12103691" y="1046752"/>
                  </a:lnTo>
                  <a:lnTo>
                    <a:pt x="12059157" y="1065136"/>
                  </a:lnTo>
                  <a:lnTo>
                    <a:pt x="12014376" y="1083194"/>
                  </a:lnTo>
                  <a:lnTo>
                    <a:pt x="11969352" y="1100926"/>
                  </a:lnTo>
                  <a:lnTo>
                    <a:pt x="11924092" y="1118334"/>
                  </a:lnTo>
                  <a:lnTo>
                    <a:pt x="11878600" y="1135416"/>
                  </a:lnTo>
                  <a:lnTo>
                    <a:pt x="11832881" y="1152175"/>
                  </a:lnTo>
                  <a:lnTo>
                    <a:pt x="11786940" y="1168610"/>
                  </a:lnTo>
                  <a:lnTo>
                    <a:pt x="11740782" y="1184722"/>
                  </a:lnTo>
                  <a:lnTo>
                    <a:pt x="11694411" y="1200512"/>
                  </a:lnTo>
                  <a:lnTo>
                    <a:pt x="11647834" y="1215980"/>
                  </a:lnTo>
                  <a:lnTo>
                    <a:pt x="11601055" y="1231126"/>
                  </a:lnTo>
                  <a:lnTo>
                    <a:pt x="11554079" y="1245952"/>
                  </a:lnTo>
                  <a:lnTo>
                    <a:pt x="11506910" y="1260457"/>
                  </a:lnTo>
                  <a:lnTo>
                    <a:pt x="11459555" y="1274642"/>
                  </a:lnTo>
                  <a:lnTo>
                    <a:pt x="11412017" y="1288509"/>
                  </a:lnTo>
                  <a:lnTo>
                    <a:pt x="11364303" y="1302056"/>
                  </a:lnTo>
                  <a:lnTo>
                    <a:pt x="11316416" y="1315285"/>
                  </a:lnTo>
                  <a:lnTo>
                    <a:pt x="11268362" y="1328197"/>
                  </a:lnTo>
                  <a:lnTo>
                    <a:pt x="11220147" y="1340792"/>
                  </a:lnTo>
                  <a:lnTo>
                    <a:pt x="11171774" y="1353070"/>
                  </a:lnTo>
                  <a:lnTo>
                    <a:pt x="11123248" y="1365031"/>
                  </a:lnTo>
                  <a:lnTo>
                    <a:pt x="11074576" y="1376678"/>
                  </a:lnTo>
                  <a:lnTo>
                    <a:pt x="11025762" y="1388009"/>
                  </a:lnTo>
                  <a:lnTo>
                    <a:pt x="10976810" y="1399026"/>
                  </a:lnTo>
                  <a:lnTo>
                    <a:pt x="10927726" y="1409729"/>
                  </a:lnTo>
                  <a:lnTo>
                    <a:pt x="10878515" y="1420119"/>
                  </a:lnTo>
                  <a:lnTo>
                    <a:pt x="10829182" y="1430195"/>
                  </a:lnTo>
                  <a:lnTo>
                    <a:pt x="10779731" y="1439960"/>
                  </a:lnTo>
                  <a:lnTo>
                    <a:pt x="10730169" y="1449413"/>
                  </a:lnTo>
                  <a:lnTo>
                    <a:pt x="10680499" y="1458554"/>
                  </a:lnTo>
                  <a:lnTo>
                    <a:pt x="10630726" y="1467385"/>
                  </a:lnTo>
                  <a:lnTo>
                    <a:pt x="10580857" y="1475905"/>
                  </a:lnTo>
                  <a:lnTo>
                    <a:pt x="10530895" y="1484116"/>
                  </a:lnTo>
                  <a:lnTo>
                    <a:pt x="10480846" y="1492017"/>
                  </a:lnTo>
                  <a:lnTo>
                    <a:pt x="10430715" y="1499610"/>
                  </a:lnTo>
                  <a:lnTo>
                    <a:pt x="10380506" y="1506895"/>
                  </a:lnTo>
                  <a:lnTo>
                    <a:pt x="10330225" y="1513873"/>
                  </a:lnTo>
                  <a:lnTo>
                    <a:pt x="10279877" y="1520543"/>
                  </a:lnTo>
                  <a:lnTo>
                    <a:pt x="10229466" y="1526907"/>
                  </a:lnTo>
                  <a:lnTo>
                    <a:pt x="10178998" y="1532965"/>
                  </a:lnTo>
                  <a:lnTo>
                    <a:pt x="10128478" y="1538718"/>
                  </a:lnTo>
                  <a:lnTo>
                    <a:pt x="10077910" y="1544166"/>
                  </a:lnTo>
                  <a:lnTo>
                    <a:pt x="10027300" y="1549309"/>
                  </a:lnTo>
                  <a:lnTo>
                    <a:pt x="9976653" y="1554149"/>
                  </a:lnTo>
                  <a:lnTo>
                    <a:pt x="9925973" y="1558685"/>
                  </a:lnTo>
                  <a:lnTo>
                    <a:pt x="9875266" y="1562919"/>
                  </a:lnTo>
                  <a:lnTo>
                    <a:pt x="9824536" y="1566851"/>
                  </a:lnTo>
                  <a:lnTo>
                    <a:pt x="9773789" y="1570480"/>
                  </a:lnTo>
                  <a:lnTo>
                    <a:pt x="9723029" y="1573809"/>
                  </a:lnTo>
                  <a:lnTo>
                    <a:pt x="9672262" y="1576837"/>
                  </a:lnTo>
                  <a:lnTo>
                    <a:pt x="9621493" y="1579565"/>
                  </a:lnTo>
                  <a:lnTo>
                    <a:pt x="9570726" y="1581994"/>
                  </a:lnTo>
                  <a:lnTo>
                    <a:pt x="9519966" y="1584123"/>
                  </a:lnTo>
                  <a:lnTo>
                    <a:pt x="9469219" y="1585954"/>
                  </a:lnTo>
                  <a:lnTo>
                    <a:pt x="9418490" y="1587487"/>
                  </a:lnTo>
                  <a:lnTo>
                    <a:pt x="9367782" y="1588723"/>
                  </a:lnTo>
                  <a:lnTo>
                    <a:pt x="9317103" y="1589661"/>
                  </a:lnTo>
                  <a:lnTo>
                    <a:pt x="9266456" y="1590304"/>
                  </a:lnTo>
                  <a:lnTo>
                    <a:pt x="9215846" y="1590650"/>
                  </a:lnTo>
                  <a:lnTo>
                    <a:pt x="9165279" y="1590702"/>
                  </a:lnTo>
                  <a:lnTo>
                    <a:pt x="9114759" y="1590458"/>
                  </a:lnTo>
                  <a:lnTo>
                    <a:pt x="9064291" y="1589921"/>
                  </a:lnTo>
                  <a:lnTo>
                    <a:pt x="9013881" y="1589089"/>
                  </a:lnTo>
                  <a:lnTo>
                    <a:pt x="8963534" y="1587965"/>
                  </a:lnTo>
                  <a:lnTo>
                    <a:pt x="8913253" y="1586548"/>
                  </a:lnTo>
                  <a:lnTo>
                    <a:pt x="8863046" y="1584839"/>
                  </a:lnTo>
                  <a:lnTo>
                    <a:pt x="8812915" y="1582838"/>
                  </a:lnTo>
                  <a:lnTo>
                    <a:pt x="8762867" y="1580546"/>
                  </a:lnTo>
                  <a:lnTo>
                    <a:pt x="8712906" y="1577964"/>
                  </a:lnTo>
                  <a:lnTo>
                    <a:pt x="8663037" y="1575092"/>
                  </a:lnTo>
                  <a:lnTo>
                    <a:pt x="8613266" y="1571930"/>
                  </a:lnTo>
                  <a:lnTo>
                    <a:pt x="8563597" y="1568480"/>
                  </a:lnTo>
                  <a:lnTo>
                    <a:pt x="8514035" y="1564741"/>
                  </a:lnTo>
                  <a:lnTo>
                    <a:pt x="8464586" y="1560714"/>
                  </a:lnTo>
                  <a:lnTo>
                    <a:pt x="8415254" y="1556401"/>
                  </a:lnTo>
                  <a:lnTo>
                    <a:pt x="8366044" y="1551800"/>
                  </a:lnTo>
                  <a:lnTo>
                    <a:pt x="8316961" y="1546913"/>
                  </a:lnTo>
                  <a:lnTo>
                    <a:pt x="8268011" y="1541740"/>
                  </a:lnTo>
                  <a:lnTo>
                    <a:pt x="8219198" y="1536283"/>
                  </a:lnTo>
                  <a:lnTo>
                    <a:pt x="8170527" y="1530540"/>
                  </a:lnTo>
                  <a:lnTo>
                    <a:pt x="8122003" y="1524514"/>
                  </a:lnTo>
                  <a:lnTo>
                    <a:pt x="8073632" y="1518204"/>
                  </a:lnTo>
                  <a:lnTo>
                    <a:pt x="8025417" y="1511611"/>
                  </a:lnTo>
                  <a:lnTo>
                    <a:pt x="7977365" y="1504736"/>
                  </a:lnTo>
                  <a:lnTo>
                    <a:pt x="7929480" y="1497578"/>
                  </a:lnTo>
                  <a:lnTo>
                    <a:pt x="7881767" y="1490139"/>
                  </a:lnTo>
                  <a:lnTo>
                    <a:pt x="7834231" y="1482420"/>
                  </a:lnTo>
                  <a:lnTo>
                    <a:pt x="7786878" y="1474419"/>
                  </a:lnTo>
                  <a:lnTo>
                    <a:pt x="7738102" y="1465911"/>
                  </a:lnTo>
                  <a:lnTo>
                    <a:pt x="7640468" y="1448268"/>
                  </a:lnTo>
                  <a:lnTo>
                    <a:pt x="7542730" y="1429817"/>
                  </a:lnTo>
                  <a:lnTo>
                    <a:pt x="7444891" y="1410588"/>
                  </a:lnTo>
                  <a:lnTo>
                    <a:pt x="7346956" y="1390615"/>
                  </a:lnTo>
                  <a:lnTo>
                    <a:pt x="7248928" y="1369929"/>
                  </a:lnTo>
                  <a:lnTo>
                    <a:pt x="7150812" y="1348563"/>
                  </a:lnTo>
                  <a:lnTo>
                    <a:pt x="7052613" y="1326549"/>
                  </a:lnTo>
                  <a:lnTo>
                    <a:pt x="6954334" y="1303918"/>
                  </a:lnTo>
                  <a:lnTo>
                    <a:pt x="6855980" y="1280704"/>
                  </a:lnTo>
                  <a:lnTo>
                    <a:pt x="6757555" y="1256937"/>
                  </a:lnTo>
                  <a:lnTo>
                    <a:pt x="6609794" y="1220322"/>
                  </a:lnTo>
                  <a:lnTo>
                    <a:pt x="6461898" y="1182646"/>
                  </a:lnTo>
                  <a:lnTo>
                    <a:pt x="6313880" y="1144018"/>
                  </a:lnTo>
                  <a:lnTo>
                    <a:pt x="6116360" y="1091217"/>
                  </a:lnTo>
                  <a:lnTo>
                    <a:pt x="5918684" y="1037173"/>
                  </a:lnTo>
                  <a:lnTo>
                    <a:pt x="5671422" y="968259"/>
                  </a:lnTo>
                  <a:lnTo>
                    <a:pt x="4632356" y="673291"/>
                  </a:lnTo>
                  <a:lnTo>
                    <a:pt x="4335773" y="590842"/>
                  </a:lnTo>
                  <a:lnTo>
                    <a:pt x="4138233" y="537158"/>
                  </a:lnTo>
                  <a:lnTo>
                    <a:pt x="3940879" y="484797"/>
                  </a:lnTo>
                  <a:lnTo>
                    <a:pt x="3793006" y="446551"/>
                  </a:lnTo>
                  <a:lnTo>
                    <a:pt x="3645271" y="409303"/>
                  </a:lnTo>
                  <a:lnTo>
                    <a:pt x="3497689" y="373160"/>
                  </a:lnTo>
                  <a:lnTo>
                    <a:pt x="3399392" y="349734"/>
                  </a:lnTo>
                  <a:lnTo>
                    <a:pt x="3301174" y="326879"/>
                  </a:lnTo>
                  <a:lnTo>
                    <a:pt x="3203039" y="304628"/>
                  </a:lnTo>
                  <a:lnTo>
                    <a:pt x="3104991" y="283014"/>
                  </a:lnTo>
                  <a:lnTo>
                    <a:pt x="3007034" y="262067"/>
                  </a:lnTo>
                  <a:lnTo>
                    <a:pt x="2909172" y="241822"/>
                  </a:lnTo>
                  <a:lnTo>
                    <a:pt x="2811410" y="222308"/>
                  </a:lnTo>
                  <a:lnTo>
                    <a:pt x="2713753" y="203560"/>
                  </a:lnTo>
                  <a:lnTo>
                    <a:pt x="2616204" y="185608"/>
                  </a:lnTo>
                  <a:lnTo>
                    <a:pt x="2518767" y="168485"/>
                  </a:lnTo>
                  <a:lnTo>
                    <a:pt x="2421447" y="152222"/>
                  </a:lnTo>
                  <a:lnTo>
                    <a:pt x="2324248" y="136853"/>
                  </a:lnTo>
                  <a:lnTo>
                    <a:pt x="2227175" y="122410"/>
                  </a:lnTo>
                  <a:lnTo>
                    <a:pt x="2130231" y="108923"/>
                  </a:lnTo>
                  <a:lnTo>
                    <a:pt x="2033421" y="96426"/>
                  </a:lnTo>
                  <a:lnTo>
                    <a:pt x="1936750" y="84950"/>
                  </a:lnTo>
                  <a:lnTo>
                    <a:pt x="1888467" y="79606"/>
                  </a:lnTo>
                  <a:lnTo>
                    <a:pt x="1840221" y="74528"/>
                  </a:lnTo>
                  <a:lnTo>
                    <a:pt x="1792011" y="69722"/>
                  </a:lnTo>
                  <a:lnTo>
                    <a:pt x="1743838" y="65192"/>
                  </a:lnTo>
                  <a:lnTo>
                    <a:pt x="1695704" y="60941"/>
                  </a:lnTo>
                  <a:lnTo>
                    <a:pt x="1647607" y="56974"/>
                  </a:lnTo>
                  <a:lnTo>
                    <a:pt x="1599549" y="53294"/>
                  </a:lnTo>
                  <a:lnTo>
                    <a:pt x="1551531" y="49905"/>
                  </a:lnTo>
                  <a:lnTo>
                    <a:pt x="1503553" y="46812"/>
                  </a:lnTo>
                  <a:lnTo>
                    <a:pt x="1451758" y="41342"/>
                  </a:lnTo>
                  <a:lnTo>
                    <a:pt x="1400026" y="36186"/>
                  </a:lnTo>
                  <a:lnTo>
                    <a:pt x="1348357" y="31349"/>
                  </a:lnTo>
                  <a:lnTo>
                    <a:pt x="1296752" y="26837"/>
                  </a:lnTo>
                  <a:lnTo>
                    <a:pt x="1245210" y="22655"/>
                  </a:lnTo>
                  <a:lnTo>
                    <a:pt x="1193734" y="18809"/>
                  </a:lnTo>
                  <a:lnTo>
                    <a:pt x="1142323" y="15303"/>
                  </a:lnTo>
                  <a:lnTo>
                    <a:pt x="1090978" y="12145"/>
                  </a:lnTo>
                  <a:lnTo>
                    <a:pt x="1039701" y="9338"/>
                  </a:lnTo>
                  <a:lnTo>
                    <a:pt x="988491" y="6888"/>
                  </a:lnTo>
                  <a:lnTo>
                    <a:pt x="937350" y="4801"/>
                  </a:lnTo>
                  <a:lnTo>
                    <a:pt x="886277" y="3083"/>
                  </a:lnTo>
                  <a:lnTo>
                    <a:pt x="835275" y="1738"/>
                  </a:lnTo>
                  <a:lnTo>
                    <a:pt x="784343" y="772"/>
                  </a:lnTo>
                  <a:lnTo>
                    <a:pt x="733482" y="191"/>
                  </a:lnTo>
                  <a:lnTo>
                    <a:pt x="682693" y="0"/>
                  </a:lnTo>
                  <a:close/>
                </a:path>
              </a:pathLst>
            </a:custGeom>
            <a:solidFill>
              <a:srgbClr val="1C488A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pic>
          <p:nvPicPr>
            <p:cNvPr id="5366" name="Google Shape;5366;p3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4325" y="5562599"/>
              <a:ext cx="2028825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67" name="Google Shape;5367;p34"/>
          <p:cNvSpPr txBox="1">
            <a:spLocks noGrp="1"/>
          </p:cNvSpPr>
          <p:nvPr>
            <p:ph type="title"/>
          </p:nvPr>
        </p:nvSpPr>
        <p:spPr>
          <a:xfrm>
            <a:off x="1493277" y="2074175"/>
            <a:ext cx="10010400" cy="5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>
                <a:latin typeface="DM Sans"/>
                <a:ea typeface="DM Sans"/>
                <a:cs typeface="DM Sans"/>
                <a:sym typeface="DM Sans"/>
              </a:rPr>
              <a:t>Upcoming Events and Opportunities</a:t>
            </a:r>
            <a:endParaRPr sz="3600">
              <a:latin typeface="DM Sans"/>
              <a:ea typeface="DM Sans"/>
              <a:cs typeface="DM Sans"/>
              <a:sym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233337981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72" name="Google Shape;5372;p35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5269" y="30475"/>
            <a:ext cx="3050567" cy="1737110"/>
          </a:xfrm>
          <a:prstGeom prst="rect">
            <a:avLst/>
          </a:prstGeom>
          <a:noFill/>
          <a:ln>
            <a:noFill/>
          </a:ln>
        </p:spPr>
      </p:pic>
      <p:pic>
        <p:nvPicPr>
          <p:cNvPr id="5373" name="Google Shape;5373;p3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23900" y="4838700"/>
            <a:ext cx="619125" cy="952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374" name="Google Shape;5374;p3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209925" y="4867275"/>
            <a:ext cx="600075" cy="933450"/>
          </a:xfrm>
          <a:prstGeom prst="rect">
            <a:avLst/>
          </a:prstGeom>
          <a:noFill/>
          <a:ln>
            <a:noFill/>
          </a:ln>
        </p:spPr>
      </p:pic>
      <p:pic>
        <p:nvPicPr>
          <p:cNvPr id="5375" name="Google Shape;5375;p35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858125" y="4857750"/>
            <a:ext cx="647700" cy="9048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376" name="Google Shape;5376;p35"/>
          <p:cNvGrpSpPr/>
          <p:nvPr/>
        </p:nvGrpSpPr>
        <p:grpSpPr>
          <a:xfrm>
            <a:off x="0" y="3467100"/>
            <a:ext cx="12192000" cy="3390898"/>
            <a:chOff x="0" y="3467100"/>
            <a:chExt cx="12192000" cy="3390898"/>
          </a:xfrm>
        </p:grpSpPr>
        <p:pic>
          <p:nvPicPr>
            <p:cNvPr id="5377" name="Google Shape;5377;p35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5705475" y="4857750"/>
              <a:ext cx="657225" cy="100012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78" name="Google Shape;5378;p35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0" y="5505450"/>
              <a:ext cx="12192000" cy="135254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79" name="Google Shape;5379;p35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10001250" y="4314825"/>
              <a:ext cx="1762125" cy="149542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80" name="Google Shape;5380;p35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542924" y="3924300"/>
              <a:ext cx="1285875" cy="12382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81" name="Google Shape;5381;p35"/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2962274" y="4133850"/>
              <a:ext cx="1085850" cy="10287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82" name="Google Shape;5382;p35"/>
            <p:cNvPicPr preferRelativeResize="0"/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>
              <a:off x="7867650" y="4248150"/>
              <a:ext cx="1047750" cy="9429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83" name="Google Shape;5383;p35"/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5553075" y="4133850"/>
              <a:ext cx="1152525" cy="10572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84" name="Google Shape;5384;p35"/>
            <p:cNvPicPr preferRelativeResize="0"/>
            <p:nvPr/>
          </p:nvPicPr>
          <p:blipFill rotWithShape="1">
            <a:blip r:embed="rId14">
              <a:alphaModFix/>
            </a:blip>
            <a:srcRect/>
            <a:stretch/>
          </p:blipFill>
          <p:spPr>
            <a:xfrm>
              <a:off x="11134725" y="3467100"/>
              <a:ext cx="638175" cy="77152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85" name="Google Shape;5385;p35"/>
          <p:cNvSpPr txBox="1">
            <a:spLocks noGrp="1"/>
          </p:cNvSpPr>
          <p:nvPr>
            <p:ph type="title"/>
          </p:nvPr>
        </p:nvSpPr>
        <p:spPr>
          <a:xfrm>
            <a:off x="1424939" y="140271"/>
            <a:ext cx="8571300" cy="78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65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0" b="0">
                <a:solidFill>
                  <a:srgbClr val="463935"/>
                </a:solidFill>
                <a:latin typeface="DM Sans"/>
                <a:ea typeface="DM Sans"/>
                <a:cs typeface="DM Sans"/>
                <a:sym typeface="DM Sans"/>
              </a:rPr>
              <a:t>ESSI Summer 2025 Webinars</a:t>
            </a:r>
            <a:endParaRPr sz="5000">
              <a:latin typeface="DM Sans"/>
              <a:ea typeface="DM Sans"/>
              <a:cs typeface="DM Sans"/>
              <a:sym typeface="DM Sans"/>
            </a:endParaRPr>
          </a:p>
        </p:txBody>
      </p:sp>
      <p:graphicFrame>
        <p:nvGraphicFramePr>
          <p:cNvPr id="5386" name="Google Shape;5386;p35"/>
          <p:cNvGraphicFramePr/>
          <p:nvPr>
            <p:extLst>
              <p:ext uri="{D42A27DB-BD31-4B8C-83A1-F6EECF244321}">
                <p14:modId xmlns:p14="http://schemas.microsoft.com/office/powerpoint/2010/main" val="894867579"/>
              </p:ext>
            </p:extLst>
          </p:nvPr>
        </p:nvGraphicFramePr>
        <p:xfrm>
          <a:off x="1218946" y="1033017"/>
          <a:ext cx="9363700" cy="1463025"/>
        </p:xfrm>
        <a:graphic>
          <a:graphicData uri="http://schemas.openxmlformats.org/drawingml/2006/table">
            <a:tbl>
              <a:tblPr firstRow="1" bandRow="1">
                <a:noFill/>
                <a:tableStyleId>{410EBB18-085E-4E12-99BB-723E436381A6}</a:tableStyleId>
              </a:tblPr>
              <a:tblGrid>
                <a:gridCol w="38163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473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150">
                <a:tc>
                  <a:txBody>
                    <a:bodyPr/>
                    <a:lstStyle/>
                    <a:p>
                      <a:pPr marL="92075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75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Date</a:t>
                      </a:r>
                      <a:endParaRPr sz="275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2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9BBA58"/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75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Topic</a:t>
                      </a:r>
                      <a:endParaRPr sz="275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225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9BBA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44875">
                <a:tc>
                  <a:txBody>
                    <a:bodyPr/>
                    <a:lstStyle/>
                    <a:p>
                      <a:pPr marL="92075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75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September 15</a:t>
                      </a:r>
                      <a:r>
                        <a:rPr lang="en-US" sz="2775" u="none" strike="noStrike" cap="none" baseline="3000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th</a:t>
                      </a:r>
                      <a:r>
                        <a:rPr lang="en-US" sz="2750" u="none" strike="noStrike" cap="none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, 2025</a:t>
                      </a:r>
                      <a:endParaRPr sz="2750" u="none" strike="noStrike" cap="none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2285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5E2BB"/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368300" lvl="0" indent="0" algn="ctr" rtl="0">
                        <a:lnSpc>
                          <a:spcPct val="10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750" u="none" strike="noStrike" cap="none" dirty="0">
                          <a:latin typeface="DM Sans"/>
                          <a:ea typeface="DM Sans"/>
                          <a:cs typeface="DM Sans"/>
                          <a:sym typeface="DM Sans"/>
                        </a:rPr>
                        <a:t>Application of Data to Address Inequities</a:t>
                      </a:r>
                      <a:endParaRPr sz="2750" u="none" strike="noStrike" cap="none" dirty="0">
                        <a:latin typeface="DM Sans"/>
                        <a:ea typeface="DM Sans"/>
                        <a:cs typeface="DM Sans"/>
                        <a:sym typeface="DM Sans"/>
                      </a:endParaRPr>
                    </a:p>
                  </a:txBody>
                  <a:tcPr marL="0" marR="0" marT="1270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5E2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>
          <a:extLst>
            <a:ext uri="{FF2B5EF4-FFF2-40B4-BE49-F238E27FC236}">
              <a16:creationId xmlns:a16="http://schemas.microsoft.com/office/drawing/2014/main" id="{8A30950F-AB30-8BA1-8CC0-11EA771E4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16">
            <a:extLst>
              <a:ext uri="{FF2B5EF4-FFF2-40B4-BE49-F238E27FC236}">
                <a16:creationId xmlns:a16="http://schemas.microsoft.com/office/drawing/2014/main" id="{E56398B0-5FC9-5460-C307-E0F05918F1D8}"/>
              </a:ext>
            </a:extLst>
          </p:cNvPr>
          <p:cNvSpPr txBox="1">
            <a:spLocks noGrp="1"/>
          </p:cNvSpPr>
          <p:nvPr>
            <p:ph type="sldNum" sz="quarter" idx="4294967295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M Sans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EB3B7"/>
                </a:buClr>
                <a:buSzPts val="1200"/>
                <a:buFont typeface="Calibri"/>
                <a:buNone/>
                <a:tabLst/>
                <a:defRPr/>
              </a:pPr>
              <a:t>62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368;p16">
            <a:extLst>
              <a:ext uri="{FF2B5EF4-FFF2-40B4-BE49-F238E27FC236}">
                <a16:creationId xmlns:a16="http://schemas.microsoft.com/office/drawing/2014/main" id="{CD83162F-8E22-5EE1-B795-F531A800F6E2}"/>
              </a:ext>
            </a:extLst>
          </p:cNvPr>
          <p:cNvSpPr txBox="1">
            <a:spLocks/>
          </p:cNvSpPr>
          <p:nvPr/>
        </p:nvSpPr>
        <p:spPr>
          <a:xfrm>
            <a:off x="8194273" y="3705015"/>
            <a:ext cx="4402346" cy="132556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The Westin Lombard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F58366"/>
              </a:solidFill>
              <a:effectLst/>
              <a:uLnTx/>
              <a:uFillTx/>
              <a:latin typeface="DM Sans" pitchFamily="2" charset="7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Hotel Room Block</a:t>
            </a:r>
            <a:b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</a:br>
            <a:r>
              <a:rPr lang="en-US" sz="2600" dirty="0">
                <a:solidFill>
                  <a:srgbClr val="F58366"/>
                </a:solidFill>
                <a:latin typeface="DM Sans" pitchFamily="2" charset="77"/>
                <a:ea typeface="Lato Medium"/>
                <a:cs typeface="Lato Medium"/>
              </a:rPr>
              <a:t>will be available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F58366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368" name="Google Shape;368;p16">
            <a:extLst>
              <a:ext uri="{FF2B5EF4-FFF2-40B4-BE49-F238E27FC236}">
                <a16:creationId xmlns:a16="http://schemas.microsoft.com/office/drawing/2014/main" id="{8C50313B-D6E4-4CE1-AE5C-559EDA1E237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524951" y="2114695"/>
            <a:ext cx="3740990" cy="1325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algn="ctr"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4400" dirty="0">
                <a:latin typeface="DM Sans" pitchFamily="2" charset="77"/>
                <a:ea typeface="Lato Medium"/>
                <a:cs typeface="Lato Medium"/>
              </a:rPr>
              <a:t>Registration </a:t>
            </a:r>
            <a:br>
              <a:rPr lang="en-US" sz="4400" dirty="0">
                <a:latin typeface="DM Sans" pitchFamily="2" charset="77"/>
                <a:ea typeface="Lato Medium"/>
                <a:cs typeface="Lato Medium"/>
              </a:rPr>
            </a:br>
            <a:r>
              <a:rPr lang="en-US" sz="4400" dirty="0">
                <a:latin typeface="DM Sans" pitchFamily="2" charset="77"/>
                <a:ea typeface="Lato Medium"/>
                <a:cs typeface="Lato Medium"/>
              </a:rPr>
              <a:t>Coming So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4BA1BE-6ED3-64D4-0D0D-117B48397C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031" y="765463"/>
            <a:ext cx="8078920" cy="4554638"/>
          </a:xfrm>
          <a:prstGeom prst="rect">
            <a:avLst/>
          </a:prstGeom>
        </p:spPr>
      </p:pic>
      <p:sp>
        <p:nvSpPr>
          <p:cNvPr id="5" name="Rectangle 1">
            <a:extLst>
              <a:ext uri="{FF2B5EF4-FFF2-40B4-BE49-F238E27FC236}">
                <a16:creationId xmlns:a16="http://schemas.microsoft.com/office/drawing/2014/main" id="{D24E3C54-43D2-9707-F886-09EBD704A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8F31672F-8CFA-95F2-B898-39FB023B9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22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00A967CD-D77E-3E8A-8218-6135D94835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0" y="1201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6" name="Freeform 2">
            <a:extLst>
              <a:ext uri="{FF2B5EF4-FFF2-40B4-BE49-F238E27FC236}">
                <a16:creationId xmlns:a16="http://schemas.microsoft.com/office/drawing/2014/main" id="{29B34B4F-D551-AC9E-E2A3-6F715D5A4A58}"/>
              </a:ext>
            </a:extLst>
          </p:cNvPr>
          <p:cNvSpPr/>
          <p:nvPr/>
        </p:nvSpPr>
        <p:spPr>
          <a:xfrm>
            <a:off x="3221816" y="3939227"/>
            <a:ext cx="1801577" cy="2194045"/>
          </a:xfrm>
          <a:custGeom>
            <a:avLst/>
            <a:gdLst/>
            <a:ahLst/>
            <a:cxnLst/>
            <a:rect l="l" t="t" r="r" b="b"/>
            <a:pathLst>
              <a:path w="4407761" h="4369193">
                <a:moveTo>
                  <a:pt x="0" y="0"/>
                </a:moveTo>
                <a:lnTo>
                  <a:pt x="4407761" y="0"/>
                </a:lnTo>
                <a:lnTo>
                  <a:pt x="4407761" y="4369193"/>
                </a:lnTo>
                <a:lnTo>
                  <a:pt x="0" y="4369193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650411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8" name="Google Shape;368;p16"/>
          <p:cNvSpPr txBox="1">
            <a:spLocks/>
          </p:cNvSpPr>
          <p:nvPr/>
        </p:nvSpPr>
        <p:spPr>
          <a:xfrm>
            <a:off x="0" y="2062979"/>
            <a:ext cx="8435788" cy="266007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ILPQC Parent Partners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working with an ILPQC hospital are invited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 to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attend this year’s Annual Conferenc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265328" y="-1014330"/>
            <a:ext cx="9795553" cy="2696322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ILPQC Parent Partner Opportunity </a:t>
            </a:r>
            <a:endParaRPr kumimoji="0" lang="en-US" sz="3500" b="1" i="0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22AC606F-A5D8-4CD2-A0B4-A0A01DC0D9CA}"/>
              </a:ext>
            </a:extLst>
          </p:cNvPr>
          <p:cNvSpPr/>
          <p:nvPr/>
        </p:nvSpPr>
        <p:spPr>
          <a:xfrm>
            <a:off x="361458" y="4428565"/>
            <a:ext cx="3775188" cy="1927785"/>
          </a:xfrm>
          <a:custGeom>
            <a:avLst/>
            <a:gdLst/>
            <a:ahLst/>
            <a:cxnLst/>
            <a:rect l="l" t="t" r="r" b="b"/>
            <a:pathLst>
              <a:path w="9705733" h="4598091">
                <a:moveTo>
                  <a:pt x="0" y="0"/>
                </a:moveTo>
                <a:lnTo>
                  <a:pt x="9705733" y="0"/>
                </a:lnTo>
                <a:lnTo>
                  <a:pt x="9705733" y="4598091"/>
                </a:lnTo>
                <a:lnTo>
                  <a:pt x="0" y="4598091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E71FC009-ADF4-40AF-AD7D-FA2E0BB3389C}"/>
              </a:ext>
            </a:extLst>
          </p:cNvPr>
          <p:cNvSpPr/>
          <p:nvPr/>
        </p:nvSpPr>
        <p:spPr>
          <a:xfrm>
            <a:off x="6839249" y="4030404"/>
            <a:ext cx="4366634" cy="2278613"/>
          </a:xfrm>
          <a:custGeom>
            <a:avLst/>
            <a:gdLst/>
            <a:ahLst/>
            <a:cxnLst/>
            <a:rect l="l" t="t" r="r" b="b"/>
            <a:pathLst>
              <a:path w="7315200" h="3577798">
                <a:moveTo>
                  <a:pt x="0" y="0"/>
                </a:moveTo>
                <a:lnTo>
                  <a:pt x="7315200" y="0"/>
                </a:lnTo>
                <a:lnTo>
                  <a:pt x="7315200" y="3577798"/>
                </a:lnTo>
                <a:lnTo>
                  <a:pt x="0" y="3577798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5" name="Wave 4">
            <a:extLst>
              <a:ext uri="{FF2B5EF4-FFF2-40B4-BE49-F238E27FC236}">
                <a16:creationId xmlns:a16="http://schemas.microsoft.com/office/drawing/2014/main" id="{824D8D51-2EB1-492B-BF90-107387CF51BA}"/>
              </a:ext>
            </a:extLst>
          </p:cNvPr>
          <p:cNvSpPr/>
          <p:nvPr/>
        </p:nvSpPr>
        <p:spPr>
          <a:xfrm>
            <a:off x="265328" y="333831"/>
            <a:ext cx="7742636" cy="1787350"/>
          </a:xfrm>
          <a:prstGeom prst="wave">
            <a:avLst/>
          </a:prstGeom>
          <a:noFill/>
          <a:ln w="571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32008CB-63E2-455E-B3FC-2E758133CE9A}"/>
              </a:ext>
            </a:extLst>
          </p:cNvPr>
          <p:cNvSpPr txBox="1"/>
          <p:nvPr/>
        </p:nvSpPr>
        <p:spPr>
          <a:xfrm>
            <a:off x="8701116" y="2072903"/>
            <a:ext cx="2988859" cy="17065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FRE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Registration &amp;      1-night Hotel stay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will be provided.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More details to come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C136B9D-DB73-41A7-BCE9-5B2924598EF2}"/>
              </a:ext>
            </a:extLst>
          </p:cNvPr>
          <p:cNvSpPr/>
          <p:nvPr/>
        </p:nvSpPr>
        <p:spPr>
          <a:xfrm>
            <a:off x="8701116" y="2062979"/>
            <a:ext cx="2988859" cy="17164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068910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D54BC-687B-95DC-B1DF-ECE635CC74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graphicFrame>
        <p:nvGraphicFramePr>
          <p:cNvPr id="9" name="Diagram 9">
            <a:extLst>
              <a:ext uri="{FF2B5EF4-FFF2-40B4-BE49-F238E27FC236}">
                <a16:creationId xmlns:a16="http://schemas.microsoft.com/office/drawing/2014/main" id="{25EB57FC-A0C6-0042-E219-B1DF45189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767867"/>
              </p:ext>
            </p:extLst>
          </p:nvPr>
        </p:nvGraphicFramePr>
        <p:xfrm>
          <a:off x="4705527" y="554559"/>
          <a:ext cx="7101795" cy="6062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25" name="Rectangle: Rounded Corners 224">
            <a:extLst>
              <a:ext uri="{FF2B5EF4-FFF2-40B4-BE49-F238E27FC236}">
                <a16:creationId xmlns:a16="http://schemas.microsoft.com/office/drawing/2014/main" id="{CB0A0917-AFE1-6BF9-A27E-D2DD2D0CEB28}"/>
              </a:ext>
            </a:extLst>
          </p:cNvPr>
          <p:cNvSpPr/>
          <p:nvPr/>
        </p:nvSpPr>
        <p:spPr>
          <a:xfrm>
            <a:off x="287734" y="4732085"/>
            <a:ext cx="3925017" cy="165339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66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Calibri"/>
              </a:rPr>
              <a:t>Dat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cs typeface="Calibri"/>
              </a:rPr>
              <a:t>,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Calibri"/>
              </a:rPr>
              <a:t>QI Abstracts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cs typeface="Calibri"/>
              </a:rPr>
              <a:t>, &amp; </a:t>
            </a:r>
            <a:b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cs typeface="Calibri"/>
              </a:rPr>
            </a:b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Calibri"/>
              </a:rPr>
              <a:t>AC Teams Survey 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cs typeface="Calibri"/>
              </a:rPr>
              <a:t>due: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Calibri"/>
              </a:rPr>
              <a:t>September 30</a:t>
            </a:r>
            <a:r>
              <a:rPr kumimoji="0" lang="en-US" sz="2200" b="1" i="0" u="none" strike="noStrike" kern="1200" cap="none" spc="0" normalizeH="0" baseline="300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Calibri"/>
              </a:rPr>
              <a:t>th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Calibri"/>
              </a:rPr>
              <a:t>, 2025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C9B693A-1E47-117F-A949-26C285E5F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116" y="1049334"/>
            <a:ext cx="3925017" cy="3112135"/>
          </a:xfrm>
        </p:spPr>
        <p:txBody>
          <a:bodyPr anchor="ctr">
            <a:normAutofit fontScale="90000"/>
          </a:bodyPr>
          <a:lstStyle/>
          <a:p>
            <a:r>
              <a:rPr lang="en-US" sz="5400" dirty="0">
                <a:latin typeface="DM Sans" pitchFamily="2" charset="77"/>
                <a:ea typeface="Lato Medium"/>
                <a:cs typeface="Lato Medium"/>
              </a:rPr>
              <a:t>Upcoming Annual Conference Prep</a:t>
            </a:r>
            <a:endParaRPr lang="en-US" sz="5400" dirty="0">
              <a:latin typeface="DM Sans" pitchFamily="2" charset="77"/>
            </a:endParaRPr>
          </a:p>
        </p:txBody>
      </p:sp>
      <p:sp>
        <p:nvSpPr>
          <p:cNvPr id="10" name="Freeform 2">
            <a:extLst>
              <a:ext uri="{FF2B5EF4-FFF2-40B4-BE49-F238E27FC236}">
                <a16:creationId xmlns:a16="http://schemas.microsoft.com/office/drawing/2014/main" id="{7E38EADE-D379-45E3-A176-FE61D29EEFB8}"/>
              </a:ext>
            </a:extLst>
          </p:cNvPr>
          <p:cNvSpPr/>
          <p:nvPr/>
        </p:nvSpPr>
        <p:spPr>
          <a:xfrm>
            <a:off x="2090300" y="3273146"/>
            <a:ext cx="1304467" cy="1458939"/>
          </a:xfrm>
          <a:custGeom>
            <a:avLst/>
            <a:gdLst/>
            <a:ahLst/>
            <a:cxnLst/>
            <a:rect l="l" t="t" r="r" b="b"/>
            <a:pathLst>
              <a:path w="4407761" h="4369193">
                <a:moveTo>
                  <a:pt x="0" y="0"/>
                </a:moveTo>
                <a:lnTo>
                  <a:pt x="4407761" y="0"/>
                </a:lnTo>
                <a:lnTo>
                  <a:pt x="4407761" y="4369193"/>
                </a:lnTo>
                <a:lnTo>
                  <a:pt x="0" y="4369193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0740643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159" y="397038"/>
            <a:ext cx="5375016" cy="1956841"/>
          </a:xfrm>
        </p:spPr>
        <p:txBody>
          <a:bodyPr anchor="b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4200" dirty="0">
                <a:latin typeface="DM Sans" pitchFamily="2" charset="77"/>
                <a:ea typeface="Lato Medium"/>
                <a:cs typeface="Lato Medium"/>
              </a:rPr>
              <a:t>13th Annual Conference </a:t>
            </a:r>
            <a:br>
              <a:rPr lang="en-US" sz="4200" dirty="0">
                <a:solidFill>
                  <a:schemeClr val="tx1"/>
                </a:solidFill>
                <a:latin typeface="DM Sans" pitchFamily="2" charset="77"/>
                <a:ea typeface="Lato Medium"/>
                <a:cs typeface="Lato Medium"/>
              </a:rPr>
            </a:br>
            <a:r>
              <a:rPr lang="en-US" sz="4200" dirty="0">
                <a:solidFill>
                  <a:schemeClr val="accent3"/>
                </a:solidFill>
                <a:latin typeface="DM Sans" pitchFamily="2" charset="77"/>
                <a:ea typeface="Lato Medium"/>
                <a:cs typeface="Lato Medium"/>
              </a:rPr>
              <a:t>Event Committee Volunteers </a:t>
            </a:r>
            <a:endParaRPr lang="en-US" sz="4200" dirty="0">
              <a:solidFill>
                <a:schemeClr val="accent3"/>
              </a:solidFill>
              <a:latin typeface="DM Sans" pitchFamily="2" charset="77"/>
            </a:endParaRPr>
          </a:p>
        </p:txBody>
      </p:sp>
      <p:sp>
        <p:nvSpPr>
          <p:cNvPr id="15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F00FE42-183C-8B65-1DA4-289D0CFB7B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31224" y="185831"/>
            <a:ext cx="6508375" cy="2800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1800" dirty="0">
                <a:latin typeface="DM Sans" pitchFamily="2" charset="77"/>
              </a:rPr>
              <a:t>Join the amazing team that brings the ILPQC AC to life! </a:t>
            </a:r>
          </a:p>
          <a:p>
            <a:r>
              <a:rPr lang="en-US" sz="1800" dirty="0">
                <a:latin typeface="DM Sans" pitchFamily="2" charset="77"/>
              </a:rPr>
              <a:t>Play a key role in making our 13th Annual Conference a meaningful experience for all.</a:t>
            </a:r>
          </a:p>
          <a:p>
            <a:r>
              <a:rPr lang="en-US" sz="1800" dirty="0">
                <a:latin typeface="DM Sans" pitchFamily="2" charset="77"/>
              </a:rPr>
              <a:t>Help ensure a seamless, welcoming, and inspiring day for attendees across Illinois.</a:t>
            </a:r>
          </a:p>
          <a:p>
            <a:r>
              <a:rPr lang="en-US" sz="1800" dirty="0">
                <a:latin typeface="DM Sans" pitchFamily="2" charset="77"/>
              </a:rPr>
              <a:t>From registration to session support, your role keeps the day running smoothly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5EA985-720D-EF1E-8F35-8CE99030E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8400" y="6356350"/>
            <a:ext cx="4114800" cy="365125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F21D11-6F39-D1A6-5D85-A7BF70DC6E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39400" y="6356350"/>
            <a:ext cx="9144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pic>
        <p:nvPicPr>
          <p:cNvPr id="7" name="Graphic 6" descr="Leaf with solid fill">
            <a:extLst>
              <a:ext uri="{FF2B5EF4-FFF2-40B4-BE49-F238E27FC236}">
                <a16:creationId xmlns:a16="http://schemas.microsoft.com/office/drawing/2014/main" id="{B3BBD64C-3918-489F-8240-81A9C10EB3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16824" y="1605358"/>
            <a:ext cx="914400" cy="9144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4D74CA0-2CD4-4679-99B7-626EE26926C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6109" y="3296468"/>
            <a:ext cx="4673262" cy="331904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7E6BF03-D3A8-42C6-A93F-59CCEBB5255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864" y="3296468"/>
            <a:ext cx="5276737" cy="3319043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2D179BA0-2003-47D9-A158-4EB2C38BDFF3}"/>
              </a:ext>
            </a:extLst>
          </p:cNvPr>
          <p:cNvSpPr txBox="1"/>
          <p:nvPr/>
        </p:nvSpPr>
        <p:spPr>
          <a:xfrm>
            <a:off x="670109" y="268563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Lato"/>
                <a:cs typeface="Lato"/>
              </a:rPr>
              <a:t>Interested? Email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"/>
                <a:cs typeface="Lato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ilpqc.org</a:t>
            </a:r>
          </a:p>
        </p:txBody>
      </p:sp>
    </p:spTree>
    <p:extLst>
      <p:ext uri="{BB962C8B-B14F-4D97-AF65-F5344CB8AC3E}">
        <p14:creationId xmlns:p14="http://schemas.microsoft.com/office/powerpoint/2010/main" val="3516807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setVTI">
  <a:themeElements>
    <a:clrScheme name="Office">
      <a:dk1>
        <a:srgbClr val="000000"/>
      </a:dk1>
      <a:lt1>
        <a:srgbClr val="FFFFFF"/>
      </a:lt1>
      <a:dk2>
        <a:srgbClr val="57495C"/>
      </a:dk2>
      <a:lt2>
        <a:srgbClr val="E7E6E6"/>
      </a:lt2>
      <a:accent1>
        <a:srgbClr val="F07C98"/>
      </a:accent1>
      <a:accent2>
        <a:srgbClr val="A6778D"/>
      </a:accent2>
      <a:accent3>
        <a:srgbClr val="768BA6"/>
      </a:accent3>
      <a:accent4>
        <a:srgbClr val="E8908B"/>
      </a:accent4>
      <a:accent5>
        <a:srgbClr val="C47A93"/>
      </a:accent5>
      <a:accent6>
        <a:srgbClr val="70A8DB"/>
      </a:accent6>
      <a:hlink>
        <a:srgbClr val="EB8067"/>
      </a:hlink>
      <a:folHlink>
        <a:srgbClr val="7BC7C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9</TotalTime>
  <Words>3300</Words>
  <Application>Microsoft Macintosh PowerPoint</Application>
  <PresentationFormat>Widescreen</PresentationFormat>
  <Paragraphs>532</Paragraphs>
  <Slides>62</Slides>
  <Notes>5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2</vt:i4>
      </vt:variant>
    </vt:vector>
  </HeadingPairs>
  <TitlesOfParts>
    <vt:vector size="82" baseType="lpstr">
      <vt:lpstr>DM Sans</vt:lpstr>
      <vt:lpstr>Times New Roman</vt:lpstr>
      <vt:lpstr>Arial</vt:lpstr>
      <vt:lpstr>Verdana</vt:lpstr>
      <vt:lpstr>Noto Sans Symbols</vt:lpstr>
      <vt:lpstr>Tahoma</vt:lpstr>
      <vt:lpstr>Helvetica Neue Medium</vt:lpstr>
      <vt:lpstr>Helvetica Neue</vt:lpstr>
      <vt:lpstr>Calibri</vt:lpstr>
      <vt:lpstr>Wingdings</vt:lpstr>
      <vt:lpstr>Open Sans Light</vt:lpstr>
      <vt:lpstr>Open Sans</vt:lpstr>
      <vt:lpstr>Office Theme</vt:lpstr>
      <vt:lpstr>3_Office Theme</vt:lpstr>
      <vt:lpstr>4_Office Theme</vt:lpstr>
      <vt:lpstr>5_Office Theme</vt:lpstr>
      <vt:lpstr>2_Office Theme</vt:lpstr>
      <vt:lpstr>OffsetVTI</vt:lpstr>
      <vt:lpstr>1_Office Theme</vt:lpstr>
      <vt:lpstr>think-cell Slide</vt:lpstr>
      <vt:lpstr>Equity and Safe Sleep for Infants</vt:lpstr>
      <vt:lpstr>Overview</vt:lpstr>
      <vt:lpstr>ESSI ABP MOC Part IV</vt:lpstr>
      <vt:lpstr>Upcoming ILPQC 13th Annual Conference</vt:lpstr>
      <vt:lpstr>Registration  Coming Soon</vt:lpstr>
      <vt:lpstr>PowerPoint Presentation</vt:lpstr>
      <vt:lpstr>PowerPoint Presentation</vt:lpstr>
      <vt:lpstr>Upcoming Annual Conference Prep</vt:lpstr>
      <vt:lpstr>13th Annual Conference  Event Committee Volunteers </vt:lpstr>
      <vt:lpstr>Moving from “On the Path” to QI Excellence to ESSI Excellence for Annual Conference</vt:lpstr>
      <vt:lpstr>PowerPoint Presentation</vt:lpstr>
      <vt:lpstr>PowerPoint Presentation</vt:lpstr>
      <vt:lpstr>Attendance Poll</vt:lpstr>
      <vt:lpstr>Objectives</vt:lpstr>
      <vt:lpstr>Last month:</vt:lpstr>
      <vt:lpstr>Data Overview and Initiative Progress</vt:lpstr>
      <vt:lpstr>ESSI Initiative Aims</vt:lpstr>
      <vt:lpstr>Aims</vt:lpstr>
      <vt:lpstr>Change Ideas Educate providers, nurses, and other staff about listening to families, providing respectful care and building trust, and addressing implicit bias and engaging in anti-racism</vt:lpstr>
      <vt:lpstr>PowerPoint Presentation</vt:lpstr>
      <vt:lpstr>Change Ideas Obtain organizational leadership commitment to equitable and respectful healthcare delivery</vt:lpstr>
      <vt:lpstr>PowerPoint Presentation</vt:lpstr>
      <vt:lpstr>DRIVER 3: PARENT AND CAREGIVER EMPOWERMENT</vt:lpstr>
      <vt:lpstr>PowerPoint Presentation</vt:lpstr>
      <vt:lpstr>ESSI Bundle: Component 1 - Awareness</vt:lpstr>
      <vt:lpstr>Documentation of a Conversation with Parents/Caregivers on adjustment to life with a newborn and safe sleep, and resources shared</vt:lpstr>
      <vt:lpstr>SDOH Screening and Linkage in Infant’s Chart</vt:lpstr>
      <vt:lpstr>DRIVER 4: COMMUNITY</vt:lpstr>
      <vt:lpstr>PowerPoint Presentation</vt:lpstr>
      <vt:lpstr>ESSI Bundle: Component 3: Transfer of Care</vt:lpstr>
      <vt:lpstr>DRIVER 5: HEALTHCARE DATA UTILIZATION</vt:lpstr>
      <vt:lpstr>PowerPoint Presentation</vt:lpstr>
      <vt:lpstr>Dissemination of Stratified Data</vt:lpstr>
      <vt:lpstr>Why does stratified data matter for ESSI?</vt:lpstr>
      <vt:lpstr>PowerPoint Presentation</vt:lpstr>
      <vt:lpstr>What’s the process for sharing ESSI data stratified by race, ethnicity, and insurance status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spital dashboards (ex: ESSI Driver Dashboard) What they show: A high-level snapshot of multiple measures in one place Why use them: Quick overview for leadership, unit leads, or committees; easy to track progress at a glance. rEMINDER: aCCESS THE essi dRIVER dASHBOARD uSER guide ON OUR essi PAGE!  </vt:lpstr>
      <vt:lpstr>Reminder:</vt:lpstr>
      <vt:lpstr>Run charts What they show: Trends in performance over time, point-by-point Why use them: Helps identify improvements, dips, or sustained changes  </vt:lpstr>
      <vt:lpstr>Bar &amp; pie charts What they show: Comparisons between groups or categories (e.g., race/ethnicity, units, insurance types) Why use them: Visually highlight differences or gaps; great for presentations and staff education   </vt:lpstr>
      <vt:lpstr>Absolute numbers What they show: Raw counts of events, actions, or outcomes (e.g., number of safe sleep audits completed) Why use them: Keeps the focus on scale and magnitude; important for context alongside percentages  </vt:lpstr>
      <vt:lpstr>PowerPoint Presentation</vt:lpstr>
      <vt:lpstr>Introduction &amp; Walkthrough of  New REDCap Reports:</vt:lpstr>
      <vt:lpstr>Goal with Stratified REDCap Reports</vt:lpstr>
      <vt:lpstr>PowerPoint Presentation</vt:lpstr>
      <vt:lpstr>Poll: Are you excited to see your data stratified?</vt:lpstr>
      <vt:lpstr>Pause and Share!</vt:lpstr>
      <vt:lpstr>Next Steps for ESSI teams</vt:lpstr>
      <vt:lpstr>Next Steps for Hospital Teams</vt:lpstr>
      <vt:lpstr>Reminder:</vt:lpstr>
      <vt:lpstr>PowerPoint Presentation</vt:lpstr>
      <vt:lpstr>Upcoming Events and Opportunities</vt:lpstr>
      <vt:lpstr>ESSI Summer 2025 Webinars</vt:lpstr>
      <vt:lpstr>Registration  Coming So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quity and Safe Sleep for Infants</dc:title>
  <dc:creator>Rivera, Alana</dc:creator>
  <cp:lastModifiedBy>Kiela Karina Moreno</cp:lastModifiedBy>
  <cp:revision>38</cp:revision>
  <dcterms:created xsi:type="dcterms:W3CDTF">2025-08-13T15:07:44Z</dcterms:created>
  <dcterms:modified xsi:type="dcterms:W3CDTF">2025-08-16T04:5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5-08-08T00:00:00Z</vt:filetime>
  </property>
  <property fmtid="{D5CDD505-2E9C-101B-9397-08002B2CF9AE}" pid="3" name="LastSaved">
    <vt:filetime>2025-08-13T00:00:00Z</vt:filetime>
  </property>
</Properties>
</file>